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8.xml" ContentType="application/vnd.openxmlformats-officedocument.theme+xml"/>
  <Override PartName="/ppt/tags/tag10.xml" ContentType="application/vnd.openxmlformats-officedocument.presentationml.tags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9.xml" ContentType="application/vnd.openxmlformats-officedocument.theme+xml"/>
  <Override PartName="/ppt/tags/tag11.xml" ContentType="application/vnd.openxmlformats-officedocument.presentationml.tags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theme/theme10.xml" ContentType="application/vnd.openxmlformats-officedocument.theme+xml"/>
  <Override PartName="/ppt/tags/tag12.xml" ContentType="application/vnd.openxmlformats-officedocument.presentationml.tags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11.xml" ContentType="application/vnd.openxmlformats-officedocument.theme+xml"/>
  <Override PartName="/ppt/tags/tag13.xml" ContentType="application/vnd.openxmlformats-officedocument.presentationml.tags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theme/theme12.xml" ContentType="application/vnd.openxmlformats-officedocument.theme+xml"/>
  <Override PartName="/ppt/tags/tag14.xml" ContentType="application/vnd.openxmlformats-officedocument.presentationml.tags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13.xml" ContentType="application/vnd.openxmlformats-officedocument.theme+xml"/>
  <Override PartName="/ppt/tags/tag15.xml" ContentType="application/vnd.openxmlformats-officedocument.presentationml.tags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theme/theme14.xml" ContentType="application/vnd.openxmlformats-officedocument.theme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theme/theme15.xml" ContentType="application/vnd.openxmlformats-officedocument.theme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theme/theme16.xml" ContentType="application/vnd.openxmlformats-officedocument.theme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theme/theme17.xml" ContentType="application/vnd.openxmlformats-officedocument.theme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theme/theme18.xml" ContentType="application/vnd.openxmlformats-officedocument.theme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theme/theme19.xml" ContentType="application/vnd.openxmlformats-officedocument.theme+xml"/>
  <Override PartName="/ppt/slideLayouts/slideLayout369.xml" ContentType="application/vnd.openxmlformats-officedocument.presentationml.slideLayout+xml"/>
  <Override PartName="/ppt/theme/theme20.xml" ContentType="application/vnd.openxmlformats-officedocument.theme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theme/theme21.xml" ContentType="application/vnd.openxmlformats-officedocument.theme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theme/theme22.xml" ContentType="application/vnd.openxmlformats-officedocument.theme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theme/theme23.xml" ContentType="application/vnd.openxmlformats-officedocument.theme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theme/theme24.xml" ContentType="application/vnd.openxmlformats-officedocument.theme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theme/theme25.xml" ContentType="application/vnd.openxmlformats-officedocument.theme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theme/theme26.xml" ContentType="application/vnd.openxmlformats-officedocument.theme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theme/theme27.xml" ContentType="application/vnd.openxmlformats-officedocument.theme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theme/theme28.xml" ContentType="application/vnd.openxmlformats-officedocument.theme+xml"/>
  <Override PartName="/ppt/theme/theme29.xml" ContentType="application/vnd.openxmlformats-officedocument.theme+xml"/>
  <Override PartName="/ppt/theme/theme30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18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notesSlides/notesSlide19.xml" ContentType="application/vnd.openxmlformats-officedocument.presentationml.notesSlide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notesSlides/notesSlide20.xml" ContentType="application/vnd.openxmlformats-officedocument.presentationml.notesSlide+xml"/>
  <Override PartName="/ppt/charts/chart4.xml" ContentType="application/vnd.openxmlformats-officedocument.drawingml.chart+xml"/>
  <Override PartName="/ppt/notesSlides/notesSlide21.xml" ContentType="application/vnd.openxmlformats-officedocument.presentationml.notesSlide+xml"/>
  <Override PartName="/ppt/charts/chart5.xml" ContentType="application/vnd.openxmlformats-officedocument.drawingml.chart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6.xml" ContentType="application/vnd.openxmlformats-officedocument.drawingml.chart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25.xml" ContentType="application/vnd.openxmlformats-officedocument.presentationml.notesSlide+xml"/>
  <Override PartName="/ppt/tags/tag61.xml" ContentType="application/vnd.openxmlformats-officedocument.presentationml.tags+xml"/>
  <Override PartName="/ppt/notesSlides/notesSlide26.xml" ContentType="application/vnd.openxmlformats-officedocument.presentationml.notesSlide+xml"/>
  <Override PartName="/ppt/tags/tag62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0" r:id="rId8"/>
    <p:sldMasterId id="2147483923" r:id="rId9"/>
    <p:sldMasterId id="2147484153" r:id="rId10"/>
    <p:sldMasterId id="2147484177" r:id="rId11"/>
    <p:sldMasterId id="2147484209" r:id="rId12"/>
    <p:sldMasterId id="2147484214" r:id="rId13"/>
    <p:sldMasterId id="2147484240" r:id="rId14"/>
    <p:sldMasterId id="2147484289" r:id="rId15"/>
    <p:sldMasterId id="2147484313" r:id="rId16"/>
    <p:sldMasterId id="2147484337" r:id="rId17"/>
    <p:sldMasterId id="2147484361" r:id="rId18"/>
    <p:sldMasterId id="2147484389" r:id="rId19"/>
    <p:sldMasterId id="2147484421" r:id="rId20"/>
    <p:sldMasterId id="2147484445" r:id="rId21"/>
    <p:sldMasterId id="2147484465" r:id="rId22"/>
    <p:sldMasterId id="2147484485" r:id="rId23"/>
    <p:sldMasterId id="2147484517" r:id="rId24"/>
    <p:sldMasterId id="2147484531" r:id="rId25"/>
    <p:sldMasterId id="2147484537" r:id="rId26"/>
    <p:sldMasterId id="2147484544" r:id="rId27"/>
    <p:sldMasterId id="2147484546" r:id="rId28"/>
    <p:sldMasterId id="2147484588" r:id="rId29"/>
    <p:sldMasterId id="2147484592" r:id="rId30"/>
    <p:sldMasterId id="2147484629" r:id="rId31"/>
    <p:sldMasterId id="2147484660" r:id="rId32"/>
    <p:sldMasterId id="2147484694" r:id="rId33"/>
    <p:sldMasterId id="2147484703" r:id="rId34"/>
    <p:sldMasterId id="2147484713" r:id="rId35"/>
  </p:sldMasterIdLst>
  <p:notesMasterIdLst>
    <p:notesMasterId r:id="rId112"/>
  </p:notesMasterIdLst>
  <p:handoutMasterIdLst>
    <p:handoutMasterId r:id="rId113"/>
  </p:handoutMasterIdLst>
  <p:sldIdLst>
    <p:sldId id="333" r:id="rId36"/>
    <p:sldId id="379" r:id="rId37"/>
    <p:sldId id="2147378498" r:id="rId38"/>
    <p:sldId id="7739" r:id="rId39"/>
    <p:sldId id="2147378507" r:id="rId40"/>
    <p:sldId id="2134806040" r:id="rId41"/>
    <p:sldId id="536" r:id="rId42"/>
    <p:sldId id="342" r:id="rId43"/>
    <p:sldId id="396" r:id="rId44"/>
    <p:sldId id="411" r:id="rId45"/>
    <p:sldId id="2147378513" r:id="rId46"/>
    <p:sldId id="395" r:id="rId47"/>
    <p:sldId id="382" r:id="rId48"/>
    <p:sldId id="377" r:id="rId49"/>
    <p:sldId id="406" r:id="rId50"/>
    <p:sldId id="346" r:id="rId51"/>
    <p:sldId id="446" r:id="rId52"/>
    <p:sldId id="432" r:id="rId53"/>
    <p:sldId id="447" r:id="rId54"/>
    <p:sldId id="431" r:id="rId55"/>
    <p:sldId id="441" r:id="rId56"/>
    <p:sldId id="2147378514" r:id="rId57"/>
    <p:sldId id="442" r:id="rId58"/>
    <p:sldId id="437" r:id="rId59"/>
    <p:sldId id="439" r:id="rId60"/>
    <p:sldId id="440" r:id="rId61"/>
    <p:sldId id="2147378515" r:id="rId62"/>
    <p:sldId id="2147378511" r:id="rId63"/>
    <p:sldId id="273" r:id="rId64"/>
    <p:sldId id="302" r:id="rId65"/>
    <p:sldId id="2147378512" r:id="rId66"/>
    <p:sldId id="344" r:id="rId67"/>
    <p:sldId id="359" r:id="rId68"/>
    <p:sldId id="357" r:id="rId69"/>
    <p:sldId id="356" r:id="rId70"/>
    <p:sldId id="348" r:id="rId71"/>
    <p:sldId id="349" r:id="rId72"/>
    <p:sldId id="351" r:id="rId73"/>
    <p:sldId id="352" r:id="rId74"/>
    <p:sldId id="353" r:id="rId75"/>
    <p:sldId id="350" r:id="rId76"/>
    <p:sldId id="319" r:id="rId77"/>
    <p:sldId id="360" r:id="rId78"/>
    <p:sldId id="361" r:id="rId79"/>
    <p:sldId id="362" r:id="rId80"/>
    <p:sldId id="363" r:id="rId81"/>
    <p:sldId id="364" r:id="rId82"/>
    <p:sldId id="365" r:id="rId83"/>
    <p:sldId id="366" r:id="rId84"/>
    <p:sldId id="2147378510" r:id="rId85"/>
    <p:sldId id="2147378495" r:id="rId86"/>
    <p:sldId id="2258" r:id="rId87"/>
    <p:sldId id="2134805790" r:id="rId88"/>
    <p:sldId id="2134805802" r:id="rId89"/>
    <p:sldId id="2134805791" r:id="rId90"/>
    <p:sldId id="436" r:id="rId91"/>
    <p:sldId id="2134805798" r:id="rId92"/>
    <p:sldId id="2134805803" r:id="rId93"/>
    <p:sldId id="7771" r:id="rId94"/>
    <p:sldId id="2147378503" r:id="rId95"/>
    <p:sldId id="2147378502" r:id="rId96"/>
    <p:sldId id="2134805949" r:id="rId97"/>
    <p:sldId id="2134805954" r:id="rId98"/>
    <p:sldId id="2134805960" r:id="rId99"/>
    <p:sldId id="2134805957" r:id="rId100"/>
    <p:sldId id="2134805966" r:id="rId101"/>
    <p:sldId id="2147378504" r:id="rId102"/>
    <p:sldId id="429" r:id="rId103"/>
    <p:sldId id="7778" r:id="rId104"/>
    <p:sldId id="294" r:id="rId105"/>
    <p:sldId id="296" r:id="rId106"/>
    <p:sldId id="297" r:id="rId107"/>
    <p:sldId id="298" r:id="rId108"/>
    <p:sldId id="2147378505" r:id="rId109"/>
    <p:sldId id="2147378506" r:id="rId110"/>
    <p:sldId id="2147378509" r:id="rId111"/>
  </p:sldIdLst>
  <p:sldSz cx="12192000" cy="6858000"/>
  <p:notesSz cx="6735763" cy="9866313"/>
  <p:custDataLst>
    <p:tags r:id="rId1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954A5FC3-8436-4F4B-9C05-2A3D8BF2C34B}">
          <p14:sldIdLst>
            <p14:sldId id="333"/>
            <p14:sldId id="379"/>
            <p14:sldId id="2147378498"/>
            <p14:sldId id="7739"/>
            <p14:sldId id="2147378507"/>
            <p14:sldId id="2134806040"/>
            <p14:sldId id="536"/>
            <p14:sldId id="342"/>
            <p14:sldId id="396"/>
            <p14:sldId id="411"/>
            <p14:sldId id="2147378513"/>
            <p14:sldId id="395"/>
            <p14:sldId id="382"/>
            <p14:sldId id="377"/>
            <p14:sldId id="406"/>
            <p14:sldId id="346"/>
            <p14:sldId id="446"/>
            <p14:sldId id="432"/>
            <p14:sldId id="447"/>
            <p14:sldId id="431"/>
            <p14:sldId id="441"/>
            <p14:sldId id="2147378514"/>
            <p14:sldId id="442"/>
            <p14:sldId id="437"/>
            <p14:sldId id="439"/>
            <p14:sldId id="440"/>
            <p14:sldId id="2147378515"/>
            <p14:sldId id="2147378511"/>
            <p14:sldId id="273"/>
            <p14:sldId id="302"/>
            <p14:sldId id="2147378512"/>
            <p14:sldId id="344"/>
            <p14:sldId id="359"/>
            <p14:sldId id="357"/>
            <p14:sldId id="356"/>
            <p14:sldId id="348"/>
            <p14:sldId id="349"/>
            <p14:sldId id="351"/>
            <p14:sldId id="352"/>
            <p14:sldId id="353"/>
            <p14:sldId id="350"/>
            <p14:sldId id="319"/>
            <p14:sldId id="360"/>
            <p14:sldId id="361"/>
            <p14:sldId id="362"/>
            <p14:sldId id="363"/>
            <p14:sldId id="364"/>
            <p14:sldId id="365"/>
            <p14:sldId id="366"/>
            <p14:sldId id="2147378510"/>
            <p14:sldId id="2147378495"/>
            <p14:sldId id="2258"/>
            <p14:sldId id="2134805790"/>
            <p14:sldId id="2134805802"/>
            <p14:sldId id="2134805791"/>
            <p14:sldId id="436"/>
            <p14:sldId id="2134805798"/>
            <p14:sldId id="2134805803"/>
            <p14:sldId id="7771"/>
            <p14:sldId id="2147378503"/>
            <p14:sldId id="2147378502"/>
            <p14:sldId id="2134805949"/>
            <p14:sldId id="2134805954"/>
            <p14:sldId id="2134805960"/>
            <p14:sldId id="2134805957"/>
            <p14:sldId id="2134805966"/>
            <p14:sldId id="2147378504"/>
            <p14:sldId id="429"/>
            <p14:sldId id="7778"/>
            <p14:sldId id="294"/>
            <p14:sldId id="296"/>
            <p14:sldId id="297"/>
            <p14:sldId id="298"/>
            <p14:sldId id="2147378505"/>
            <p14:sldId id="2147378506"/>
            <p14:sldId id="214737850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CC4D5B8-783D-243A-E0B5-53ABD6C8ABE2}" name="Janna Marie Birr-Pedersen" initials="JMBP" userId="Janna Marie Birr-Pedersen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thrine Søegaard" initials="CS" lastIdx="1" clrIdx="0">
    <p:extLst>
      <p:ext uri="{19B8F6BF-5375-455C-9EA6-DF929625EA0E}">
        <p15:presenceInfo xmlns:p15="http://schemas.microsoft.com/office/powerpoint/2012/main" userId="S-1-5-21-2901486574-2194754486-1025542450-5316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E3E3E3"/>
    <a:srgbClr val="0A515D"/>
    <a:srgbClr val="0053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2F78D7C-DF12-4222-BE7E-FC641D50AA7B}" v="4" dt="2023-05-31T12:42:09.508"/>
  </p1510:revLst>
</p1510:revInfo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188" autoAdjust="0"/>
    <p:restoredTop sz="89186" autoAdjust="0"/>
  </p:normalViewPr>
  <p:slideViewPr>
    <p:cSldViewPr snapToGrid="0" showGuides="1">
      <p:cViewPr varScale="1">
        <p:scale>
          <a:sx n="67" d="100"/>
          <a:sy n="67" d="100"/>
        </p:scale>
        <p:origin x="828" y="4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1" d="100"/>
          <a:sy n="121" d="100"/>
        </p:scale>
        <p:origin x="493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19.xml"/><Relationship Id="rId117" Type="http://schemas.openxmlformats.org/officeDocument/2006/relationships/viewProps" Target="viewProps.xml"/><Relationship Id="rId21" Type="http://schemas.openxmlformats.org/officeDocument/2006/relationships/slideMaster" Target="slideMasters/slideMaster14.xml"/><Relationship Id="rId42" Type="http://schemas.openxmlformats.org/officeDocument/2006/relationships/slide" Target="slides/slide7.xml"/><Relationship Id="rId47" Type="http://schemas.openxmlformats.org/officeDocument/2006/relationships/slide" Target="slides/slide12.xml"/><Relationship Id="rId63" Type="http://schemas.openxmlformats.org/officeDocument/2006/relationships/slide" Target="slides/slide28.xml"/><Relationship Id="rId68" Type="http://schemas.openxmlformats.org/officeDocument/2006/relationships/slide" Target="slides/slide33.xml"/><Relationship Id="rId84" Type="http://schemas.openxmlformats.org/officeDocument/2006/relationships/slide" Target="slides/slide49.xml"/><Relationship Id="rId89" Type="http://schemas.openxmlformats.org/officeDocument/2006/relationships/slide" Target="slides/slide54.xml"/><Relationship Id="rId112" Type="http://schemas.openxmlformats.org/officeDocument/2006/relationships/notesMaster" Target="notesMasters/notesMaster1.xml"/><Relationship Id="rId16" Type="http://schemas.openxmlformats.org/officeDocument/2006/relationships/slideMaster" Target="slideMasters/slideMaster9.xml"/><Relationship Id="rId107" Type="http://schemas.openxmlformats.org/officeDocument/2006/relationships/slide" Target="slides/slide72.xml"/><Relationship Id="rId11" Type="http://schemas.openxmlformats.org/officeDocument/2006/relationships/slideMaster" Target="slideMasters/slideMaster4.xml"/><Relationship Id="rId32" Type="http://schemas.openxmlformats.org/officeDocument/2006/relationships/slideMaster" Target="slideMasters/slideMaster25.xml"/><Relationship Id="rId37" Type="http://schemas.openxmlformats.org/officeDocument/2006/relationships/slide" Target="slides/slide2.xml"/><Relationship Id="rId53" Type="http://schemas.openxmlformats.org/officeDocument/2006/relationships/slide" Target="slides/slide18.xml"/><Relationship Id="rId58" Type="http://schemas.openxmlformats.org/officeDocument/2006/relationships/slide" Target="slides/slide23.xml"/><Relationship Id="rId74" Type="http://schemas.openxmlformats.org/officeDocument/2006/relationships/slide" Target="slides/slide39.xml"/><Relationship Id="rId79" Type="http://schemas.openxmlformats.org/officeDocument/2006/relationships/slide" Target="slides/slide44.xml"/><Relationship Id="rId102" Type="http://schemas.openxmlformats.org/officeDocument/2006/relationships/slide" Target="slides/slide67.xml"/><Relationship Id="rId5" Type="http://schemas.openxmlformats.org/officeDocument/2006/relationships/customXml" Target="../customXml/item5.xml"/><Relationship Id="rId61" Type="http://schemas.openxmlformats.org/officeDocument/2006/relationships/slide" Target="slides/slide26.xml"/><Relationship Id="rId82" Type="http://schemas.openxmlformats.org/officeDocument/2006/relationships/slide" Target="slides/slide47.xml"/><Relationship Id="rId90" Type="http://schemas.openxmlformats.org/officeDocument/2006/relationships/slide" Target="slides/slide55.xml"/><Relationship Id="rId95" Type="http://schemas.openxmlformats.org/officeDocument/2006/relationships/slide" Target="slides/slide60.xml"/><Relationship Id="rId19" Type="http://schemas.openxmlformats.org/officeDocument/2006/relationships/slideMaster" Target="slideMasters/slideMaster12.xml"/><Relationship Id="rId14" Type="http://schemas.openxmlformats.org/officeDocument/2006/relationships/slideMaster" Target="slideMasters/slideMaster7.xml"/><Relationship Id="rId22" Type="http://schemas.openxmlformats.org/officeDocument/2006/relationships/slideMaster" Target="slideMasters/slideMaster15.xml"/><Relationship Id="rId27" Type="http://schemas.openxmlformats.org/officeDocument/2006/relationships/slideMaster" Target="slideMasters/slideMaster20.xml"/><Relationship Id="rId30" Type="http://schemas.openxmlformats.org/officeDocument/2006/relationships/slideMaster" Target="slideMasters/slideMaster23.xml"/><Relationship Id="rId35" Type="http://schemas.openxmlformats.org/officeDocument/2006/relationships/slideMaster" Target="slideMasters/slideMaster28.xml"/><Relationship Id="rId43" Type="http://schemas.openxmlformats.org/officeDocument/2006/relationships/slide" Target="slides/slide8.xml"/><Relationship Id="rId48" Type="http://schemas.openxmlformats.org/officeDocument/2006/relationships/slide" Target="slides/slide13.xml"/><Relationship Id="rId56" Type="http://schemas.openxmlformats.org/officeDocument/2006/relationships/slide" Target="slides/slide21.xml"/><Relationship Id="rId64" Type="http://schemas.openxmlformats.org/officeDocument/2006/relationships/slide" Target="slides/slide29.xml"/><Relationship Id="rId69" Type="http://schemas.openxmlformats.org/officeDocument/2006/relationships/slide" Target="slides/slide34.xml"/><Relationship Id="rId77" Type="http://schemas.openxmlformats.org/officeDocument/2006/relationships/slide" Target="slides/slide42.xml"/><Relationship Id="rId100" Type="http://schemas.openxmlformats.org/officeDocument/2006/relationships/slide" Target="slides/slide65.xml"/><Relationship Id="rId105" Type="http://schemas.openxmlformats.org/officeDocument/2006/relationships/slide" Target="slides/slide70.xml"/><Relationship Id="rId113" Type="http://schemas.openxmlformats.org/officeDocument/2006/relationships/handoutMaster" Target="handoutMasters/handoutMaster1.xml"/><Relationship Id="rId118" Type="http://schemas.openxmlformats.org/officeDocument/2006/relationships/theme" Target="theme/theme1.xml"/><Relationship Id="rId8" Type="http://schemas.openxmlformats.org/officeDocument/2006/relationships/slideMaster" Target="slideMasters/slideMaster1.xml"/><Relationship Id="rId51" Type="http://schemas.openxmlformats.org/officeDocument/2006/relationships/slide" Target="slides/slide16.xml"/><Relationship Id="rId72" Type="http://schemas.openxmlformats.org/officeDocument/2006/relationships/slide" Target="slides/slide37.xml"/><Relationship Id="rId80" Type="http://schemas.openxmlformats.org/officeDocument/2006/relationships/slide" Target="slides/slide45.xml"/><Relationship Id="rId85" Type="http://schemas.openxmlformats.org/officeDocument/2006/relationships/slide" Target="slides/slide50.xml"/><Relationship Id="rId93" Type="http://schemas.openxmlformats.org/officeDocument/2006/relationships/slide" Target="slides/slide58.xml"/><Relationship Id="rId98" Type="http://schemas.openxmlformats.org/officeDocument/2006/relationships/slide" Target="slides/slide63.xml"/><Relationship Id="rId121" Type="http://schemas.microsoft.com/office/2015/10/relationships/revisionInfo" Target="revisionInfo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5.xml"/><Relationship Id="rId17" Type="http://schemas.openxmlformats.org/officeDocument/2006/relationships/slideMaster" Target="slideMasters/slideMaster10.xml"/><Relationship Id="rId25" Type="http://schemas.openxmlformats.org/officeDocument/2006/relationships/slideMaster" Target="slideMasters/slideMaster18.xml"/><Relationship Id="rId33" Type="http://schemas.openxmlformats.org/officeDocument/2006/relationships/slideMaster" Target="slideMasters/slideMaster26.xml"/><Relationship Id="rId38" Type="http://schemas.openxmlformats.org/officeDocument/2006/relationships/slide" Target="slides/slide3.xml"/><Relationship Id="rId46" Type="http://schemas.openxmlformats.org/officeDocument/2006/relationships/slide" Target="slides/slide11.xml"/><Relationship Id="rId59" Type="http://schemas.openxmlformats.org/officeDocument/2006/relationships/slide" Target="slides/slide24.xml"/><Relationship Id="rId67" Type="http://schemas.openxmlformats.org/officeDocument/2006/relationships/slide" Target="slides/slide32.xml"/><Relationship Id="rId103" Type="http://schemas.openxmlformats.org/officeDocument/2006/relationships/slide" Target="slides/slide68.xml"/><Relationship Id="rId108" Type="http://schemas.openxmlformats.org/officeDocument/2006/relationships/slide" Target="slides/slide73.xml"/><Relationship Id="rId116" Type="http://schemas.openxmlformats.org/officeDocument/2006/relationships/presProps" Target="presProps.xml"/><Relationship Id="rId20" Type="http://schemas.openxmlformats.org/officeDocument/2006/relationships/slideMaster" Target="slideMasters/slideMaster13.xml"/><Relationship Id="rId41" Type="http://schemas.openxmlformats.org/officeDocument/2006/relationships/slide" Target="slides/slide6.xml"/><Relationship Id="rId54" Type="http://schemas.openxmlformats.org/officeDocument/2006/relationships/slide" Target="slides/slide19.xml"/><Relationship Id="rId62" Type="http://schemas.openxmlformats.org/officeDocument/2006/relationships/slide" Target="slides/slide27.xml"/><Relationship Id="rId70" Type="http://schemas.openxmlformats.org/officeDocument/2006/relationships/slide" Target="slides/slide35.xml"/><Relationship Id="rId75" Type="http://schemas.openxmlformats.org/officeDocument/2006/relationships/slide" Target="slides/slide40.xml"/><Relationship Id="rId83" Type="http://schemas.openxmlformats.org/officeDocument/2006/relationships/slide" Target="slides/slide48.xml"/><Relationship Id="rId88" Type="http://schemas.openxmlformats.org/officeDocument/2006/relationships/slide" Target="slides/slide53.xml"/><Relationship Id="rId91" Type="http://schemas.openxmlformats.org/officeDocument/2006/relationships/slide" Target="slides/slide56.xml"/><Relationship Id="rId96" Type="http://schemas.openxmlformats.org/officeDocument/2006/relationships/slide" Target="slides/slide61.xml"/><Relationship Id="rId111" Type="http://schemas.openxmlformats.org/officeDocument/2006/relationships/slide" Target="slides/slide76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slideMaster" Target="slideMasters/slideMaster8.xml"/><Relationship Id="rId23" Type="http://schemas.openxmlformats.org/officeDocument/2006/relationships/slideMaster" Target="slideMasters/slideMaster16.xml"/><Relationship Id="rId28" Type="http://schemas.openxmlformats.org/officeDocument/2006/relationships/slideMaster" Target="slideMasters/slideMaster21.xml"/><Relationship Id="rId36" Type="http://schemas.openxmlformats.org/officeDocument/2006/relationships/slide" Target="slides/slide1.xml"/><Relationship Id="rId49" Type="http://schemas.openxmlformats.org/officeDocument/2006/relationships/slide" Target="slides/slide14.xml"/><Relationship Id="rId57" Type="http://schemas.openxmlformats.org/officeDocument/2006/relationships/slide" Target="slides/slide22.xml"/><Relationship Id="rId106" Type="http://schemas.openxmlformats.org/officeDocument/2006/relationships/slide" Target="slides/slide71.xml"/><Relationship Id="rId114" Type="http://schemas.openxmlformats.org/officeDocument/2006/relationships/tags" Target="tags/tag1.xml"/><Relationship Id="rId119" Type="http://schemas.openxmlformats.org/officeDocument/2006/relationships/tableStyles" Target="tableStyles.xml"/><Relationship Id="rId10" Type="http://schemas.openxmlformats.org/officeDocument/2006/relationships/slideMaster" Target="slideMasters/slideMaster3.xml"/><Relationship Id="rId31" Type="http://schemas.openxmlformats.org/officeDocument/2006/relationships/slideMaster" Target="slideMasters/slideMaster24.xml"/><Relationship Id="rId44" Type="http://schemas.openxmlformats.org/officeDocument/2006/relationships/slide" Target="slides/slide9.xml"/><Relationship Id="rId52" Type="http://schemas.openxmlformats.org/officeDocument/2006/relationships/slide" Target="slides/slide17.xml"/><Relationship Id="rId60" Type="http://schemas.openxmlformats.org/officeDocument/2006/relationships/slide" Target="slides/slide25.xml"/><Relationship Id="rId65" Type="http://schemas.openxmlformats.org/officeDocument/2006/relationships/slide" Target="slides/slide30.xml"/><Relationship Id="rId73" Type="http://schemas.openxmlformats.org/officeDocument/2006/relationships/slide" Target="slides/slide38.xml"/><Relationship Id="rId78" Type="http://schemas.openxmlformats.org/officeDocument/2006/relationships/slide" Target="slides/slide43.xml"/><Relationship Id="rId81" Type="http://schemas.openxmlformats.org/officeDocument/2006/relationships/slide" Target="slides/slide46.xml"/><Relationship Id="rId86" Type="http://schemas.openxmlformats.org/officeDocument/2006/relationships/slide" Target="slides/slide51.xml"/><Relationship Id="rId94" Type="http://schemas.openxmlformats.org/officeDocument/2006/relationships/slide" Target="slides/slide59.xml"/><Relationship Id="rId99" Type="http://schemas.openxmlformats.org/officeDocument/2006/relationships/slide" Target="slides/slide64.xml"/><Relationship Id="rId101" Type="http://schemas.openxmlformats.org/officeDocument/2006/relationships/slide" Target="slides/slide66.xml"/><Relationship Id="rId122" Type="http://schemas.microsoft.com/office/2018/10/relationships/authors" Target="author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2.xml"/><Relationship Id="rId13" Type="http://schemas.openxmlformats.org/officeDocument/2006/relationships/slideMaster" Target="slideMasters/slideMaster6.xml"/><Relationship Id="rId18" Type="http://schemas.openxmlformats.org/officeDocument/2006/relationships/slideMaster" Target="slideMasters/slideMaster11.xml"/><Relationship Id="rId39" Type="http://schemas.openxmlformats.org/officeDocument/2006/relationships/slide" Target="slides/slide4.xml"/><Relationship Id="rId109" Type="http://schemas.openxmlformats.org/officeDocument/2006/relationships/slide" Target="slides/slide74.xml"/><Relationship Id="rId34" Type="http://schemas.openxmlformats.org/officeDocument/2006/relationships/slideMaster" Target="slideMasters/slideMaster27.xml"/><Relationship Id="rId50" Type="http://schemas.openxmlformats.org/officeDocument/2006/relationships/slide" Target="slides/slide15.xml"/><Relationship Id="rId55" Type="http://schemas.openxmlformats.org/officeDocument/2006/relationships/slide" Target="slides/slide20.xml"/><Relationship Id="rId76" Type="http://schemas.openxmlformats.org/officeDocument/2006/relationships/slide" Target="slides/slide41.xml"/><Relationship Id="rId97" Type="http://schemas.openxmlformats.org/officeDocument/2006/relationships/slide" Target="slides/slide62.xml"/><Relationship Id="rId104" Type="http://schemas.openxmlformats.org/officeDocument/2006/relationships/slide" Target="slides/slide69.xml"/><Relationship Id="rId120" Type="http://schemas.microsoft.com/office/2016/11/relationships/changesInfo" Target="changesInfos/changesInfo1.xml"/><Relationship Id="rId7" Type="http://schemas.openxmlformats.org/officeDocument/2006/relationships/customXml" Target="../customXml/item7.xml"/><Relationship Id="rId71" Type="http://schemas.openxmlformats.org/officeDocument/2006/relationships/slide" Target="slides/slide36.xml"/><Relationship Id="rId92" Type="http://schemas.openxmlformats.org/officeDocument/2006/relationships/slide" Target="slides/slide57.xml"/><Relationship Id="rId2" Type="http://schemas.openxmlformats.org/officeDocument/2006/relationships/customXml" Target="../customXml/item2.xml"/><Relationship Id="rId29" Type="http://schemas.openxmlformats.org/officeDocument/2006/relationships/slideMaster" Target="slideMasters/slideMaster22.xml"/><Relationship Id="rId24" Type="http://schemas.openxmlformats.org/officeDocument/2006/relationships/slideMaster" Target="slideMasters/slideMaster17.xml"/><Relationship Id="rId40" Type="http://schemas.openxmlformats.org/officeDocument/2006/relationships/slide" Target="slides/slide5.xml"/><Relationship Id="rId45" Type="http://schemas.openxmlformats.org/officeDocument/2006/relationships/slide" Target="slides/slide10.xml"/><Relationship Id="rId66" Type="http://schemas.openxmlformats.org/officeDocument/2006/relationships/slide" Target="slides/slide31.xml"/><Relationship Id="rId87" Type="http://schemas.openxmlformats.org/officeDocument/2006/relationships/slide" Target="slides/slide52.xml"/><Relationship Id="rId110" Type="http://schemas.openxmlformats.org/officeDocument/2006/relationships/slide" Target="slides/slide75.xml"/><Relationship Id="rId115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fie Marie Skov" userId="01840081-7598-4482-8774-086d596ae1f3" providerId="ADAL" clId="{82F78D7C-DF12-4222-BE7E-FC641D50AA7B}"/>
    <pc:docChg chg="undo custSel addSld delSld modSld delMainMaster modSection">
      <pc:chgData name="Sofie Marie Skov" userId="01840081-7598-4482-8774-086d596ae1f3" providerId="ADAL" clId="{82F78D7C-DF12-4222-BE7E-FC641D50AA7B}" dt="2023-05-31T12:45:30.296" v="136" actId="20577"/>
      <pc:docMkLst>
        <pc:docMk/>
      </pc:docMkLst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2984226134" sldId="270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3879162908" sldId="271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2566808800" sldId="273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3133273923" sldId="274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3683463066" sldId="294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1507819335" sldId="296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2624436793" sldId="297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3863952814" sldId="299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337948215" sldId="300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3564916238" sldId="307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3608575227" sldId="308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2306274148" sldId="309"/>
        </pc:sldMkLst>
      </pc:sldChg>
      <pc:sldChg chg="add del">
        <pc:chgData name="Sofie Marie Skov" userId="01840081-7598-4482-8774-086d596ae1f3" providerId="ADAL" clId="{82F78D7C-DF12-4222-BE7E-FC641D50AA7B}" dt="2023-05-31T12:40:35.909" v="1"/>
        <pc:sldMkLst>
          <pc:docMk/>
          <pc:sldMk cId="1152280479" sldId="333"/>
        </pc:sldMkLst>
      </pc:sldChg>
      <pc:sldChg chg="del">
        <pc:chgData name="Sofie Marie Skov" userId="01840081-7598-4482-8774-086d596ae1f3" providerId="ADAL" clId="{82F78D7C-DF12-4222-BE7E-FC641D50AA7B}" dt="2023-05-31T12:40:39.880" v="2" actId="2696"/>
        <pc:sldMkLst>
          <pc:docMk/>
          <pc:sldMk cId="377618817" sldId="335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3531119436" sldId="336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3373931389" sldId="342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1372136762" sldId="344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2298775630" sldId="345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3484213440" sldId="346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654333005" sldId="347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3875021128" sldId="348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2095286679" sldId="349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1119904142" sldId="350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392206095" sldId="351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1095511732" sldId="352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662351882" sldId="353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1663586446" sldId="356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2808859989" sldId="363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1958070935" sldId="377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2881958889" sldId="382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2074431420" sldId="395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4192393366" sldId="396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2511687028" sldId="406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44076360" sldId="411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1284286380" sldId="425"/>
        </pc:sldMkLst>
      </pc:sldChg>
      <pc:sldChg chg="add del">
        <pc:chgData name="Sofie Marie Skov" userId="01840081-7598-4482-8774-086d596ae1f3" providerId="ADAL" clId="{82F78D7C-DF12-4222-BE7E-FC641D50AA7B}" dt="2023-05-31T12:40:35.909" v="1"/>
        <pc:sldMkLst>
          <pc:docMk/>
          <pc:sldMk cId="2533479889" sldId="429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2019777990" sldId="430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2441739861" sldId="431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85761432" sldId="432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1367194379" sldId="433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297614518" sldId="434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2595802044" sldId="435"/>
        </pc:sldMkLst>
      </pc:sldChg>
      <pc:sldChg chg="add del">
        <pc:chgData name="Sofie Marie Skov" userId="01840081-7598-4482-8774-086d596ae1f3" providerId="ADAL" clId="{82F78D7C-DF12-4222-BE7E-FC641D50AA7B}" dt="2023-05-31T12:40:35.909" v="1"/>
        <pc:sldMkLst>
          <pc:docMk/>
          <pc:sldMk cId="3142483522" sldId="536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937325451" sldId="2265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2538864273" sldId="7712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2272380747" sldId="7713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2160020706" sldId="7738"/>
        </pc:sldMkLst>
      </pc:sldChg>
      <pc:sldChg chg="add del">
        <pc:chgData name="Sofie Marie Skov" userId="01840081-7598-4482-8774-086d596ae1f3" providerId="ADAL" clId="{82F78D7C-DF12-4222-BE7E-FC641D50AA7B}" dt="2023-05-31T12:40:35.909" v="1"/>
        <pc:sldMkLst>
          <pc:docMk/>
          <pc:sldMk cId="3379999804" sldId="7739"/>
        </pc:sldMkLst>
      </pc:sldChg>
      <pc:sldChg chg="add del">
        <pc:chgData name="Sofie Marie Skov" userId="01840081-7598-4482-8774-086d596ae1f3" providerId="ADAL" clId="{82F78D7C-DF12-4222-BE7E-FC641D50AA7B}" dt="2023-05-31T12:40:35.909" v="1"/>
        <pc:sldMkLst>
          <pc:docMk/>
          <pc:sldMk cId="4008331029" sldId="7741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48746662" sldId="11438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3840672852" sldId="2134805948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4105186872" sldId="2134805949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3951663077" sldId="2134805950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1069395634" sldId="2147378434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405198427" sldId="2147378493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964515760" sldId="2147378494"/>
        </pc:sldMkLst>
      </pc:sldChg>
      <pc:sldChg chg="add del">
        <pc:chgData name="Sofie Marie Skov" userId="01840081-7598-4482-8774-086d596ae1f3" providerId="ADAL" clId="{82F78D7C-DF12-4222-BE7E-FC641D50AA7B}" dt="2023-05-31T12:40:35.909" v="1"/>
        <pc:sldMkLst>
          <pc:docMk/>
          <pc:sldMk cId="3963038723" sldId="2147378495"/>
        </pc:sldMkLst>
      </pc:sldChg>
      <pc:sldChg chg="addSp delSp modSp add del mod">
        <pc:chgData name="Sofie Marie Skov" userId="01840081-7598-4482-8774-086d596ae1f3" providerId="ADAL" clId="{82F78D7C-DF12-4222-BE7E-FC641D50AA7B}" dt="2023-05-31T12:45:18.962" v="126" actId="20577"/>
        <pc:sldMkLst>
          <pc:docMk/>
          <pc:sldMk cId="1384503286" sldId="2147378498"/>
        </pc:sldMkLst>
        <pc:spChg chg="mod">
          <ac:chgData name="Sofie Marie Skov" userId="01840081-7598-4482-8774-086d596ae1f3" providerId="ADAL" clId="{82F78D7C-DF12-4222-BE7E-FC641D50AA7B}" dt="2023-05-31T12:45:18.962" v="126" actId="20577"/>
          <ac:spMkLst>
            <pc:docMk/>
            <pc:sldMk cId="1384503286" sldId="2147378498"/>
            <ac:spMk id="2" creationId="{FFA73EB6-DEB7-138C-1A3F-2FE15C0356FF}"/>
          </ac:spMkLst>
        </pc:spChg>
        <pc:spChg chg="mod">
          <ac:chgData name="Sofie Marie Skov" userId="01840081-7598-4482-8774-086d596ae1f3" providerId="ADAL" clId="{82F78D7C-DF12-4222-BE7E-FC641D50AA7B}" dt="2023-05-31T12:44:40.162" v="123" actId="20577"/>
          <ac:spMkLst>
            <pc:docMk/>
            <pc:sldMk cId="1384503286" sldId="2147378498"/>
            <ac:spMk id="3" creationId="{E3F11AC7-F7F4-3431-51C4-3C71B4A9F11F}"/>
          </ac:spMkLst>
        </pc:spChg>
        <pc:spChg chg="add del mod">
          <ac:chgData name="Sofie Marie Skov" userId="01840081-7598-4482-8774-086d596ae1f3" providerId="ADAL" clId="{82F78D7C-DF12-4222-BE7E-FC641D50AA7B}" dt="2023-05-31T12:44:52.736" v="124" actId="478"/>
          <ac:spMkLst>
            <pc:docMk/>
            <pc:sldMk cId="1384503286" sldId="2147378498"/>
            <ac:spMk id="6" creationId="{D433E165-F275-E770-4007-4FD2904B492B}"/>
          </ac:spMkLst>
        </pc:spChg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2571356901" sldId="2147378499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6364523" sldId="2147378500"/>
        </pc:sldMkLst>
      </pc:sldChg>
      <pc:sldChg chg="modSp add del mod">
        <pc:chgData name="Sofie Marie Skov" userId="01840081-7598-4482-8774-086d596ae1f3" providerId="ADAL" clId="{82F78D7C-DF12-4222-BE7E-FC641D50AA7B}" dt="2023-05-31T12:40:51.149" v="4" actId="20577"/>
        <pc:sldMkLst>
          <pc:docMk/>
          <pc:sldMk cId="3969651339" sldId="2147378501"/>
        </pc:sldMkLst>
        <pc:spChg chg="mod">
          <ac:chgData name="Sofie Marie Skov" userId="01840081-7598-4482-8774-086d596ae1f3" providerId="ADAL" clId="{82F78D7C-DF12-4222-BE7E-FC641D50AA7B}" dt="2023-05-31T12:40:51.149" v="4" actId="20577"/>
          <ac:spMkLst>
            <pc:docMk/>
            <pc:sldMk cId="3969651339" sldId="2147378501"/>
            <ac:spMk id="3" creationId="{FC7B88F4-6A1A-3BAE-49B2-B760D0D117F5}"/>
          </ac:spMkLst>
        </pc:spChg>
        <pc:spChg chg="mod">
          <ac:chgData name="Sofie Marie Skov" userId="01840081-7598-4482-8774-086d596ae1f3" providerId="ADAL" clId="{82F78D7C-DF12-4222-BE7E-FC641D50AA7B}" dt="2023-05-31T12:40:35.909" v="1"/>
          <ac:spMkLst>
            <pc:docMk/>
            <pc:sldMk cId="3969651339" sldId="2147378501"/>
            <ac:spMk id="4" creationId="{FEA4CCB3-412D-EE46-24E8-ADA02FE19926}"/>
          </ac:spMkLst>
        </pc:spChg>
        <pc:spChg chg="mod">
          <ac:chgData name="Sofie Marie Skov" userId="01840081-7598-4482-8774-086d596ae1f3" providerId="ADAL" clId="{82F78D7C-DF12-4222-BE7E-FC641D50AA7B}" dt="2023-05-31T12:40:35.909" v="1"/>
          <ac:spMkLst>
            <pc:docMk/>
            <pc:sldMk cId="3969651339" sldId="2147378501"/>
            <ac:spMk id="6" creationId="{6C84A80E-0801-ACDF-9EB2-5A00E40A9D3D}"/>
          </ac:spMkLst>
        </pc:spChg>
        <pc:spChg chg="mod">
          <ac:chgData name="Sofie Marie Skov" userId="01840081-7598-4482-8774-086d596ae1f3" providerId="ADAL" clId="{82F78D7C-DF12-4222-BE7E-FC641D50AA7B}" dt="2023-05-31T12:40:35.909" v="1"/>
          <ac:spMkLst>
            <pc:docMk/>
            <pc:sldMk cId="3969651339" sldId="2147378501"/>
            <ac:spMk id="11" creationId="{5FAFFEC4-D555-AF91-85CD-2F3D6E1BD88B}"/>
          </ac:spMkLst>
        </pc:spChg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505359148" sldId="2147378502"/>
        </pc:sldMkLst>
      </pc:sldChg>
      <pc:sldChg chg="modSp add mod">
        <pc:chgData name="Sofie Marie Skov" userId="01840081-7598-4482-8774-086d596ae1f3" providerId="ADAL" clId="{82F78D7C-DF12-4222-BE7E-FC641D50AA7B}" dt="2023-05-31T12:45:30.296" v="136" actId="20577"/>
        <pc:sldMkLst>
          <pc:docMk/>
          <pc:sldMk cId="3403252978" sldId="2147378502"/>
        </pc:sldMkLst>
        <pc:spChg chg="mod">
          <ac:chgData name="Sofie Marie Skov" userId="01840081-7598-4482-8774-086d596ae1f3" providerId="ADAL" clId="{82F78D7C-DF12-4222-BE7E-FC641D50AA7B}" dt="2023-05-31T12:45:30.296" v="136" actId="20577"/>
          <ac:spMkLst>
            <pc:docMk/>
            <pc:sldMk cId="3403252978" sldId="2147378502"/>
            <ac:spMk id="2" creationId="{BE0AB1AB-F000-41C9-B25C-8829AC258406}"/>
          </ac:spMkLst>
        </pc:spChg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1976980958" sldId="2147378503"/>
        </pc:sldMkLst>
      </pc:sldChg>
      <pc:sldChg chg="add">
        <pc:chgData name="Sofie Marie Skov" userId="01840081-7598-4482-8774-086d596ae1f3" providerId="ADAL" clId="{82F78D7C-DF12-4222-BE7E-FC641D50AA7B}" dt="2023-05-31T12:40:35.909" v="1"/>
        <pc:sldMkLst>
          <pc:docMk/>
          <pc:sldMk cId="4079165966" sldId="2147378503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1820508325" sldId="2147378504"/>
        </pc:sldMkLst>
      </pc:sldChg>
      <pc:sldChg chg="add">
        <pc:chgData name="Sofie Marie Skov" userId="01840081-7598-4482-8774-086d596ae1f3" providerId="ADAL" clId="{82F78D7C-DF12-4222-BE7E-FC641D50AA7B}" dt="2023-05-31T12:40:35.909" v="1"/>
        <pc:sldMkLst>
          <pc:docMk/>
          <pc:sldMk cId="2675153999" sldId="2147378504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520911838" sldId="2147378505"/>
        </pc:sldMkLst>
      </pc:sldChg>
      <pc:sldChg chg="add">
        <pc:chgData name="Sofie Marie Skov" userId="01840081-7598-4482-8774-086d596ae1f3" providerId="ADAL" clId="{82F78D7C-DF12-4222-BE7E-FC641D50AA7B}" dt="2023-05-31T12:40:35.909" v="1"/>
        <pc:sldMkLst>
          <pc:docMk/>
          <pc:sldMk cId="3451566850" sldId="2147378505"/>
        </pc:sldMkLst>
      </pc:sldChg>
      <pc:sldChg chg="add">
        <pc:chgData name="Sofie Marie Skov" userId="01840081-7598-4482-8774-086d596ae1f3" providerId="ADAL" clId="{82F78D7C-DF12-4222-BE7E-FC641D50AA7B}" dt="2023-05-31T12:40:35.909" v="1"/>
        <pc:sldMkLst>
          <pc:docMk/>
          <pc:sldMk cId="3347725162" sldId="2147378506"/>
        </pc:sldMkLst>
      </pc:sldChg>
      <pc:sldChg chg="del">
        <pc:chgData name="Sofie Marie Skov" userId="01840081-7598-4482-8774-086d596ae1f3" providerId="ADAL" clId="{82F78D7C-DF12-4222-BE7E-FC641D50AA7B}" dt="2023-05-31T12:40:29.096" v="0" actId="2696"/>
        <pc:sldMkLst>
          <pc:docMk/>
          <pc:sldMk cId="4087879197" sldId="2147378506"/>
        </pc:sldMkLst>
      </pc:sldChg>
      <pc:sldMasterChg chg="delSldLayout">
        <pc:chgData name="Sofie Marie Skov" userId="01840081-7598-4482-8774-086d596ae1f3" providerId="ADAL" clId="{82F78D7C-DF12-4222-BE7E-FC641D50AA7B}" dt="2023-05-31T12:40:29.096" v="0" actId="2696"/>
        <pc:sldMasterMkLst>
          <pc:docMk/>
          <pc:sldMasterMk cId="1289907564" sldId="2147484531"/>
        </pc:sldMasterMkLst>
        <pc:sldLayoutChg chg="del">
          <pc:chgData name="Sofie Marie Skov" userId="01840081-7598-4482-8774-086d596ae1f3" providerId="ADAL" clId="{82F78D7C-DF12-4222-BE7E-FC641D50AA7B}" dt="2023-05-31T12:40:29.096" v="0" actId="2696"/>
          <pc:sldLayoutMkLst>
            <pc:docMk/>
            <pc:sldMasterMk cId="1289907564" sldId="2147484531"/>
            <pc:sldLayoutMk cId="1785987643" sldId="2147484587"/>
          </pc:sldLayoutMkLst>
        </pc:sldLayoutChg>
      </pc:sldMasterChg>
      <pc:sldMasterChg chg="del delSldLayout">
        <pc:chgData name="Sofie Marie Skov" userId="01840081-7598-4482-8774-086d596ae1f3" providerId="ADAL" clId="{82F78D7C-DF12-4222-BE7E-FC641D50AA7B}" dt="2023-05-31T12:40:29.096" v="0" actId="2696"/>
        <pc:sldMasterMkLst>
          <pc:docMk/>
          <pc:sldMasterMk cId="1733054647" sldId="2147484570"/>
        </pc:sldMasterMkLst>
        <pc:sldLayoutChg chg="del">
          <pc:chgData name="Sofie Marie Skov" userId="01840081-7598-4482-8774-086d596ae1f3" providerId="ADAL" clId="{82F78D7C-DF12-4222-BE7E-FC641D50AA7B}" dt="2023-05-31T12:40:29.096" v="0" actId="2696"/>
          <pc:sldLayoutMkLst>
            <pc:docMk/>
            <pc:sldMasterMk cId="1733054647" sldId="2147484570"/>
            <pc:sldLayoutMk cId="221639311" sldId="2147484571"/>
          </pc:sldLayoutMkLst>
        </pc:sldLayoutChg>
        <pc:sldLayoutChg chg="del">
          <pc:chgData name="Sofie Marie Skov" userId="01840081-7598-4482-8774-086d596ae1f3" providerId="ADAL" clId="{82F78D7C-DF12-4222-BE7E-FC641D50AA7B}" dt="2023-05-31T12:40:29.096" v="0" actId="2696"/>
          <pc:sldLayoutMkLst>
            <pc:docMk/>
            <pc:sldMasterMk cId="1733054647" sldId="2147484570"/>
            <pc:sldLayoutMk cId="2476429107" sldId="2147484572"/>
          </pc:sldLayoutMkLst>
        </pc:sldLayoutChg>
        <pc:sldLayoutChg chg="del">
          <pc:chgData name="Sofie Marie Skov" userId="01840081-7598-4482-8774-086d596ae1f3" providerId="ADAL" clId="{82F78D7C-DF12-4222-BE7E-FC641D50AA7B}" dt="2023-05-31T12:40:29.096" v="0" actId="2696"/>
          <pc:sldLayoutMkLst>
            <pc:docMk/>
            <pc:sldMasterMk cId="1733054647" sldId="2147484570"/>
            <pc:sldLayoutMk cId="994486747" sldId="2147484573"/>
          </pc:sldLayoutMkLst>
        </pc:sldLayoutChg>
        <pc:sldLayoutChg chg="del">
          <pc:chgData name="Sofie Marie Skov" userId="01840081-7598-4482-8774-086d596ae1f3" providerId="ADAL" clId="{82F78D7C-DF12-4222-BE7E-FC641D50AA7B}" dt="2023-05-31T12:40:29.096" v="0" actId="2696"/>
          <pc:sldLayoutMkLst>
            <pc:docMk/>
            <pc:sldMasterMk cId="1733054647" sldId="2147484570"/>
            <pc:sldLayoutMk cId="2977314467" sldId="2147484574"/>
          </pc:sldLayoutMkLst>
        </pc:sldLayoutChg>
        <pc:sldLayoutChg chg="del">
          <pc:chgData name="Sofie Marie Skov" userId="01840081-7598-4482-8774-086d596ae1f3" providerId="ADAL" clId="{82F78D7C-DF12-4222-BE7E-FC641D50AA7B}" dt="2023-05-31T12:40:29.096" v="0" actId="2696"/>
          <pc:sldLayoutMkLst>
            <pc:docMk/>
            <pc:sldMasterMk cId="1733054647" sldId="2147484570"/>
            <pc:sldLayoutMk cId="3284133289" sldId="2147484575"/>
          </pc:sldLayoutMkLst>
        </pc:sldLayoutChg>
        <pc:sldLayoutChg chg="del">
          <pc:chgData name="Sofie Marie Skov" userId="01840081-7598-4482-8774-086d596ae1f3" providerId="ADAL" clId="{82F78D7C-DF12-4222-BE7E-FC641D50AA7B}" dt="2023-05-31T12:40:29.096" v="0" actId="2696"/>
          <pc:sldLayoutMkLst>
            <pc:docMk/>
            <pc:sldMasterMk cId="1733054647" sldId="2147484570"/>
            <pc:sldLayoutMk cId="1263371372" sldId="2147484576"/>
          </pc:sldLayoutMkLst>
        </pc:sldLayoutChg>
        <pc:sldLayoutChg chg="del">
          <pc:chgData name="Sofie Marie Skov" userId="01840081-7598-4482-8774-086d596ae1f3" providerId="ADAL" clId="{82F78D7C-DF12-4222-BE7E-FC641D50AA7B}" dt="2023-05-31T12:40:29.096" v="0" actId="2696"/>
          <pc:sldLayoutMkLst>
            <pc:docMk/>
            <pc:sldMasterMk cId="1733054647" sldId="2147484570"/>
            <pc:sldLayoutMk cId="2514880282" sldId="2147484577"/>
          </pc:sldLayoutMkLst>
        </pc:sldLayoutChg>
        <pc:sldLayoutChg chg="del">
          <pc:chgData name="Sofie Marie Skov" userId="01840081-7598-4482-8774-086d596ae1f3" providerId="ADAL" clId="{82F78D7C-DF12-4222-BE7E-FC641D50AA7B}" dt="2023-05-31T12:40:29.096" v="0" actId="2696"/>
          <pc:sldLayoutMkLst>
            <pc:docMk/>
            <pc:sldMasterMk cId="1733054647" sldId="2147484570"/>
            <pc:sldLayoutMk cId="1265116713" sldId="2147484578"/>
          </pc:sldLayoutMkLst>
        </pc:sldLayoutChg>
      </pc:sldMasterChg>
      <pc:sldMasterChg chg="delSldLayout">
        <pc:chgData name="Sofie Marie Skov" userId="01840081-7598-4482-8774-086d596ae1f3" providerId="ADAL" clId="{82F78D7C-DF12-4222-BE7E-FC641D50AA7B}" dt="2023-05-31T12:40:29.096" v="0" actId="2696"/>
        <pc:sldMasterMkLst>
          <pc:docMk/>
          <pc:sldMasterMk cId="1092870681" sldId="2147484579"/>
        </pc:sldMasterMkLst>
        <pc:sldLayoutChg chg="del">
          <pc:chgData name="Sofie Marie Skov" userId="01840081-7598-4482-8774-086d596ae1f3" providerId="ADAL" clId="{82F78D7C-DF12-4222-BE7E-FC641D50AA7B}" dt="2023-05-31T12:40:29.096" v="0" actId="2696"/>
          <pc:sldLayoutMkLst>
            <pc:docMk/>
            <pc:sldMasterMk cId="1092870681" sldId="2147484579"/>
            <pc:sldLayoutMk cId="2413245812" sldId="2147484580"/>
          </pc:sldLayoutMkLst>
        </pc:sldLayoutChg>
        <pc:sldLayoutChg chg="del">
          <pc:chgData name="Sofie Marie Skov" userId="01840081-7598-4482-8774-086d596ae1f3" providerId="ADAL" clId="{82F78D7C-DF12-4222-BE7E-FC641D50AA7B}" dt="2023-05-31T12:40:29.096" v="0" actId="2696"/>
          <pc:sldLayoutMkLst>
            <pc:docMk/>
            <pc:sldMasterMk cId="1092870681" sldId="2147484579"/>
            <pc:sldLayoutMk cId="1516814738" sldId="2147484584"/>
          </pc:sldLayoutMkLst>
        </pc:sldLayoutChg>
        <pc:sldLayoutChg chg="del">
          <pc:chgData name="Sofie Marie Skov" userId="01840081-7598-4482-8774-086d596ae1f3" providerId="ADAL" clId="{82F78D7C-DF12-4222-BE7E-FC641D50AA7B}" dt="2023-05-31T12:40:29.096" v="0" actId="2696"/>
          <pc:sldLayoutMkLst>
            <pc:docMk/>
            <pc:sldMasterMk cId="1092870681" sldId="2147484579"/>
            <pc:sldLayoutMk cId="1803572419" sldId="2147484586"/>
          </pc:sldLayoutMkLst>
        </pc:sldLayoutChg>
      </pc:sldMasterChg>
      <pc:sldMasterChg chg="delSldLayout">
        <pc:chgData name="Sofie Marie Skov" userId="01840081-7598-4482-8774-086d596ae1f3" providerId="ADAL" clId="{82F78D7C-DF12-4222-BE7E-FC641D50AA7B}" dt="2023-05-31T12:40:29.096" v="0" actId="2696"/>
        <pc:sldMasterMkLst>
          <pc:docMk/>
          <pc:sldMasterMk cId="354519449" sldId="2147484592"/>
        </pc:sldMasterMkLst>
        <pc:sldLayoutChg chg="del">
          <pc:chgData name="Sofie Marie Skov" userId="01840081-7598-4482-8774-086d596ae1f3" providerId="ADAL" clId="{82F78D7C-DF12-4222-BE7E-FC641D50AA7B}" dt="2023-05-31T12:40:29.096" v="0" actId="2696"/>
          <pc:sldLayoutMkLst>
            <pc:docMk/>
            <pc:sldMasterMk cId="354519449" sldId="2147484592"/>
            <pc:sldLayoutMk cId="677542229" sldId="2147484627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prod.sitad.dk\dfs\CU2310\faelles\TERI\Markedsoverv&#229;gning\7%20-%20L&#248;bende%20overv&#229;gning\Gasoverv&#229;gning\G1%20-%20Produktion,%20forbrug,%20import%20og%20eksport%20v2.3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prod.sitad.dk\dfs\CU2310\faelles\TERI\Markedsoverv&#229;gning\7%20-%20L&#248;bende%20overv&#229;gning\Gasoverv&#229;gning\G1%20-%20Produktion,%20forbrug,%20import%20og%20eksport%20v2.3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C:\Users\b075050\AppData\Local\Microsoft\Windows\INetCache\Content.Outlook\KG268SFF\G3%20-%20Lager%20v2.4xlsx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prod.sitad.dk\dfs\CU2310\faelles\TERI\Markedsoverv&#229;gning\7%20-%20L&#248;bende%20overv&#229;gning\Gasoverv&#229;gning\G4%20-%20Gashandel%20v1.5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\\prod.sitad.dk\dfs\CU2310\faelles\TERI\Markedsoverv&#229;gning\7%20-%20L&#248;bende%20overv&#229;gning\Gasoverv&#229;gning\G2%20-%20Prisudvikling%20v1.4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278626719789539E-2"/>
          <c:y val="0.11168271739869499"/>
          <c:w val="0.90722396714182185"/>
          <c:h val="0.80159476093745197"/>
        </c:manualLayout>
      </c:layout>
      <c:barChart>
        <c:barDir val="col"/>
        <c:grouping val="clustered"/>
        <c:varyColors val="0"/>
        <c:ser>
          <c:idx val="0"/>
          <c:order val="0"/>
          <c:tx>
            <c:v>Production natural gas</c:v>
          </c:tx>
          <c:spPr>
            <a:solidFill>
              <a:srgbClr val="005480"/>
            </a:solidFill>
            <a:ln>
              <a:noFill/>
            </a:ln>
            <a:effectLst/>
          </c:spPr>
          <c:invertIfNegative val="0"/>
          <c:cat>
            <c:numRef>
              <c:f>'Prod., forbrug mv.'!$R$6:$R$26</c:f>
              <c:numCache>
                <c:formatCode>General</c:formatCod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</c:numCache>
            </c:numRef>
          </c:cat>
          <c:val>
            <c:numRef>
              <c:f>'Prod., forbrug mv.'!$S$6:$S$26</c:f>
              <c:numCache>
                <c:formatCode>_ * #,##0_ ;_ * \-#,##0_ ;_ * "-"??_ ;_ @_ </c:formatCode>
                <c:ptCount val="8"/>
                <c:pt idx="0">
                  <c:v>4353.9202580900001</c:v>
                </c:pt>
                <c:pt idx="1">
                  <c:v>4269.8786709999995</c:v>
                </c:pt>
                <c:pt idx="2">
                  <c:v>4584.567661</c:v>
                </c:pt>
                <c:pt idx="3">
                  <c:v>3903.8905089999998</c:v>
                </c:pt>
                <c:pt idx="4">
                  <c:v>2970.5257149999998</c:v>
                </c:pt>
                <c:pt idx="5">
                  <c:v>1353.3773069999997</c:v>
                </c:pt>
                <c:pt idx="6">
                  <c:v>1434.8438178117326</c:v>
                </c:pt>
                <c:pt idx="7">
                  <c:v>1393.83287803019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08-48D8-8BAC-729D7AF2E593}"/>
            </c:ext>
          </c:extLst>
        </c:ser>
        <c:ser>
          <c:idx val="1"/>
          <c:order val="1"/>
          <c:tx>
            <c:v>Consumption (ex. offshore)</c:v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'Prod., forbrug mv.'!$R$6:$R$26</c:f>
              <c:numCache>
                <c:formatCode>General</c:formatCod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</c:numCache>
            </c:numRef>
          </c:cat>
          <c:val>
            <c:numRef>
              <c:f>'Prod., forbrug mv.'!$U$6:$U$26</c:f>
              <c:numCache>
                <c:formatCode>_ * #,##0_ ;_ * \-#,##0_ ;_ * "-"??_ ;_ @_ </c:formatCode>
                <c:ptCount val="8"/>
                <c:pt idx="0">
                  <c:v>2418.939813</c:v>
                </c:pt>
                <c:pt idx="1">
                  <c:v>2513.5880830000001</c:v>
                </c:pt>
                <c:pt idx="2">
                  <c:v>2479.7613926578783</c:v>
                </c:pt>
                <c:pt idx="3">
                  <c:v>2496.8763767275705</c:v>
                </c:pt>
                <c:pt idx="4">
                  <c:v>2434.6377672645845</c:v>
                </c:pt>
                <c:pt idx="5">
                  <c:v>2305.8724046853072</c:v>
                </c:pt>
                <c:pt idx="6">
                  <c:v>2457.6638628214046</c:v>
                </c:pt>
                <c:pt idx="7">
                  <c:v>1840.68203678871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08-48D8-8BAC-729D7AF2E593}"/>
            </c:ext>
          </c:extLst>
        </c:ser>
        <c:ser>
          <c:idx val="2"/>
          <c:order val="2"/>
          <c:tx>
            <c:v>Biomethane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5="http://schemas.microsoft.com/office/drawing/2012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Prod., forbrug mv.'!$R$6:$R$26</c:f>
              <c:numCache>
                <c:formatCode>General</c:formatCod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</c:numCache>
            </c:numRef>
          </c:cat>
          <c:val>
            <c:numRef>
              <c:f>'Prod., forbrug mv.'!$T$6:$T$26</c:f>
              <c:numCache>
                <c:formatCode>_ * #,##0_ ;_ * \-#,##0_ ;_ * "-"??_ ;_ @_ </c:formatCode>
                <c:ptCount val="8"/>
                <c:pt idx="0">
                  <c:v>25.653508595870683</c:v>
                </c:pt>
                <c:pt idx="1">
                  <c:v>78.711751912478363</c:v>
                </c:pt>
                <c:pt idx="2">
                  <c:v>129.49777741219052</c:v>
                </c:pt>
                <c:pt idx="3">
                  <c:v>179.23651690384145</c:v>
                </c:pt>
                <c:pt idx="4">
                  <c:v>243.65118433824145</c:v>
                </c:pt>
                <c:pt idx="5">
                  <c:v>363.15313054207462</c:v>
                </c:pt>
                <c:pt idx="6">
                  <c:v>498.81090663815081</c:v>
                </c:pt>
                <c:pt idx="7">
                  <c:v>574.04825730032064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2-7B08-48D8-8BAC-729D7AF2E5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83288944"/>
        <c:axId val="483291696"/>
        <c:extLst/>
      </c:barChart>
      <c:catAx>
        <c:axId val="483288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da-DK"/>
          </a:p>
        </c:txPr>
        <c:crossAx val="483291696"/>
        <c:crosses val="autoZero"/>
        <c:auto val="1"/>
        <c:lblAlgn val="ctr"/>
        <c:lblOffset val="100"/>
        <c:noMultiLvlLbl val="0"/>
      </c:catAx>
      <c:valAx>
        <c:axId val="483291696"/>
        <c:scaling>
          <c:orientation val="minMax"/>
          <c:max val="5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da-DK" sz="800" b="1">
                    <a:latin typeface="Arial" panose="020B0604020202020204" pitchFamily="34" charset="0"/>
                    <a:cs typeface="Arial" panose="020B0604020202020204" pitchFamily="34" charset="0"/>
                  </a:rPr>
                  <a:t>bcm</a:t>
                </a:r>
              </a:p>
            </c:rich>
          </c:tx>
          <c:layout>
            <c:manualLayout>
              <c:xMode val="edge"/>
              <c:yMode val="edge"/>
              <c:x val="2.4924111796599943E-3"/>
              <c:y val="5.5230261684050173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da-DK"/>
            </a:p>
          </c:txPr>
        </c:title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da-DK"/>
          </a:p>
        </c:txPr>
        <c:crossAx val="483288944"/>
        <c:crosses val="autoZero"/>
        <c:crossBetween val="between"/>
        <c:dispUnits>
          <c:builtInUnit val="thousands"/>
        </c:dispUnits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4.3338949825276835E-2"/>
          <c:y val="0"/>
          <c:w val="0.89999986887567451"/>
          <c:h val="7.14565506970276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da-DK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38871806303146"/>
          <c:y val="0.19580714515133113"/>
          <c:w val="0.85091033062998667"/>
          <c:h val="0.71341301053784989"/>
        </c:manualLayout>
      </c:layout>
      <c:barChart>
        <c:barDir val="col"/>
        <c:grouping val="stacked"/>
        <c:varyColors val="0"/>
        <c:ser>
          <c:idx val="6"/>
          <c:order val="0"/>
          <c:tx>
            <c:v>Germany</c:v>
          </c:tx>
          <c:spPr>
            <a:solidFill>
              <a:schemeClr val="accent4"/>
            </a:solidFill>
            <a:ln>
              <a:solidFill>
                <a:schemeClr val="bg1">
                  <a:lumMod val="65000"/>
                </a:schemeClr>
              </a:solidFill>
            </a:ln>
            <a:effectLst/>
          </c:spPr>
          <c:invertIfNegative val="0"/>
          <c:cat>
            <c:numRef>
              <c:f>Hjælpetabel_dato!$D$26:$D$37</c:f>
              <c:numCache>
                <c:formatCode>mmm\-yy</c:formatCode>
                <c:ptCount val="12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</c:numCache>
            </c:numRef>
          </c:cat>
          <c:val>
            <c:numRef>
              <c:f>'ENS data'!$AG$251:$AG$262</c:f>
              <c:numCache>
                <c:formatCode>#\ ##0;\-#\ ##0;\-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-3.4221029497152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A4-4DA1-BE65-7589FE27715D}"/>
            </c:ext>
          </c:extLst>
        </c:ser>
        <c:ser>
          <c:idx val="0"/>
          <c:order val="1"/>
          <c:tx>
            <c:v>Sweden</c:v>
          </c:tx>
          <c:spPr>
            <a:solidFill>
              <a:schemeClr val="accent6"/>
            </a:solidFill>
            <a:ln>
              <a:solidFill>
                <a:schemeClr val="accent6"/>
              </a:solidFill>
            </a:ln>
            <a:effectLst/>
          </c:spPr>
          <c:invertIfNegative val="0"/>
          <c:cat>
            <c:numRef>
              <c:f>Hjælpetabel_dato!$D$26:$D$37</c:f>
              <c:numCache>
                <c:formatCode>mmm\-yy</c:formatCode>
                <c:ptCount val="12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</c:numCache>
            </c:numRef>
          </c:cat>
          <c:val>
            <c:numRef>
              <c:f>'ENS data'!$AF$251:$AF$262</c:f>
              <c:numCache>
                <c:formatCode>#\ ##0;\-#\ ##0;\-</c:formatCode>
                <c:ptCount val="12"/>
                <c:pt idx="0">
                  <c:v>-72.551350812414796</c:v>
                </c:pt>
                <c:pt idx="1">
                  <c:v>-57.733453463790212</c:v>
                </c:pt>
                <c:pt idx="2">
                  <c:v>-53.596661791643278</c:v>
                </c:pt>
                <c:pt idx="3">
                  <c:v>-42.365233189509986</c:v>
                </c:pt>
                <c:pt idx="4">
                  <c:v>-39.647516650894225</c:v>
                </c:pt>
                <c:pt idx="5">
                  <c:v>-42.585783325046123</c:v>
                </c:pt>
                <c:pt idx="6">
                  <c:v>-39.129651583928144</c:v>
                </c:pt>
                <c:pt idx="7">
                  <c:v>-33.387627822600052</c:v>
                </c:pt>
                <c:pt idx="8">
                  <c:v>-32.100088183495075</c:v>
                </c:pt>
                <c:pt idx="9">
                  <c:v>-36.978296694201624</c:v>
                </c:pt>
                <c:pt idx="10">
                  <c:v>-42.065209899751387</c:v>
                </c:pt>
                <c:pt idx="11">
                  <c:v>-65.2342523313818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9A4-4DA1-BE65-7589FE27715D}"/>
            </c:ext>
          </c:extLst>
        </c:ser>
        <c:ser>
          <c:idx val="1"/>
          <c:order val="2"/>
          <c:tx>
            <c:v>Germany</c:v>
          </c:tx>
          <c:spPr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c:spPr>
          <c:invertIfNegative val="0"/>
          <c:cat>
            <c:numRef>
              <c:f>Hjælpetabel_dato!$D$26:$D$37</c:f>
              <c:numCache>
                <c:formatCode>mmm\-yy</c:formatCode>
                <c:ptCount val="12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</c:numCache>
            </c:numRef>
          </c:cat>
          <c:val>
            <c:numRef>
              <c:f>'ENS data'!$I$251:$I$262</c:f>
              <c:numCache>
                <c:formatCode>#\ ##0;\-#\ ##0;\-</c:formatCode>
                <c:ptCount val="12"/>
                <c:pt idx="0">
                  <c:v>194.86495277568372</c:v>
                </c:pt>
                <c:pt idx="1">
                  <c:v>109.96668866148049</c:v>
                </c:pt>
                <c:pt idx="2">
                  <c:v>140.64486663565646</c:v>
                </c:pt>
                <c:pt idx="3">
                  <c:v>197.87029845857731</c:v>
                </c:pt>
                <c:pt idx="4">
                  <c:v>293.33974176277172</c:v>
                </c:pt>
                <c:pt idx="5">
                  <c:v>221.49346101211009</c:v>
                </c:pt>
                <c:pt idx="6">
                  <c:v>146.81528869356006</c:v>
                </c:pt>
                <c:pt idx="7">
                  <c:v>106.97201522174996</c:v>
                </c:pt>
                <c:pt idx="8">
                  <c:v>62.847811436362193</c:v>
                </c:pt>
                <c:pt idx="9">
                  <c:v>244.75133342208682</c:v>
                </c:pt>
                <c:pt idx="10">
                  <c:v>75.295283227203484</c:v>
                </c:pt>
                <c:pt idx="11">
                  <c:v>48.3669802774881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9A4-4DA1-BE65-7589FE27715D}"/>
            </c:ext>
          </c:extLst>
        </c:ser>
        <c:ser>
          <c:idx val="4"/>
          <c:order val="3"/>
          <c:tx>
            <c:v>Netherlands</c:v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numRef>
              <c:f>Hjælpetabel_dato!$D$26:$D$37</c:f>
              <c:numCache>
                <c:formatCode>mmm\-yy</c:formatCode>
                <c:ptCount val="12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</c:numCache>
            </c:numRef>
          </c:cat>
          <c:val>
            <c:numRef>
              <c:f>'ENS data'!$AE$251:$AE$262</c:f>
              <c:numCache>
                <c:formatCode>#\ ##0;\-#\ ##0;\-</c:formatCode>
                <c:ptCount val="12"/>
                <c:pt idx="0">
                  <c:v>-79.438155799258979</c:v>
                </c:pt>
                <c:pt idx="1">
                  <c:v>-72.565452149794964</c:v>
                </c:pt>
                <c:pt idx="2">
                  <c:v>-80.951194016390829</c:v>
                </c:pt>
                <c:pt idx="3">
                  <c:v>-76.64180276431442</c:v>
                </c:pt>
                <c:pt idx="4">
                  <c:v>-72.269351152614348</c:v>
                </c:pt>
                <c:pt idx="5">
                  <c:v>-66.782810934012119</c:v>
                </c:pt>
                <c:pt idx="6">
                  <c:v>-91.468514812866133</c:v>
                </c:pt>
                <c:pt idx="7">
                  <c:v>-89.567916790301638</c:v>
                </c:pt>
                <c:pt idx="8">
                  <c:v>-31.199915966895272</c:v>
                </c:pt>
                <c:pt idx="9">
                  <c:v>-97.560807249063259</c:v>
                </c:pt>
                <c:pt idx="10">
                  <c:v>-87.402899529878766</c:v>
                </c:pt>
                <c:pt idx="11">
                  <c:v>-89.0978233095198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9A4-4DA1-BE65-7589FE27715D}"/>
            </c:ext>
          </c:extLst>
        </c:ser>
        <c:ser>
          <c:idx val="2"/>
          <c:order val="5"/>
          <c:tx>
            <c:v>Norway</c:v>
          </c:tx>
          <c:spPr>
            <a:solidFill>
              <a:srgbClr val="0070C0"/>
            </a:solidFill>
            <a:ln>
              <a:solidFill>
                <a:srgbClr val="0070C0"/>
              </a:solidFill>
            </a:ln>
            <a:effectLst/>
          </c:spPr>
          <c:invertIfNegative val="0"/>
          <c:cat>
            <c:numRef>
              <c:f>Hjælpetabel_dato!$D$26:$D$37</c:f>
              <c:numCache>
                <c:formatCode>mmm\-yy</c:formatCode>
                <c:ptCount val="12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</c:numCache>
            </c:numRef>
          </c:cat>
          <c:val>
            <c:numRef>
              <c:f>'ENS data'!$J$251:$J$262</c:f>
              <c:numCache>
                <c:formatCode>#\ ##0;\-#\ ##0;\-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1.283671014516003</c:v>
                </c:pt>
                <c:pt idx="10">
                  <c:v>269.65131694602616</c:v>
                </c:pt>
                <c:pt idx="11">
                  <c:v>451.64258700457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9A4-4DA1-BE65-7589FE27715D}"/>
            </c:ext>
          </c:extLst>
        </c:ser>
        <c:ser>
          <c:idx val="8"/>
          <c:order val="8"/>
          <c:tx>
            <c:v>Poland</c:v>
          </c:tx>
          <c:spPr>
            <a:solidFill>
              <a:srgbClr val="003856"/>
            </a:solidFill>
            <a:ln>
              <a:solidFill>
                <a:srgbClr val="003856"/>
              </a:solidFill>
            </a:ln>
            <a:effectLst/>
          </c:spPr>
          <c:invertIfNegative val="0"/>
          <c:val>
            <c:numRef>
              <c:f>'ENS data'!$AH$251:$AH$262</c:f>
              <c:numCache>
                <c:formatCode>#\ ##0;\-#\ ##0;\-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-155.02280165851315</c:v>
                </c:pt>
                <c:pt idx="10">
                  <c:v>-161.33418298821081</c:v>
                </c:pt>
                <c:pt idx="11">
                  <c:v>-313.450428085652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9A4-4DA1-BE65-7589FE2771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83170144"/>
        <c:axId val="483173408"/>
      </c:barChart>
      <c:lineChart>
        <c:grouping val="standard"/>
        <c:varyColors val="0"/>
        <c:ser>
          <c:idx val="3"/>
          <c:order val="4"/>
          <c:tx>
            <c:v>Net import</c:v>
          </c:tx>
          <c:spPr>
            <a:ln w="158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'ENS data'!$B$215:$B$219</c:f>
              <c:strCache>
                <c:ptCount val="5"/>
                <c:pt idx="0">
                  <c:v>Januar</c:v>
                </c:pt>
                <c:pt idx="1">
                  <c:v>Februar</c:v>
                </c:pt>
                <c:pt idx="2">
                  <c:v>Marts</c:v>
                </c:pt>
                <c:pt idx="3">
                  <c:v>April</c:v>
                </c:pt>
                <c:pt idx="4">
                  <c:v>Maj</c:v>
                </c:pt>
              </c:strCache>
            </c:strRef>
          </c:cat>
          <c:val>
            <c:numRef>
              <c:f>'ENS data'!$AI$251:$AI$262</c:f>
              <c:numCache>
                <c:formatCode>#\ ##0;\-#\ ##0;\-</c:formatCode>
                <c:ptCount val="12"/>
                <c:pt idx="0">
                  <c:v>42.875446164009929</c:v>
                </c:pt>
                <c:pt idx="1">
                  <c:v>-20.332216952104702</c:v>
                </c:pt>
                <c:pt idx="2">
                  <c:v>6.0970108276223414</c:v>
                </c:pt>
                <c:pt idx="3">
                  <c:v>78.863262504752896</c:v>
                </c:pt>
                <c:pt idx="4">
                  <c:v>181.42287395926314</c:v>
                </c:pt>
                <c:pt idx="5">
                  <c:v>112.12486675305183</c:v>
                </c:pt>
                <c:pt idx="6">
                  <c:v>16.21712229676578</c:v>
                </c:pt>
                <c:pt idx="7">
                  <c:v>-15.983529391151748</c:v>
                </c:pt>
                <c:pt idx="8">
                  <c:v>-0.45219271402815053</c:v>
                </c:pt>
                <c:pt idx="9">
                  <c:v>-33.526901165175161</c:v>
                </c:pt>
                <c:pt idx="10">
                  <c:v>54.144307755388752</c:v>
                </c:pt>
                <c:pt idx="11">
                  <c:v>28.8049606057901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B9A4-4DA1-BE65-7589FE27715D}"/>
            </c:ext>
          </c:extLst>
        </c:ser>
        <c:ser>
          <c:idx val="5"/>
          <c:order val="6"/>
          <c:tx>
            <c:v>Export 2021</c:v>
          </c:tx>
          <c:spPr>
            <a:ln w="25400" cap="rnd">
              <a:solidFill>
                <a:schemeClr val="accent6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'ENS data'!$AD$239:$AD$250</c:f>
              <c:numCache>
                <c:formatCode>#\ ##0;\-#\ ##0;\-</c:formatCode>
                <c:ptCount val="12"/>
                <c:pt idx="0">
                  <c:v>-196.85129570171816</c:v>
                </c:pt>
                <c:pt idx="1">
                  <c:v>-177.95068697604211</c:v>
                </c:pt>
                <c:pt idx="2">
                  <c:v>-154.59738792965368</c:v>
                </c:pt>
                <c:pt idx="3">
                  <c:v>-130.00489568025418</c:v>
                </c:pt>
                <c:pt idx="4">
                  <c:v>-139.42808704486055</c:v>
                </c:pt>
                <c:pt idx="5">
                  <c:v>-122.98974623163954</c:v>
                </c:pt>
                <c:pt idx="6">
                  <c:v>-124.85137464460333</c:v>
                </c:pt>
                <c:pt idx="7">
                  <c:v>-131.74268445446546</c:v>
                </c:pt>
                <c:pt idx="8">
                  <c:v>-113.38074013959222</c:v>
                </c:pt>
                <c:pt idx="9">
                  <c:v>-134.5150217875528</c:v>
                </c:pt>
                <c:pt idx="10">
                  <c:v>-145.61723998649674</c:v>
                </c:pt>
                <c:pt idx="11">
                  <c:v>-185.832701006164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B9A4-4DA1-BE65-7589FE27715D}"/>
            </c:ext>
          </c:extLst>
        </c:ser>
        <c:ser>
          <c:idx val="7"/>
          <c:order val="7"/>
          <c:tx>
            <c:v>Import 2021</c:v>
          </c:tx>
          <c:spPr>
            <a:ln w="25400" cap="rnd">
              <a:solidFill>
                <a:schemeClr val="accent2">
                  <a:lumMod val="60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'ENS data'!$G$239:$G$250</c:f>
              <c:numCache>
                <c:formatCode>#\ ##0;\-#\ ##0;\-</c:formatCode>
                <c:ptCount val="12"/>
                <c:pt idx="0">
                  <c:v>194.37200806335338</c:v>
                </c:pt>
                <c:pt idx="1">
                  <c:v>216.18527966247956</c:v>
                </c:pt>
                <c:pt idx="2">
                  <c:v>188.71181185035505</c:v>
                </c:pt>
                <c:pt idx="3">
                  <c:v>186.74585983287821</c:v>
                </c:pt>
                <c:pt idx="4">
                  <c:v>186.79285558164941</c:v>
                </c:pt>
                <c:pt idx="5">
                  <c:v>182.27171967886403</c:v>
                </c:pt>
                <c:pt idx="6">
                  <c:v>175.80751923539054</c:v>
                </c:pt>
                <c:pt idx="7">
                  <c:v>182.09739104533043</c:v>
                </c:pt>
                <c:pt idx="8">
                  <c:v>208.19798990169306</c:v>
                </c:pt>
                <c:pt idx="9">
                  <c:v>163.63206116985259</c:v>
                </c:pt>
                <c:pt idx="10">
                  <c:v>183.96478566029495</c:v>
                </c:pt>
                <c:pt idx="11">
                  <c:v>300.42657008847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B9A4-4DA1-BE65-7589FE2771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3170144"/>
        <c:axId val="483173408"/>
      </c:lineChart>
      <c:dateAx>
        <c:axId val="483170144"/>
        <c:scaling>
          <c:orientation val="minMax"/>
        </c:scaling>
        <c:delete val="0"/>
        <c:axPos val="b"/>
        <c:numFmt formatCode="mmm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da-DK"/>
          </a:p>
        </c:txPr>
        <c:crossAx val="483173408"/>
        <c:crosses val="autoZero"/>
        <c:auto val="1"/>
        <c:lblOffset val="100"/>
        <c:baseTimeUnit val="months"/>
      </c:dateAx>
      <c:valAx>
        <c:axId val="483173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da-DK" sz="800" b="1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Mil Nm3</a:t>
                </a:r>
              </a:p>
            </c:rich>
          </c:tx>
          <c:layout>
            <c:manualLayout>
              <c:xMode val="edge"/>
              <c:yMode val="edge"/>
              <c:x val="3.958853186648921E-2"/>
              <c:y val="0.122713941722874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8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da-DK"/>
            </a:p>
          </c:txPr>
        </c:title>
        <c:numFmt formatCode="#\ ##0;\-#\ ##0;\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da-DK"/>
          </a:p>
        </c:txPr>
        <c:crossAx val="4831701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0"/>
        <c:delete val="1"/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da-DK"/>
          </a:p>
        </c:txPr>
      </c:legendEntry>
      <c:layout>
        <c:manualLayout>
          <c:xMode val="edge"/>
          <c:yMode val="edge"/>
          <c:x val="0.15466455119421479"/>
          <c:y val="8.0542188823703195E-4"/>
          <c:w val="0.82430205799628919"/>
          <c:h val="0.1266930128876824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da-DK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900">
          <a:latin typeface="Arial" panose="020B0604020202020204" pitchFamily="34" charset="0"/>
          <a:cs typeface="Arial" panose="020B0604020202020204" pitchFamily="34" charset="0"/>
        </a:defRPr>
      </a:pPr>
      <a:endParaRPr lang="da-DK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38686265382523"/>
          <c:y val="0.12463213840544365"/>
          <c:w val="0.7845404420201012"/>
          <c:h val="0.75305443280310846"/>
        </c:manualLayout>
      </c:layout>
      <c:barChart>
        <c:barDir val="col"/>
        <c:grouping val="stacked"/>
        <c:varyColors val="0"/>
        <c:ser>
          <c:idx val="2"/>
          <c:order val="1"/>
          <c:tx>
            <c:v>Injection</c:v>
          </c:tx>
          <c:spPr>
            <a:solidFill>
              <a:srgbClr val="7CCCBF"/>
            </a:solidFill>
            <a:ln>
              <a:solidFill>
                <a:srgbClr val="7CCCBF"/>
              </a:solidFill>
            </a:ln>
          </c:spPr>
          <c:invertIfNegative val="0"/>
          <c:cat>
            <c:numRef>
              <c:f>'DK udtræk og injicering'!$D$4641:$D$5892</c:f>
              <c:numCache>
                <c:formatCode>m/d/yyyy</c:formatCode>
                <c:ptCount val="1252"/>
                <c:pt idx="0">
                  <c:v>43831</c:v>
                </c:pt>
                <c:pt idx="1">
                  <c:v>43832</c:v>
                </c:pt>
                <c:pt idx="2">
                  <c:v>43833</c:v>
                </c:pt>
                <c:pt idx="3">
                  <c:v>43834</c:v>
                </c:pt>
                <c:pt idx="4">
                  <c:v>43835</c:v>
                </c:pt>
                <c:pt idx="5">
                  <c:v>43836</c:v>
                </c:pt>
                <c:pt idx="6">
                  <c:v>43837</c:v>
                </c:pt>
                <c:pt idx="7">
                  <c:v>43838</c:v>
                </c:pt>
                <c:pt idx="8">
                  <c:v>43839</c:v>
                </c:pt>
                <c:pt idx="9">
                  <c:v>43840</c:v>
                </c:pt>
                <c:pt idx="10">
                  <c:v>43841</c:v>
                </c:pt>
                <c:pt idx="11">
                  <c:v>43842</c:v>
                </c:pt>
                <c:pt idx="12">
                  <c:v>43843</c:v>
                </c:pt>
                <c:pt idx="13">
                  <c:v>43844</c:v>
                </c:pt>
                <c:pt idx="14">
                  <c:v>43845</c:v>
                </c:pt>
                <c:pt idx="15">
                  <c:v>43846</c:v>
                </c:pt>
                <c:pt idx="16">
                  <c:v>43847</c:v>
                </c:pt>
                <c:pt idx="17">
                  <c:v>43848</c:v>
                </c:pt>
                <c:pt idx="18">
                  <c:v>43849</c:v>
                </c:pt>
                <c:pt idx="19">
                  <c:v>43850</c:v>
                </c:pt>
                <c:pt idx="20">
                  <c:v>43851</c:v>
                </c:pt>
                <c:pt idx="21">
                  <c:v>43852</c:v>
                </c:pt>
                <c:pt idx="22">
                  <c:v>43853</c:v>
                </c:pt>
                <c:pt idx="23">
                  <c:v>43854</c:v>
                </c:pt>
                <c:pt idx="24">
                  <c:v>43855</c:v>
                </c:pt>
                <c:pt idx="25">
                  <c:v>43856</c:v>
                </c:pt>
                <c:pt idx="26">
                  <c:v>43857</c:v>
                </c:pt>
                <c:pt idx="27">
                  <c:v>43858</c:v>
                </c:pt>
                <c:pt idx="28">
                  <c:v>43859</c:v>
                </c:pt>
                <c:pt idx="29">
                  <c:v>43860</c:v>
                </c:pt>
                <c:pt idx="30">
                  <c:v>43861</c:v>
                </c:pt>
                <c:pt idx="31">
                  <c:v>43862</c:v>
                </c:pt>
                <c:pt idx="32">
                  <c:v>43863</c:v>
                </c:pt>
                <c:pt idx="33">
                  <c:v>43864</c:v>
                </c:pt>
                <c:pt idx="34">
                  <c:v>43865</c:v>
                </c:pt>
                <c:pt idx="35">
                  <c:v>43866</c:v>
                </c:pt>
                <c:pt idx="36">
                  <c:v>43867</c:v>
                </c:pt>
                <c:pt idx="37">
                  <c:v>43868</c:v>
                </c:pt>
                <c:pt idx="38">
                  <c:v>43869</c:v>
                </c:pt>
                <c:pt idx="39">
                  <c:v>43870</c:v>
                </c:pt>
                <c:pt idx="40">
                  <c:v>43871</c:v>
                </c:pt>
                <c:pt idx="41">
                  <c:v>43872</c:v>
                </c:pt>
                <c:pt idx="42">
                  <c:v>43873</c:v>
                </c:pt>
                <c:pt idx="43">
                  <c:v>43874</c:v>
                </c:pt>
                <c:pt idx="44">
                  <c:v>43875</c:v>
                </c:pt>
                <c:pt idx="45">
                  <c:v>43876</c:v>
                </c:pt>
                <c:pt idx="46">
                  <c:v>43877</c:v>
                </c:pt>
                <c:pt idx="47">
                  <c:v>43878</c:v>
                </c:pt>
                <c:pt idx="48">
                  <c:v>43879</c:v>
                </c:pt>
                <c:pt idx="49">
                  <c:v>43880</c:v>
                </c:pt>
                <c:pt idx="50">
                  <c:v>43881</c:v>
                </c:pt>
                <c:pt idx="51">
                  <c:v>43882</c:v>
                </c:pt>
                <c:pt idx="52">
                  <c:v>43883</c:v>
                </c:pt>
                <c:pt idx="53">
                  <c:v>43884</c:v>
                </c:pt>
                <c:pt idx="54">
                  <c:v>43885</c:v>
                </c:pt>
                <c:pt idx="55">
                  <c:v>43886</c:v>
                </c:pt>
                <c:pt idx="56">
                  <c:v>43887</c:v>
                </c:pt>
                <c:pt idx="57">
                  <c:v>43888</c:v>
                </c:pt>
                <c:pt idx="58">
                  <c:v>43889</c:v>
                </c:pt>
                <c:pt idx="59">
                  <c:v>43890</c:v>
                </c:pt>
                <c:pt idx="60">
                  <c:v>43891</c:v>
                </c:pt>
                <c:pt idx="61">
                  <c:v>43892</c:v>
                </c:pt>
                <c:pt idx="62">
                  <c:v>43893</c:v>
                </c:pt>
                <c:pt idx="63">
                  <c:v>43894</c:v>
                </c:pt>
                <c:pt idx="64">
                  <c:v>43895</c:v>
                </c:pt>
                <c:pt idx="65">
                  <c:v>43896</c:v>
                </c:pt>
                <c:pt idx="66">
                  <c:v>43897</c:v>
                </c:pt>
                <c:pt idx="67">
                  <c:v>43898</c:v>
                </c:pt>
                <c:pt idx="68">
                  <c:v>43899</c:v>
                </c:pt>
                <c:pt idx="69">
                  <c:v>43900</c:v>
                </c:pt>
                <c:pt idx="70">
                  <c:v>43901</c:v>
                </c:pt>
                <c:pt idx="71">
                  <c:v>43902</c:v>
                </c:pt>
                <c:pt idx="72">
                  <c:v>43903</c:v>
                </c:pt>
                <c:pt idx="73">
                  <c:v>43904</c:v>
                </c:pt>
                <c:pt idx="74">
                  <c:v>43905</c:v>
                </c:pt>
                <c:pt idx="75">
                  <c:v>43906</c:v>
                </c:pt>
                <c:pt idx="76">
                  <c:v>43907</c:v>
                </c:pt>
                <c:pt idx="77">
                  <c:v>43908</c:v>
                </c:pt>
                <c:pt idx="78">
                  <c:v>43909</c:v>
                </c:pt>
                <c:pt idx="79">
                  <c:v>43910</c:v>
                </c:pt>
                <c:pt idx="80">
                  <c:v>43911</c:v>
                </c:pt>
                <c:pt idx="81">
                  <c:v>43912</c:v>
                </c:pt>
                <c:pt idx="82">
                  <c:v>43913</c:v>
                </c:pt>
                <c:pt idx="83">
                  <c:v>43914</c:v>
                </c:pt>
                <c:pt idx="84">
                  <c:v>43915</c:v>
                </c:pt>
                <c:pt idx="85">
                  <c:v>43916</c:v>
                </c:pt>
                <c:pt idx="86">
                  <c:v>43917</c:v>
                </c:pt>
                <c:pt idx="87">
                  <c:v>43918</c:v>
                </c:pt>
                <c:pt idx="88">
                  <c:v>43919</c:v>
                </c:pt>
                <c:pt idx="89">
                  <c:v>43920</c:v>
                </c:pt>
                <c:pt idx="90">
                  <c:v>43921</c:v>
                </c:pt>
                <c:pt idx="91">
                  <c:v>43922</c:v>
                </c:pt>
                <c:pt idx="92">
                  <c:v>43923</c:v>
                </c:pt>
                <c:pt idx="93">
                  <c:v>43924</c:v>
                </c:pt>
                <c:pt idx="94">
                  <c:v>43925</c:v>
                </c:pt>
                <c:pt idx="95">
                  <c:v>43926</c:v>
                </c:pt>
                <c:pt idx="96">
                  <c:v>43927</c:v>
                </c:pt>
                <c:pt idx="97">
                  <c:v>43928</c:v>
                </c:pt>
                <c:pt idx="98">
                  <c:v>43929</c:v>
                </c:pt>
                <c:pt idx="99">
                  <c:v>43930</c:v>
                </c:pt>
                <c:pt idx="100">
                  <c:v>43931</c:v>
                </c:pt>
                <c:pt idx="101">
                  <c:v>43932</c:v>
                </c:pt>
                <c:pt idx="102">
                  <c:v>43933</c:v>
                </c:pt>
                <c:pt idx="103">
                  <c:v>43934</c:v>
                </c:pt>
                <c:pt idx="104">
                  <c:v>43935</c:v>
                </c:pt>
                <c:pt idx="105">
                  <c:v>43936</c:v>
                </c:pt>
                <c:pt idx="106">
                  <c:v>43937</c:v>
                </c:pt>
                <c:pt idx="107">
                  <c:v>43938</c:v>
                </c:pt>
                <c:pt idx="108">
                  <c:v>43939</c:v>
                </c:pt>
                <c:pt idx="109">
                  <c:v>43940</c:v>
                </c:pt>
                <c:pt idx="110">
                  <c:v>43941</c:v>
                </c:pt>
                <c:pt idx="111">
                  <c:v>43942</c:v>
                </c:pt>
                <c:pt idx="112">
                  <c:v>43943</c:v>
                </c:pt>
                <c:pt idx="113">
                  <c:v>43944</c:v>
                </c:pt>
                <c:pt idx="114">
                  <c:v>43945</c:v>
                </c:pt>
                <c:pt idx="115">
                  <c:v>43946</c:v>
                </c:pt>
                <c:pt idx="116">
                  <c:v>43947</c:v>
                </c:pt>
                <c:pt idx="117">
                  <c:v>43948</c:v>
                </c:pt>
                <c:pt idx="118">
                  <c:v>43949</c:v>
                </c:pt>
                <c:pt idx="119">
                  <c:v>43950</c:v>
                </c:pt>
                <c:pt idx="120">
                  <c:v>43951</c:v>
                </c:pt>
                <c:pt idx="121">
                  <c:v>43952</c:v>
                </c:pt>
                <c:pt idx="122">
                  <c:v>43953</c:v>
                </c:pt>
                <c:pt idx="123">
                  <c:v>43954</c:v>
                </c:pt>
                <c:pt idx="124">
                  <c:v>43955</c:v>
                </c:pt>
                <c:pt idx="125">
                  <c:v>43956</c:v>
                </c:pt>
                <c:pt idx="126">
                  <c:v>43957</c:v>
                </c:pt>
                <c:pt idx="127">
                  <c:v>43958</c:v>
                </c:pt>
                <c:pt idx="128">
                  <c:v>43959</c:v>
                </c:pt>
                <c:pt idx="129">
                  <c:v>43960</c:v>
                </c:pt>
                <c:pt idx="130">
                  <c:v>43961</c:v>
                </c:pt>
                <c:pt idx="131">
                  <c:v>43962</c:v>
                </c:pt>
                <c:pt idx="132">
                  <c:v>43963</c:v>
                </c:pt>
                <c:pt idx="133">
                  <c:v>43964</c:v>
                </c:pt>
                <c:pt idx="134">
                  <c:v>43965</c:v>
                </c:pt>
                <c:pt idx="135">
                  <c:v>43966</c:v>
                </c:pt>
                <c:pt idx="136">
                  <c:v>43967</c:v>
                </c:pt>
                <c:pt idx="137">
                  <c:v>43968</c:v>
                </c:pt>
                <c:pt idx="138">
                  <c:v>43969</c:v>
                </c:pt>
                <c:pt idx="139">
                  <c:v>43970</c:v>
                </c:pt>
                <c:pt idx="140">
                  <c:v>43971</c:v>
                </c:pt>
                <c:pt idx="141">
                  <c:v>43972</c:v>
                </c:pt>
                <c:pt idx="142">
                  <c:v>43973</c:v>
                </c:pt>
                <c:pt idx="143">
                  <c:v>43974</c:v>
                </c:pt>
                <c:pt idx="144">
                  <c:v>43975</c:v>
                </c:pt>
                <c:pt idx="145">
                  <c:v>43976</c:v>
                </c:pt>
                <c:pt idx="146">
                  <c:v>43977</c:v>
                </c:pt>
                <c:pt idx="147">
                  <c:v>43978</c:v>
                </c:pt>
                <c:pt idx="148">
                  <c:v>43979</c:v>
                </c:pt>
                <c:pt idx="149">
                  <c:v>43980</c:v>
                </c:pt>
                <c:pt idx="150">
                  <c:v>43981</c:v>
                </c:pt>
                <c:pt idx="151">
                  <c:v>43982</c:v>
                </c:pt>
                <c:pt idx="152">
                  <c:v>43983</c:v>
                </c:pt>
                <c:pt idx="153">
                  <c:v>43984</c:v>
                </c:pt>
                <c:pt idx="154">
                  <c:v>43985</c:v>
                </c:pt>
                <c:pt idx="155">
                  <c:v>43986</c:v>
                </c:pt>
                <c:pt idx="156">
                  <c:v>43987</c:v>
                </c:pt>
                <c:pt idx="157">
                  <c:v>43988</c:v>
                </c:pt>
                <c:pt idx="158">
                  <c:v>43989</c:v>
                </c:pt>
                <c:pt idx="159">
                  <c:v>43990</c:v>
                </c:pt>
                <c:pt idx="160">
                  <c:v>43991</c:v>
                </c:pt>
                <c:pt idx="161">
                  <c:v>43992</c:v>
                </c:pt>
                <c:pt idx="162">
                  <c:v>43993</c:v>
                </c:pt>
                <c:pt idx="163">
                  <c:v>43994</c:v>
                </c:pt>
                <c:pt idx="164">
                  <c:v>43995</c:v>
                </c:pt>
                <c:pt idx="165">
                  <c:v>43996</c:v>
                </c:pt>
                <c:pt idx="166">
                  <c:v>43997</c:v>
                </c:pt>
                <c:pt idx="167">
                  <c:v>43998</c:v>
                </c:pt>
                <c:pt idx="168">
                  <c:v>43999</c:v>
                </c:pt>
                <c:pt idx="169">
                  <c:v>44000</c:v>
                </c:pt>
                <c:pt idx="170">
                  <c:v>44001</c:v>
                </c:pt>
                <c:pt idx="171">
                  <c:v>44002</c:v>
                </c:pt>
                <c:pt idx="172">
                  <c:v>44003</c:v>
                </c:pt>
                <c:pt idx="173">
                  <c:v>44004</c:v>
                </c:pt>
                <c:pt idx="174">
                  <c:v>44005</c:v>
                </c:pt>
                <c:pt idx="175">
                  <c:v>44006</c:v>
                </c:pt>
                <c:pt idx="176">
                  <c:v>44007</c:v>
                </c:pt>
                <c:pt idx="177">
                  <c:v>44008</c:v>
                </c:pt>
                <c:pt idx="178">
                  <c:v>44009</c:v>
                </c:pt>
                <c:pt idx="179">
                  <c:v>44010</c:v>
                </c:pt>
                <c:pt idx="180">
                  <c:v>44011</c:v>
                </c:pt>
                <c:pt idx="181">
                  <c:v>44012</c:v>
                </c:pt>
                <c:pt idx="182">
                  <c:v>44013</c:v>
                </c:pt>
                <c:pt idx="183">
                  <c:v>44014</c:v>
                </c:pt>
                <c:pt idx="184">
                  <c:v>44015</c:v>
                </c:pt>
                <c:pt idx="185">
                  <c:v>44016</c:v>
                </c:pt>
                <c:pt idx="186">
                  <c:v>44017</c:v>
                </c:pt>
                <c:pt idx="187">
                  <c:v>44018</c:v>
                </c:pt>
                <c:pt idx="188">
                  <c:v>44019</c:v>
                </c:pt>
                <c:pt idx="189">
                  <c:v>44020</c:v>
                </c:pt>
                <c:pt idx="190">
                  <c:v>44021</c:v>
                </c:pt>
                <c:pt idx="191">
                  <c:v>44022</c:v>
                </c:pt>
                <c:pt idx="192">
                  <c:v>44023</c:v>
                </c:pt>
                <c:pt idx="193">
                  <c:v>44024</c:v>
                </c:pt>
                <c:pt idx="194">
                  <c:v>44025</c:v>
                </c:pt>
                <c:pt idx="195">
                  <c:v>44026</c:v>
                </c:pt>
                <c:pt idx="196">
                  <c:v>44027</c:v>
                </c:pt>
                <c:pt idx="197">
                  <c:v>44028</c:v>
                </c:pt>
                <c:pt idx="198">
                  <c:v>44029</c:v>
                </c:pt>
                <c:pt idx="199">
                  <c:v>44030</c:v>
                </c:pt>
                <c:pt idx="200">
                  <c:v>44031</c:v>
                </c:pt>
                <c:pt idx="201">
                  <c:v>44032</c:v>
                </c:pt>
                <c:pt idx="202">
                  <c:v>44033</c:v>
                </c:pt>
                <c:pt idx="203">
                  <c:v>44034</c:v>
                </c:pt>
                <c:pt idx="204">
                  <c:v>44035</c:v>
                </c:pt>
                <c:pt idx="205">
                  <c:v>44036</c:v>
                </c:pt>
                <c:pt idx="206">
                  <c:v>44037</c:v>
                </c:pt>
                <c:pt idx="207">
                  <c:v>44038</c:v>
                </c:pt>
                <c:pt idx="208">
                  <c:v>44039</c:v>
                </c:pt>
                <c:pt idx="209">
                  <c:v>44040</c:v>
                </c:pt>
                <c:pt idx="210">
                  <c:v>44041</c:v>
                </c:pt>
                <c:pt idx="211">
                  <c:v>44042</c:v>
                </c:pt>
                <c:pt idx="212">
                  <c:v>44043</c:v>
                </c:pt>
                <c:pt idx="213">
                  <c:v>44044</c:v>
                </c:pt>
                <c:pt idx="214">
                  <c:v>44045</c:v>
                </c:pt>
                <c:pt idx="215">
                  <c:v>44046</c:v>
                </c:pt>
                <c:pt idx="216">
                  <c:v>44047</c:v>
                </c:pt>
                <c:pt idx="217">
                  <c:v>44048</c:v>
                </c:pt>
                <c:pt idx="218">
                  <c:v>44049</c:v>
                </c:pt>
                <c:pt idx="219">
                  <c:v>44050</c:v>
                </c:pt>
                <c:pt idx="220">
                  <c:v>44051</c:v>
                </c:pt>
                <c:pt idx="221">
                  <c:v>44052</c:v>
                </c:pt>
                <c:pt idx="222">
                  <c:v>44053</c:v>
                </c:pt>
                <c:pt idx="223">
                  <c:v>44054</c:v>
                </c:pt>
                <c:pt idx="224">
                  <c:v>44055</c:v>
                </c:pt>
                <c:pt idx="225">
                  <c:v>44056</c:v>
                </c:pt>
                <c:pt idx="226">
                  <c:v>44057</c:v>
                </c:pt>
                <c:pt idx="227">
                  <c:v>44058</c:v>
                </c:pt>
                <c:pt idx="228">
                  <c:v>44059</c:v>
                </c:pt>
                <c:pt idx="229">
                  <c:v>44060</c:v>
                </c:pt>
                <c:pt idx="230">
                  <c:v>44061</c:v>
                </c:pt>
                <c:pt idx="231">
                  <c:v>44062</c:v>
                </c:pt>
                <c:pt idx="232">
                  <c:v>44063</c:v>
                </c:pt>
                <c:pt idx="233">
                  <c:v>44064</c:v>
                </c:pt>
                <c:pt idx="234">
                  <c:v>44065</c:v>
                </c:pt>
                <c:pt idx="235">
                  <c:v>44066</c:v>
                </c:pt>
                <c:pt idx="236">
                  <c:v>44067</c:v>
                </c:pt>
                <c:pt idx="237">
                  <c:v>44068</c:v>
                </c:pt>
                <c:pt idx="238">
                  <c:v>44069</c:v>
                </c:pt>
                <c:pt idx="239">
                  <c:v>44070</c:v>
                </c:pt>
                <c:pt idx="240">
                  <c:v>44071</c:v>
                </c:pt>
                <c:pt idx="241">
                  <c:v>44072</c:v>
                </c:pt>
                <c:pt idx="242">
                  <c:v>44073</c:v>
                </c:pt>
                <c:pt idx="243">
                  <c:v>44074</c:v>
                </c:pt>
                <c:pt idx="244">
                  <c:v>44075</c:v>
                </c:pt>
                <c:pt idx="245">
                  <c:v>44076</c:v>
                </c:pt>
                <c:pt idx="246">
                  <c:v>44077</c:v>
                </c:pt>
                <c:pt idx="247">
                  <c:v>44078</c:v>
                </c:pt>
                <c:pt idx="248">
                  <c:v>44079</c:v>
                </c:pt>
                <c:pt idx="249">
                  <c:v>44080</c:v>
                </c:pt>
                <c:pt idx="250">
                  <c:v>44081</c:v>
                </c:pt>
                <c:pt idx="251">
                  <c:v>44082</c:v>
                </c:pt>
                <c:pt idx="252">
                  <c:v>44083</c:v>
                </c:pt>
                <c:pt idx="253">
                  <c:v>44084</c:v>
                </c:pt>
                <c:pt idx="254">
                  <c:v>44085</c:v>
                </c:pt>
                <c:pt idx="255">
                  <c:v>44086</c:v>
                </c:pt>
                <c:pt idx="256">
                  <c:v>44087</c:v>
                </c:pt>
                <c:pt idx="257">
                  <c:v>44088</c:v>
                </c:pt>
                <c:pt idx="258">
                  <c:v>44089</c:v>
                </c:pt>
                <c:pt idx="259">
                  <c:v>44090</c:v>
                </c:pt>
                <c:pt idx="260">
                  <c:v>44091</c:v>
                </c:pt>
                <c:pt idx="261">
                  <c:v>44092</c:v>
                </c:pt>
                <c:pt idx="262">
                  <c:v>44093</c:v>
                </c:pt>
                <c:pt idx="263">
                  <c:v>44094</c:v>
                </c:pt>
                <c:pt idx="264">
                  <c:v>44095</c:v>
                </c:pt>
                <c:pt idx="265">
                  <c:v>44096</c:v>
                </c:pt>
                <c:pt idx="266">
                  <c:v>44097</c:v>
                </c:pt>
                <c:pt idx="267">
                  <c:v>44098</c:v>
                </c:pt>
                <c:pt idx="268">
                  <c:v>44099</c:v>
                </c:pt>
                <c:pt idx="269">
                  <c:v>44100</c:v>
                </c:pt>
                <c:pt idx="270">
                  <c:v>44101</c:v>
                </c:pt>
                <c:pt idx="271">
                  <c:v>44102</c:v>
                </c:pt>
                <c:pt idx="272">
                  <c:v>44103</c:v>
                </c:pt>
                <c:pt idx="273">
                  <c:v>44104</c:v>
                </c:pt>
                <c:pt idx="274">
                  <c:v>44105</c:v>
                </c:pt>
                <c:pt idx="275">
                  <c:v>44106</c:v>
                </c:pt>
                <c:pt idx="276">
                  <c:v>44107</c:v>
                </c:pt>
                <c:pt idx="277">
                  <c:v>44108</c:v>
                </c:pt>
                <c:pt idx="278">
                  <c:v>44109</c:v>
                </c:pt>
                <c:pt idx="279">
                  <c:v>44110</c:v>
                </c:pt>
                <c:pt idx="280">
                  <c:v>44111</c:v>
                </c:pt>
                <c:pt idx="281">
                  <c:v>44112</c:v>
                </c:pt>
                <c:pt idx="282">
                  <c:v>44113</c:v>
                </c:pt>
                <c:pt idx="283">
                  <c:v>44114</c:v>
                </c:pt>
                <c:pt idx="284">
                  <c:v>44115</c:v>
                </c:pt>
                <c:pt idx="285">
                  <c:v>44116</c:v>
                </c:pt>
                <c:pt idx="286">
                  <c:v>44117</c:v>
                </c:pt>
                <c:pt idx="287">
                  <c:v>44118</c:v>
                </c:pt>
                <c:pt idx="288">
                  <c:v>44119</c:v>
                </c:pt>
                <c:pt idx="289">
                  <c:v>44120</c:v>
                </c:pt>
                <c:pt idx="290">
                  <c:v>44121</c:v>
                </c:pt>
                <c:pt idx="291">
                  <c:v>44122</c:v>
                </c:pt>
                <c:pt idx="292">
                  <c:v>44123</c:v>
                </c:pt>
                <c:pt idx="293">
                  <c:v>44124</c:v>
                </c:pt>
                <c:pt idx="294">
                  <c:v>44125</c:v>
                </c:pt>
                <c:pt idx="295">
                  <c:v>44126</c:v>
                </c:pt>
                <c:pt idx="296">
                  <c:v>44127</c:v>
                </c:pt>
                <c:pt idx="297">
                  <c:v>44128</c:v>
                </c:pt>
                <c:pt idx="298">
                  <c:v>44129</c:v>
                </c:pt>
                <c:pt idx="299">
                  <c:v>44130</c:v>
                </c:pt>
                <c:pt idx="300">
                  <c:v>44131</c:v>
                </c:pt>
                <c:pt idx="301">
                  <c:v>44132</c:v>
                </c:pt>
                <c:pt idx="302">
                  <c:v>44133</c:v>
                </c:pt>
                <c:pt idx="303">
                  <c:v>44134</c:v>
                </c:pt>
                <c:pt idx="304">
                  <c:v>44135</c:v>
                </c:pt>
                <c:pt idx="305">
                  <c:v>44136</c:v>
                </c:pt>
                <c:pt idx="306">
                  <c:v>44137</c:v>
                </c:pt>
                <c:pt idx="307">
                  <c:v>44138</c:v>
                </c:pt>
                <c:pt idx="308">
                  <c:v>44139</c:v>
                </c:pt>
                <c:pt idx="309">
                  <c:v>44140</c:v>
                </c:pt>
                <c:pt idx="310">
                  <c:v>44141</c:v>
                </c:pt>
                <c:pt idx="311">
                  <c:v>44142</c:v>
                </c:pt>
                <c:pt idx="312">
                  <c:v>44143</c:v>
                </c:pt>
                <c:pt idx="313">
                  <c:v>44144</c:v>
                </c:pt>
                <c:pt idx="314">
                  <c:v>44145</c:v>
                </c:pt>
                <c:pt idx="315">
                  <c:v>44146</c:v>
                </c:pt>
                <c:pt idx="316">
                  <c:v>44147</c:v>
                </c:pt>
                <c:pt idx="317">
                  <c:v>44148</c:v>
                </c:pt>
                <c:pt idx="318">
                  <c:v>44149</c:v>
                </c:pt>
                <c:pt idx="319">
                  <c:v>44150</c:v>
                </c:pt>
                <c:pt idx="320">
                  <c:v>44151</c:v>
                </c:pt>
                <c:pt idx="321">
                  <c:v>44152</c:v>
                </c:pt>
                <c:pt idx="322">
                  <c:v>44153</c:v>
                </c:pt>
                <c:pt idx="323">
                  <c:v>44154</c:v>
                </c:pt>
                <c:pt idx="324">
                  <c:v>44155</c:v>
                </c:pt>
                <c:pt idx="325">
                  <c:v>44156</c:v>
                </c:pt>
                <c:pt idx="326">
                  <c:v>44157</c:v>
                </c:pt>
                <c:pt idx="327">
                  <c:v>44158</c:v>
                </c:pt>
                <c:pt idx="328">
                  <c:v>44159</c:v>
                </c:pt>
                <c:pt idx="329">
                  <c:v>44160</c:v>
                </c:pt>
                <c:pt idx="330">
                  <c:v>44161</c:v>
                </c:pt>
                <c:pt idx="331">
                  <c:v>44162</c:v>
                </c:pt>
                <c:pt idx="332">
                  <c:v>44163</c:v>
                </c:pt>
                <c:pt idx="333">
                  <c:v>44164</c:v>
                </c:pt>
                <c:pt idx="334">
                  <c:v>44165</c:v>
                </c:pt>
                <c:pt idx="335">
                  <c:v>44166</c:v>
                </c:pt>
                <c:pt idx="336">
                  <c:v>44167</c:v>
                </c:pt>
                <c:pt idx="337">
                  <c:v>44168</c:v>
                </c:pt>
                <c:pt idx="338">
                  <c:v>44169</c:v>
                </c:pt>
                <c:pt idx="339">
                  <c:v>44170</c:v>
                </c:pt>
                <c:pt idx="340">
                  <c:v>44171</c:v>
                </c:pt>
                <c:pt idx="341">
                  <c:v>44172</c:v>
                </c:pt>
                <c:pt idx="342">
                  <c:v>44173</c:v>
                </c:pt>
                <c:pt idx="343">
                  <c:v>44174</c:v>
                </c:pt>
                <c:pt idx="344">
                  <c:v>44175</c:v>
                </c:pt>
                <c:pt idx="345">
                  <c:v>44176</c:v>
                </c:pt>
                <c:pt idx="346">
                  <c:v>44177</c:v>
                </c:pt>
                <c:pt idx="347">
                  <c:v>44178</c:v>
                </c:pt>
                <c:pt idx="348">
                  <c:v>44179</c:v>
                </c:pt>
                <c:pt idx="349">
                  <c:v>44180</c:v>
                </c:pt>
                <c:pt idx="350">
                  <c:v>44181</c:v>
                </c:pt>
                <c:pt idx="351">
                  <c:v>44182</c:v>
                </c:pt>
                <c:pt idx="352">
                  <c:v>44183</c:v>
                </c:pt>
                <c:pt idx="353">
                  <c:v>44184</c:v>
                </c:pt>
                <c:pt idx="354">
                  <c:v>44185</c:v>
                </c:pt>
                <c:pt idx="355">
                  <c:v>44186</c:v>
                </c:pt>
                <c:pt idx="356">
                  <c:v>44187</c:v>
                </c:pt>
                <c:pt idx="357">
                  <c:v>44188</c:v>
                </c:pt>
                <c:pt idx="358">
                  <c:v>44189</c:v>
                </c:pt>
                <c:pt idx="359">
                  <c:v>44190</c:v>
                </c:pt>
                <c:pt idx="360">
                  <c:v>44191</c:v>
                </c:pt>
                <c:pt idx="361">
                  <c:v>44192</c:v>
                </c:pt>
                <c:pt idx="362">
                  <c:v>44193</c:v>
                </c:pt>
                <c:pt idx="363">
                  <c:v>44194</c:v>
                </c:pt>
                <c:pt idx="364">
                  <c:v>44195</c:v>
                </c:pt>
                <c:pt idx="365">
                  <c:v>44196</c:v>
                </c:pt>
                <c:pt idx="366">
                  <c:v>44197</c:v>
                </c:pt>
                <c:pt idx="367">
                  <c:v>44198</c:v>
                </c:pt>
                <c:pt idx="368">
                  <c:v>44199</c:v>
                </c:pt>
                <c:pt idx="369">
                  <c:v>44200</c:v>
                </c:pt>
                <c:pt idx="370">
                  <c:v>44201</c:v>
                </c:pt>
                <c:pt idx="371">
                  <c:v>44202</c:v>
                </c:pt>
                <c:pt idx="372">
                  <c:v>44203</c:v>
                </c:pt>
                <c:pt idx="373">
                  <c:v>44204</c:v>
                </c:pt>
                <c:pt idx="374">
                  <c:v>44205</c:v>
                </c:pt>
                <c:pt idx="375">
                  <c:v>44206</c:v>
                </c:pt>
                <c:pt idx="376">
                  <c:v>44207</c:v>
                </c:pt>
                <c:pt idx="377">
                  <c:v>44208</c:v>
                </c:pt>
                <c:pt idx="378">
                  <c:v>44209</c:v>
                </c:pt>
                <c:pt idx="379">
                  <c:v>44210</c:v>
                </c:pt>
                <c:pt idx="380">
                  <c:v>44211</c:v>
                </c:pt>
                <c:pt idx="381">
                  <c:v>44212</c:v>
                </c:pt>
                <c:pt idx="382">
                  <c:v>44213</c:v>
                </c:pt>
                <c:pt idx="383">
                  <c:v>44214</c:v>
                </c:pt>
                <c:pt idx="384">
                  <c:v>44215</c:v>
                </c:pt>
                <c:pt idx="385">
                  <c:v>44216</c:v>
                </c:pt>
                <c:pt idx="386">
                  <c:v>44217</c:v>
                </c:pt>
                <c:pt idx="387">
                  <c:v>44218</c:v>
                </c:pt>
                <c:pt idx="388">
                  <c:v>44219</c:v>
                </c:pt>
                <c:pt idx="389">
                  <c:v>44220</c:v>
                </c:pt>
                <c:pt idx="390">
                  <c:v>44221</c:v>
                </c:pt>
                <c:pt idx="391">
                  <c:v>44222</c:v>
                </c:pt>
                <c:pt idx="392">
                  <c:v>44223</c:v>
                </c:pt>
                <c:pt idx="393">
                  <c:v>44224</c:v>
                </c:pt>
                <c:pt idx="394">
                  <c:v>44225</c:v>
                </c:pt>
                <c:pt idx="395">
                  <c:v>44226</c:v>
                </c:pt>
                <c:pt idx="396">
                  <c:v>44227</c:v>
                </c:pt>
                <c:pt idx="397">
                  <c:v>44228</c:v>
                </c:pt>
                <c:pt idx="398">
                  <c:v>44229</c:v>
                </c:pt>
                <c:pt idx="399">
                  <c:v>44230</c:v>
                </c:pt>
                <c:pt idx="400">
                  <c:v>44231</c:v>
                </c:pt>
                <c:pt idx="401">
                  <c:v>44232</c:v>
                </c:pt>
                <c:pt idx="402">
                  <c:v>44233</c:v>
                </c:pt>
                <c:pt idx="403">
                  <c:v>44234</c:v>
                </c:pt>
                <c:pt idx="404">
                  <c:v>44235</c:v>
                </c:pt>
                <c:pt idx="405">
                  <c:v>44236</c:v>
                </c:pt>
                <c:pt idx="406">
                  <c:v>44237</c:v>
                </c:pt>
                <c:pt idx="407">
                  <c:v>44238</c:v>
                </c:pt>
                <c:pt idx="408">
                  <c:v>44239</c:v>
                </c:pt>
                <c:pt idx="409">
                  <c:v>44240</c:v>
                </c:pt>
                <c:pt idx="410">
                  <c:v>44241</c:v>
                </c:pt>
                <c:pt idx="411">
                  <c:v>44242</c:v>
                </c:pt>
                <c:pt idx="412">
                  <c:v>44243</c:v>
                </c:pt>
                <c:pt idx="413">
                  <c:v>44244</c:v>
                </c:pt>
                <c:pt idx="414">
                  <c:v>44245</c:v>
                </c:pt>
                <c:pt idx="415">
                  <c:v>44246</c:v>
                </c:pt>
                <c:pt idx="416">
                  <c:v>44247</c:v>
                </c:pt>
                <c:pt idx="417">
                  <c:v>44248</c:v>
                </c:pt>
                <c:pt idx="418">
                  <c:v>44249</c:v>
                </c:pt>
                <c:pt idx="419">
                  <c:v>44250</c:v>
                </c:pt>
                <c:pt idx="420">
                  <c:v>44251</c:v>
                </c:pt>
                <c:pt idx="421">
                  <c:v>44252</c:v>
                </c:pt>
                <c:pt idx="422">
                  <c:v>44253</c:v>
                </c:pt>
                <c:pt idx="423">
                  <c:v>44254</c:v>
                </c:pt>
                <c:pt idx="424">
                  <c:v>44255</c:v>
                </c:pt>
                <c:pt idx="425">
                  <c:v>44256</c:v>
                </c:pt>
                <c:pt idx="426">
                  <c:v>44257</c:v>
                </c:pt>
                <c:pt idx="427">
                  <c:v>44258</c:v>
                </c:pt>
                <c:pt idx="428">
                  <c:v>44259</c:v>
                </c:pt>
                <c:pt idx="429">
                  <c:v>44260</c:v>
                </c:pt>
                <c:pt idx="430">
                  <c:v>44261</c:v>
                </c:pt>
                <c:pt idx="431">
                  <c:v>44262</c:v>
                </c:pt>
                <c:pt idx="432">
                  <c:v>44263</c:v>
                </c:pt>
                <c:pt idx="433">
                  <c:v>44264</c:v>
                </c:pt>
                <c:pt idx="434">
                  <c:v>44265</c:v>
                </c:pt>
                <c:pt idx="435">
                  <c:v>44266</c:v>
                </c:pt>
                <c:pt idx="436">
                  <c:v>44267</c:v>
                </c:pt>
                <c:pt idx="437">
                  <c:v>44268</c:v>
                </c:pt>
                <c:pt idx="438">
                  <c:v>44269</c:v>
                </c:pt>
                <c:pt idx="439">
                  <c:v>44270</c:v>
                </c:pt>
                <c:pt idx="440">
                  <c:v>44271</c:v>
                </c:pt>
                <c:pt idx="441">
                  <c:v>44272</c:v>
                </c:pt>
                <c:pt idx="442">
                  <c:v>44273</c:v>
                </c:pt>
                <c:pt idx="443">
                  <c:v>44274</c:v>
                </c:pt>
                <c:pt idx="444">
                  <c:v>44275</c:v>
                </c:pt>
                <c:pt idx="445">
                  <c:v>44276</c:v>
                </c:pt>
                <c:pt idx="446">
                  <c:v>44277</c:v>
                </c:pt>
                <c:pt idx="447">
                  <c:v>44278</c:v>
                </c:pt>
                <c:pt idx="448">
                  <c:v>44279</c:v>
                </c:pt>
                <c:pt idx="449">
                  <c:v>44280</c:v>
                </c:pt>
                <c:pt idx="450">
                  <c:v>44281</c:v>
                </c:pt>
                <c:pt idx="451">
                  <c:v>44282</c:v>
                </c:pt>
                <c:pt idx="452">
                  <c:v>44283</c:v>
                </c:pt>
                <c:pt idx="453">
                  <c:v>44284</c:v>
                </c:pt>
                <c:pt idx="454">
                  <c:v>44285</c:v>
                </c:pt>
                <c:pt idx="455">
                  <c:v>44286</c:v>
                </c:pt>
                <c:pt idx="456">
                  <c:v>44287</c:v>
                </c:pt>
                <c:pt idx="457">
                  <c:v>44288</c:v>
                </c:pt>
                <c:pt idx="458">
                  <c:v>44289</c:v>
                </c:pt>
                <c:pt idx="459">
                  <c:v>44290</c:v>
                </c:pt>
                <c:pt idx="460">
                  <c:v>44291</c:v>
                </c:pt>
                <c:pt idx="461">
                  <c:v>44292</c:v>
                </c:pt>
                <c:pt idx="462">
                  <c:v>44293</c:v>
                </c:pt>
                <c:pt idx="463">
                  <c:v>44294</c:v>
                </c:pt>
                <c:pt idx="464">
                  <c:v>44295</c:v>
                </c:pt>
                <c:pt idx="465">
                  <c:v>44296</c:v>
                </c:pt>
                <c:pt idx="466">
                  <c:v>44297</c:v>
                </c:pt>
                <c:pt idx="467">
                  <c:v>44298</c:v>
                </c:pt>
                <c:pt idx="468">
                  <c:v>44299</c:v>
                </c:pt>
                <c:pt idx="469">
                  <c:v>44300</c:v>
                </c:pt>
                <c:pt idx="470">
                  <c:v>44301</c:v>
                </c:pt>
                <c:pt idx="471">
                  <c:v>44302</c:v>
                </c:pt>
                <c:pt idx="472">
                  <c:v>44303</c:v>
                </c:pt>
                <c:pt idx="473">
                  <c:v>44304</c:v>
                </c:pt>
                <c:pt idx="474">
                  <c:v>44305</c:v>
                </c:pt>
                <c:pt idx="475">
                  <c:v>44306</c:v>
                </c:pt>
                <c:pt idx="476">
                  <c:v>44307</c:v>
                </c:pt>
                <c:pt idx="477">
                  <c:v>44308</c:v>
                </c:pt>
                <c:pt idx="478">
                  <c:v>44309</c:v>
                </c:pt>
                <c:pt idx="479">
                  <c:v>44310</c:v>
                </c:pt>
                <c:pt idx="480">
                  <c:v>44311</c:v>
                </c:pt>
                <c:pt idx="481">
                  <c:v>44312</c:v>
                </c:pt>
                <c:pt idx="482">
                  <c:v>44313</c:v>
                </c:pt>
                <c:pt idx="483">
                  <c:v>44314</c:v>
                </c:pt>
                <c:pt idx="484">
                  <c:v>44315</c:v>
                </c:pt>
                <c:pt idx="485">
                  <c:v>44316</c:v>
                </c:pt>
                <c:pt idx="486">
                  <c:v>44317</c:v>
                </c:pt>
                <c:pt idx="487">
                  <c:v>44318</c:v>
                </c:pt>
                <c:pt idx="488">
                  <c:v>44319</c:v>
                </c:pt>
                <c:pt idx="489">
                  <c:v>44320</c:v>
                </c:pt>
                <c:pt idx="490">
                  <c:v>44321</c:v>
                </c:pt>
                <c:pt idx="491">
                  <c:v>44322</c:v>
                </c:pt>
                <c:pt idx="492">
                  <c:v>44323</c:v>
                </c:pt>
                <c:pt idx="493">
                  <c:v>44324</c:v>
                </c:pt>
                <c:pt idx="494">
                  <c:v>44325</c:v>
                </c:pt>
                <c:pt idx="495">
                  <c:v>44326</c:v>
                </c:pt>
                <c:pt idx="496">
                  <c:v>44327</c:v>
                </c:pt>
                <c:pt idx="497">
                  <c:v>44328</c:v>
                </c:pt>
                <c:pt idx="498">
                  <c:v>44329</c:v>
                </c:pt>
                <c:pt idx="499">
                  <c:v>44330</c:v>
                </c:pt>
                <c:pt idx="500">
                  <c:v>44331</c:v>
                </c:pt>
                <c:pt idx="501">
                  <c:v>44332</c:v>
                </c:pt>
                <c:pt idx="502">
                  <c:v>44333</c:v>
                </c:pt>
                <c:pt idx="503">
                  <c:v>44334</c:v>
                </c:pt>
                <c:pt idx="504">
                  <c:v>44335</c:v>
                </c:pt>
                <c:pt idx="505">
                  <c:v>44336</c:v>
                </c:pt>
                <c:pt idx="506">
                  <c:v>44337</c:v>
                </c:pt>
                <c:pt idx="507">
                  <c:v>44338</c:v>
                </c:pt>
                <c:pt idx="508">
                  <c:v>44339</c:v>
                </c:pt>
                <c:pt idx="509">
                  <c:v>44340</c:v>
                </c:pt>
                <c:pt idx="510">
                  <c:v>44341</c:v>
                </c:pt>
                <c:pt idx="511">
                  <c:v>44342</c:v>
                </c:pt>
                <c:pt idx="512">
                  <c:v>44343</c:v>
                </c:pt>
                <c:pt idx="513">
                  <c:v>44344</c:v>
                </c:pt>
                <c:pt idx="514">
                  <c:v>44345</c:v>
                </c:pt>
                <c:pt idx="515">
                  <c:v>44346</c:v>
                </c:pt>
                <c:pt idx="516">
                  <c:v>44347</c:v>
                </c:pt>
                <c:pt idx="517">
                  <c:v>44348</c:v>
                </c:pt>
                <c:pt idx="518">
                  <c:v>44349</c:v>
                </c:pt>
                <c:pt idx="519">
                  <c:v>44350</c:v>
                </c:pt>
                <c:pt idx="520">
                  <c:v>44351</c:v>
                </c:pt>
                <c:pt idx="521">
                  <c:v>44352</c:v>
                </c:pt>
                <c:pt idx="522">
                  <c:v>44353</c:v>
                </c:pt>
                <c:pt idx="523">
                  <c:v>44354</c:v>
                </c:pt>
                <c:pt idx="524">
                  <c:v>44355</c:v>
                </c:pt>
                <c:pt idx="525">
                  <c:v>44356</c:v>
                </c:pt>
                <c:pt idx="526">
                  <c:v>44357</c:v>
                </c:pt>
                <c:pt idx="527">
                  <c:v>44358</c:v>
                </c:pt>
                <c:pt idx="528">
                  <c:v>44359</c:v>
                </c:pt>
                <c:pt idx="529">
                  <c:v>44360</c:v>
                </c:pt>
                <c:pt idx="530">
                  <c:v>44361</c:v>
                </c:pt>
                <c:pt idx="531">
                  <c:v>44362</c:v>
                </c:pt>
                <c:pt idx="532">
                  <c:v>44363</c:v>
                </c:pt>
                <c:pt idx="533">
                  <c:v>44364</c:v>
                </c:pt>
                <c:pt idx="534">
                  <c:v>44365</c:v>
                </c:pt>
                <c:pt idx="535">
                  <c:v>44366</c:v>
                </c:pt>
                <c:pt idx="536">
                  <c:v>44367</c:v>
                </c:pt>
                <c:pt idx="537">
                  <c:v>44368</c:v>
                </c:pt>
                <c:pt idx="538">
                  <c:v>44369</c:v>
                </c:pt>
                <c:pt idx="539">
                  <c:v>44370</c:v>
                </c:pt>
                <c:pt idx="540">
                  <c:v>44371</c:v>
                </c:pt>
                <c:pt idx="541">
                  <c:v>44372</c:v>
                </c:pt>
                <c:pt idx="542">
                  <c:v>44373</c:v>
                </c:pt>
                <c:pt idx="543">
                  <c:v>44374</c:v>
                </c:pt>
                <c:pt idx="544">
                  <c:v>44375</c:v>
                </c:pt>
                <c:pt idx="545">
                  <c:v>44376</c:v>
                </c:pt>
                <c:pt idx="546">
                  <c:v>44377</c:v>
                </c:pt>
                <c:pt idx="547">
                  <c:v>44378</c:v>
                </c:pt>
                <c:pt idx="548">
                  <c:v>44379</c:v>
                </c:pt>
                <c:pt idx="549">
                  <c:v>44380</c:v>
                </c:pt>
                <c:pt idx="550">
                  <c:v>44381</c:v>
                </c:pt>
                <c:pt idx="551">
                  <c:v>44382</c:v>
                </c:pt>
                <c:pt idx="552">
                  <c:v>44383</c:v>
                </c:pt>
                <c:pt idx="553">
                  <c:v>44384</c:v>
                </c:pt>
                <c:pt idx="554">
                  <c:v>44385</c:v>
                </c:pt>
                <c:pt idx="555">
                  <c:v>44386</c:v>
                </c:pt>
                <c:pt idx="556">
                  <c:v>44387</c:v>
                </c:pt>
                <c:pt idx="557">
                  <c:v>44388</c:v>
                </c:pt>
                <c:pt idx="558">
                  <c:v>44389</c:v>
                </c:pt>
                <c:pt idx="559">
                  <c:v>44390</c:v>
                </c:pt>
                <c:pt idx="560">
                  <c:v>44391</c:v>
                </c:pt>
                <c:pt idx="561">
                  <c:v>44392</c:v>
                </c:pt>
                <c:pt idx="562">
                  <c:v>44393</c:v>
                </c:pt>
                <c:pt idx="563">
                  <c:v>44394</c:v>
                </c:pt>
                <c:pt idx="564">
                  <c:v>44395</c:v>
                </c:pt>
                <c:pt idx="565">
                  <c:v>44396</c:v>
                </c:pt>
                <c:pt idx="566">
                  <c:v>44397</c:v>
                </c:pt>
                <c:pt idx="567">
                  <c:v>44398</c:v>
                </c:pt>
                <c:pt idx="568">
                  <c:v>44399</c:v>
                </c:pt>
                <c:pt idx="569">
                  <c:v>44400</c:v>
                </c:pt>
                <c:pt idx="570">
                  <c:v>44401</c:v>
                </c:pt>
                <c:pt idx="571">
                  <c:v>44402</c:v>
                </c:pt>
                <c:pt idx="572">
                  <c:v>44403</c:v>
                </c:pt>
                <c:pt idx="573">
                  <c:v>44404</c:v>
                </c:pt>
                <c:pt idx="574">
                  <c:v>44405</c:v>
                </c:pt>
                <c:pt idx="575">
                  <c:v>44406</c:v>
                </c:pt>
                <c:pt idx="576">
                  <c:v>44407</c:v>
                </c:pt>
                <c:pt idx="577">
                  <c:v>44408</c:v>
                </c:pt>
                <c:pt idx="578">
                  <c:v>44409</c:v>
                </c:pt>
                <c:pt idx="579">
                  <c:v>44410</c:v>
                </c:pt>
                <c:pt idx="580">
                  <c:v>44411</c:v>
                </c:pt>
                <c:pt idx="581">
                  <c:v>44412</c:v>
                </c:pt>
                <c:pt idx="582">
                  <c:v>44413</c:v>
                </c:pt>
                <c:pt idx="583">
                  <c:v>44414</c:v>
                </c:pt>
                <c:pt idx="584">
                  <c:v>44415</c:v>
                </c:pt>
                <c:pt idx="585">
                  <c:v>44416</c:v>
                </c:pt>
                <c:pt idx="586">
                  <c:v>44417</c:v>
                </c:pt>
                <c:pt idx="587">
                  <c:v>44418</c:v>
                </c:pt>
                <c:pt idx="588">
                  <c:v>44419</c:v>
                </c:pt>
                <c:pt idx="589">
                  <c:v>44420</c:v>
                </c:pt>
                <c:pt idx="590">
                  <c:v>44421</c:v>
                </c:pt>
                <c:pt idx="591">
                  <c:v>44422</c:v>
                </c:pt>
                <c:pt idx="592">
                  <c:v>44423</c:v>
                </c:pt>
                <c:pt idx="593">
                  <c:v>44424</c:v>
                </c:pt>
                <c:pt idx="594">
                  <c:v>44425</c:v>
                </c:pt>
                <c:pt idx="595">
                  <c:v>44426</c:v>
                </c:pt>
                <c:pt idx="596">
                  <c:v>44427</c:v>
                </c:pt>
                <c:pt idx="597">
                  <c:v>44428</c:v>
                </c:pt>
                <c:pt idx="598">
                  <c:v>44429</c:v>
                </c:pt>
                <c:pt idx="599">
                  <c:v>44430</c:v>
                </c:pt>
                <c:pt idx="600">
                  <c:v>44431</c:v>
                </c:pt>
                <c:pt idx="601">
                  <c:v>44432</c:v>
                </c:pt>
                <c:pt idx="602">
                  <c:v>44433</c:v>
                </c:pt>
                <c:pt idx="603">
                  <c:v>44434</c:v>
                </c:pt>
                <c:pt idx="604">
                  <c:v>44435</c:v>
                </c:pt>
                <c:pt idx="605">
                  <c:v>44436</c:v>
                </c:pt>
                <c:pt idx="606">
                  <c:v>44437</c:v>
                </c:pt>
                <c:pt idx="607">
                  <c:v>44438</c:v>
                </c:pt>
                <c:pt idx="608">
                  <c:v>44439</c:v>
                </c:pt>
                <c:pt idx="609">
                  <c:v>44440</c:v>
                </c:pt>
                <c:pt idx="610">
                  <c:v>44441</c:v>
                </c:pt>
                <c:pt idx="611">
                  <c:v>44442</c:v>
                </c:pt>
                <c:pt idx="612">
                  <c:v>44443</c:v>
                </c:pt>
                <c:pt idx="613">
                  <c:v>44444</c:v>
                </c:pt>
                <c:pt idx="614">
                  <c:v>44445</c:v>
                </c:pt>
                <c:pt idx="615">
                  <c:v>44446</c:v>
                </c:pt>
                <c:pt idx="616">
                  <c:v>44447</c:v>
                </c:pt>
                <c:pt idx="617">
                  <c:v>44448</c:v>
                </c:pt>
                <c:pt idx="618">
                  <c:v>44449</c:v>
                </c:pt>
                <c:pt idx="619">
                  <c:v>44450</c:v>
                </c:pt>
                <c:pt idx="620">
                  <c:v>44451</c:v>
                </c:pt>
                <c:pt idx="621">
                  <c:v>44452</c:v>
                </c:pt>
                <c:pt idx="622">
                  <c:v>44453</c:v>
                </c:pt>
                <c:pt idx="623">
                  <c:v>44454</c:v>
                </c:pt>
                <c:pt idx="624">
                  <c:v>44455</c:v>
                </c:pt>
                <c:pt idx="625">
                  <c:v>44456</c:v>
                </c:pt>
                <c:pt idx="626">
                  <c:v>44457</c:v>
                </c:pt>
                <c:pt idx="627">
                  <c:v>44458</c:v>
                </c:pt>
                <c:pt idx="628">
                  <c:v>44459</c:v>
                </c:pt>
                <c:pt idx="629">
                  <c:v>44460</c:v>
                </c:pt>
                <c:pt idx="630">
                  <c:v>44461</c:v>
                </c:pt>
                <c:pt idx="631">
                  <c:v>44462</c:v>
                </c:pt>
                <c:pt idx="632">
                  <c:v>44463</c:v>
                </c:pt>
                <c:pt idx="633">
                  <c:v>44464</c:v>
                </c:pt>
                <c:pt idx="634">
                  <c:v>44465</c:v>
                </c:pt>
                <c:pt idx="635">
                  <c:v>44466</c:v>
                </c:pt>
                <c:pt idx="636">
                  <c:v>44467</c:v>
                </c:pt>
                <c:pt idx="637">
                  <c:v>44468</c:v>
                </c:pt>
                <c:pt idx="638">
                  <c:v>44469</c:v>
                </c:pt>
                <c:pt idx="639">
                  <c:v>44470</c:v>
                </c:pt>
                <c:pt idx="640">
                  <c:v>44471</c:v>
                </c:pt>
                <c:pt idx="641">
                  <c:v>44472</c:v>
                </c:pt>
                <c:pt idx="642">
                  <c:v>44473</c:v>
                </c:pt>
                <c:pt idx="643">
                  <c:v>44474</c:v>
                </c:pt>
                <c:pt idx="644">
                  <c:v>44475</c:v>
                </c:pt>
                <c:pt idx="645">
                  <c:v>44476</c:v>
                </c:pt>
                <c:pt idx="646">
                  <c:v>44477</c:v>
                </c:pt>
                <c:pt idx="647">
                  <c:v>44478</c:v>
                </c:pt>
                <c:pt idx="648">
                  <c:v>44479</c:v>
                </c:pt>
                <c:pt idx="649">
                  <c:v>44480</c:v>
                </c:pt>
                <c:pt idx="650">
                  <c:v>44481</c:v>
                </c:pt>
                <c:pt idx="651">
                  <c:v>44482</c:v>
                </c:pt>
                <c:pt idx="652">
                  <c:v>44483</c:v>
                </c:pt>
                <c:pt idx="653">
                  <c:v>44484</c:v>
                </c:pt>
                <c:pt idx="654">
                  <c:v>44485</c:v>
                </c:pt>
                <c:pt idx="655">
                  <c:v>44486</c:v>
                </c:pt>
                <c:pt idx="656">
                  <c:v>44487</c:v>
                </c:pt>
                <c:pt idx="657">
                  <c:v>44488</c:v>
                </c:pt>
                <c:pt idx="658">
                  <c:v>44489</c:v>
                </c:pt>
                <c:pt idx="659">
                  <c:v>44490</c:v>
                </c:pt>
                <c:pt idx="660">
                  <c:v>44491</c:v>
                </c:pt>
                <c:pt idx="661">
                  <c:v>44492</c:v>
                </c:pt>
                <c:pt idx="662">
                  <c:v>44493</c:v>
                </c:pt>
                <c:pt idx="663">
                  <c:v>44494</c:v>
                </c:pt>
                <c:pt idx="664">
                  <c:v>44495</c:v>
                </c:pt>
                <c:pt idx="665">
                  <c:v>44496</c:v>
                </c:pt>
                <c:pt idx="666">
                  <c:v>44497</c:v>
                </c:pt>
                <c:pt idx="667">
                  <c:v>44498</c:v>
                </c:pt>
                <c:pt idx="668">
                  <c:v>44499</c:v>
                </c:pt>
                <c:pt idx="669">
                  <c:v>44500</c:v>
                </c:pt>
                <c:pt idx="670">
                  <c:v>44501</c:v>
                </c:pt>
                <c:pt idx="671">
                  <c:v>44502</c:v>
                </c:pt>
                <c:pt idx="672">
                  <c:v>44503</c:v>
                </c:pt>
                <c:pt idx="673">
                  <c:v>44504</c:v>
                </c:pt>
                <c:pt idx="674">
                  <c:v>44505</c:v>
                </c:pt>
                <c:pt idx="675">
                  <c:v>44506</c:v>
                </c:pt>
                <c:pt idx="676">
                  <c:v>44507</c:v>
                </c:pt>
                <c:pt idx="677">
                  <c:v>44508</c:v>
                </c:pt>
                <c:pt idx="678">
                  <c:v>44509</c:v>
                </c:pt>
                <c:pt idx="679">
                  <c:v>44510</c:v>
                </c:pt>
                <c:pt idx="680">
                  <c:v>44511</c:v>
                </c:pt>
                <c:pt idx="681">
                  <c:v>44512</c:v>
                </c:pt>
                <c:pt idx="682">
                  <c:v>44513</c:v>
                </c:pt>
                <c:pt idx="683">
                  <c:v>44514</c:v>
                </c:pt>
                <c:pt idx="684">
                  <c:v>44515</c:v>
                </c:pt>
                <c:pt idx="685">
                  <c:v>44516</c:v>
                </c:pt>
                <c:pt idx="686">
                  <c:v>44517</c:v>
                </c:pt>
                <c:pt idx="687">
                  <c:v>44518</c:v>
                </c:pt>
                <c:pt idx="688">
                  <c:v>44519</c:v>
                </c:pt>
                <c:pt idx="689">
                  <c:v>44520</c:v>
                </c:pt>
                <c:pt idx="690">
                  <c:v>44521</c:v>
                </c:pt>
                <c:pt idx="691">
                  <c:v>44522</c:v>
                </c:pt>
                <c:pt idx="692">
                  <c:v>44523</c:v>
                </c:pt>
                <c:pt idx="693">
                  <c:v>44524</c:v>
                </c:pt>
                <c:pt idx="694">
                  <c:v>44525</c:v>
                </c:pt>
                <c:pt idx="695">
                  <c:v>44526</c:v>
                </c:pt>
                <c:pt idx="696">
                  <c:v>44527</c:v>
                </c:pt>
                <c:pt idx="697">
                  <c:v>44528</c:v>
                </c:pt>
                <c:pt idx="698">
                  <c:v>44529</c:v>
                </c:pt>
                <c:pt idx="699">
                  <c:v>44530</c:v>
                </c:pt>
                <c:pt idx="700">
                  <c:v>44531</c:v>
                </c:pt>
                <c:pt idx="701">
                  <c:v>44532</c:v>
                </c:pt>
                <c:pt idx="702">
                  <c:v>44533</c:v>
                </c:pt>
                <c:pt idx="703">
                  <c:v>44534</c:v>
                </c:pt>
                <c:pt idx="704">
                  <c:v>44535</c:v>
                </c:pt>
                <c:pt idx="705">
                  <c:v>44536</c:v>
                </c:pt>
                <c:pt idx="706">
                  <c:v>44537</c:v>
                </c:pt>
                <c:pt idx="707">
                  <c:v>44538</c:v>
                </c:pt>
                <c:pt idx="708">
                  <c:v>44539</c:v>
                </c:pt>
                <c:pt idx="709">
                  <c:v>44540</c:v>
                </c:pt>
                <c:pt idx="710">
                  <c:v>44541</c:v>
                </c:pt>
                <c:pt idx="711">
                  <c:v>44542</c:v>
                </c:pt>
                <c:pt idx="712">
                  <c:v>44543</c:v>
                </c:pt>
                <c:pt idx="713">
                  <c:v>44544</c:v>
                </c:pt>
                <c:pt idx="714">
                  <c:v>44545</c:v>
                </c:pt>
                <c:pt idx="715">
                  <c:v>44546</c:v>
                </c:pt>
                <c:pt idx="716">
                  <c:v>44547</c:v>
                </c:pt>
                <c:pt idx="717">
                  <c:v>44548</c:v>
                </c:pt>
                <c:pt idx="718">
                  <c:v>44549</c:v>
                </c:pt>
                <c:pt idx="719">
                  <c:v>44550</c:v>
                </c:pt>
                <c:pt idx="720">
                  <c:v>44551</c:v>
                </c:pt>
                <c:pt idx="721">
                  <c:v>44552</c:v>
                </c:pt>
                <c:pt idx="722">
                  <c:v>44553</c:v>
                </c:pt>
                <c:pt idx="723">
                  <c:v>44554</c:v>
                </c:pt>
                <c:pt idx="724">
                  <c:v>44555</c:v>
                </c:pt>
                <c:pt idx="725">
                  <c:v>44556</c:v>
                </c:pt>
                <c:pt idx="726">
                  <c:v>44557</c:v>
                </c:pt>
                <c:pt idx="727">
                  <c:v>44558</c:v>
                </c:pt>
                <c:pt idx="728">
                  <c:v>44559</c:v>
                </c:pt>
                <c:pt idx="729">
                  <c:v>44560</c:v>
                </c:pt>
                <c:pt idx="730">
                  <c:v>44561</c:v>
                </c:pt>
                <c:pt idx="731">
                  <c:v>44562</c:v>
                </c:pt>
                <c:pt idx="732">
                  <c:v>44563</c:v>
                </c:pt>
                <c:pt idx="733">
                  <c:v>44564</c:v>
                </c:pt>
                <c:pt idx="734">
                  <c:v>44565</c:v>
                </c:pt>
                <c:pt idx="735">
                  <c:v>44566</c:v>
                </c:pt>
                <c:pt idx="736">
                  <c:v>44567</c:v>
                </c:pt>
                <c:pt idx="737">
                  <c:v>44568</c:v>
                </c:pt>
                <c:pt idx="738">
                  <c:v>44569</c:v>
                </c:pt>
                <c:pt idx="739">
                  <c:v>44570</c:v>
                </c:pt>
                <c:pt idx="740">
                  <c:v>44571</c:v>
                </c:pt>
                <c:pt idx="741">
                  <c:v>44572</c:v>
                </c:pt>
                <c:pt idx="742">
                  <c:v>44573</c:v>
                </c:pt>
                <c:pt idx="743">
                  <c:v>44574</c:v>
                </c:pt>
                <c:pt idx="744">
                  <c:v>44575</c:v>
                </c:pt>
                <c:pt idx="745">
                  <c:v>44576</c:v>
                </c:pt>
                <c:pt idx="746">
                  <c:v>44577</c:v>
                </c:pt>
                <c:pt idx="747">
                  <c:v>44578</c:v>
                </c:pt>
                <c:pt idx="748">
                  <c:v>44579</c:v>
                </c:pt>
                <c:pt idx="749">
                  <c:v>44580</c:v>
                </c:pt>
                <c:pt idx="750">
                  <c:v>44581</c:v>
                </c:pt>
                <c:pt idx="751">
                  <c:v>44582</c:v>
                </c:pt>
                <c:pt idx="752">
                  <c:v>44583</c:v>
                </c:pt>
                <c:pt idx="753">
                  <c:v>44584</c:v>
                </c:pt>
                <c:pt idx="754">
                  <c:v>44585</c:v>
                </c:pt>
                <c:pt idx="755">
                  <c:v>44586</c:v>
                </c:pt>
                <c:pt idx="756">
                  <c:v>44587</c:v>
                </c:pt>
                <c:pt idx="757">
                  <c:v>44588</c:v>
                </c:pt>
                <c:pt idx="758">
                  <c:v>44589</c:v>
                </c:pt>
                <c:pt idx="759">
                  <c:v>44590</c:v>
                </c:pt>
                <c:pt idx="760">
                  <c:v>44591</c:v>
                </c:pt>
                <c:pt idx="761">
                  <c:v>44592</c:v>
                </c:pt>
                <c:pt idx="762">
                  <c:v>44593</c:v>
                </c:pt>
                <c:pt idx="763">
                  <c:v>44594</c:v>
                </c:pt>
                <c:pt idx="764">
                  <c:v>44595</c:v>
                </c:pt>
                <c:pt idx="765">
                  <c:v>44596</c:v>
                </c:pt>
                <c:pt idx="766">
                  <c:v>44597</c:v>
                </c:pt>
                <c:pt idx="767">
                  <c:v>44598</c:v>
                </c:pt>
                <c:pt idx="768">
                  <c:v>44599</c:v>
                </c:pt>
                <c:pt idx="769">
                  <c:v>44600</c:v>
                </c:pt>
                <c:pt idx="770">
                  <c:v>44601</c:v>
                </c:pt>
                <c:pt idx="771">
                  <c:v>44602</c:v>
                </c:pt>
                <c:pt idx="772">
                  <c:v>44603</c:v>
                </c:pt>
                <c:pt idx="773">
                  <c:v>44604</c:v>
                </c:pt>
                <c:pt idx="774">
                  <c:v>44605</c:v>
                </c:pt>
                <c:pt idx="775">
                  <c:v>44606</c:v>
                </c:pt>
                <c:pt idx="776">
                  <c:v>44607</c:v>
                </c:pt>
                <c:pt idx="777">
                  <c:v>44608</c:v>
                </c:pt>
                <c:pt idx="778">
                  <c:v>44609</c:v>
                </c:pt>
                <c:pt idx="779">
                  <c:v>44610</c:v>
                </c:pt>
                <c:pt idx="780">
                  <c:v>44611</c:v>
                </c:pt>
                <c:pt idx="781">
                  <c:v>44612</c:v>
                </c:pt>
                <c:pt idx="782">
                  <c:v>44613</c:v>
                </c:pt>
                <c:pt idx="783">
                  <c:v>44614</c:v>
                </c:pt>
                <c:pt idx="784">
                  <c:v>44615</c:v>
                </c:pt>
                <c:pt idx="785">
                  <c:v>44616</c:v>
                </c:pt>
                <c:pt idx="786">
                  <c:v>44617</c:v>
                </c:pt>
                <c:pt idx="787">
                  <c:v>44618</c:v>
                </c:pt>
                <c:pt idx="788">
                  <c:v>44619</c:v>
                </c:pt>
                <c:pt idx="789">
                  <c:v>44620</c:v>
                </c:pt>
                <c:pt idx="790">
                  <c:v>44621</c:v>
                </c:pt>
                <c:pt idx="791">
                  <c:v>44622</c:v>
                </c:pt>
                <c:pt idx="792">
                  <c:v>44623</c:v>
                </c:pt>
                <c:pt idx="793">
                  <c:v>44624</c:v>
                </c:pt>
                <c:pt idx="794">
                  <c:v>44625</c:v>
                </c:pt>
                <c:pt idx="795">
                  <c:v>44626</c:v>
                </c:pt>
                <c:pt idx="796">
                  <c:v>44627</c:v>
                </c:pt>
                <c:pt idx="797">
                  <c:v>44628</c:v>
                </c:pt>
                <c:pt idx="798">
                  <c:v>44629</c:v>
                </c:pt>
                <c:pt idx="799">
                  <c:v>44630</c:v>
                </c:pt>
                <c:pt idx="800">
                  <c:v>44631</c:v>
                </c:pt>
                <c:pt idx="801">
                  <c:v>44632</c:v>
                </c:pt>
                <c:pt idx="802">
                  <c:v>44633</c:v>
                </c:pt>
                <c:pt idx="803">
                  <c:v>44634</c:v>
                </c:pt>
                <c:pt idx="804">
                  <c:v>44635</c:v>
                </c:pt>
                <c:pt idx="805">
                  <c:v>44636</c:v>
                </c:pt>
                <c:pt idx="806">
                  <c:v>44637</c:v>
                </c:pt>
                <c:pt idx="807">
                  <c:v>44638</c:v>
                </c:pt>
                <c:pt idx="808">
                  <c:v>44639</c:v>
                </c:pt>
                <c:pt idx="809">
                  <c:v>44640</c:v>
                </c:pt>
                <c:pt idx="810">
                  <c:v>44641</c:v>
                </c:pt>
                <c:pt idx="811">
                  <c:v>44642</c:v>
                </c:pt>
                <c:pt idx="812">
                  <c:v>44643</c:v>
                </c:pt>
                <c:pt idx="813">
                  <c:v>44644</c:v>
                </c:pt>
                <c:pt idx="814">
                  <c:v>44645</c:v>
                </c:pt>
                <c:pt idx="815">
                  <c:v>44646</c:v>
                </c:pt>
                <c:pt idx="816">
                  <c:v>44647</c:v>
                </c:pt>
                <c:pt idx="817">
                  <c:v>44648</c:v>
                </c:pt>
                <c:pt idx="818">
                  <c:v>44649</c:v>
                </c:pt>
                <c:pt idx="819">
                  <c:v>44650</c:v>
                </c:pt>
                <c:pt idx="820">
                  <c:v>44651</c:v>
                </c:pt>
                <c:pt idx="821">
                  <c:v>44652</c:v>
                </c:pt>
                <c:pt idx="822">
                  <c:v>44653</c:v>
                </c:pt>
                <c:pt idx="823">
                  <c:v>44654</c:v>
                </c:pt>
                <c:pt idx="824">
                  <c:v>44655</c:v>
                </c:pt>
                <c:pt idx="825">
                  <c:v>44656</c:v>
                </c:pt>
                <c:pt idx="826">
                  <c:v>44657</c:v>
                </c:pt>
                <c:pt idx="827">
                  <c:v>44658</c:v>
                </c:pt>
                <c:pt idx="828">
                  <c:v>44659</c:v>
                </c:pt>
                <c:pt idx="829">
                  <c:v>44660</c:v>
                </c:pt>
                <c:pt idx="830">
                  <c:v>44661</c:v>
                </c:pt>
                <c:pt idx="831">
                  <c:v>44662</c:v>
                </c:pt>
                <c:pt idx="832">
                  <c:v>44663</c:v>
                </c:pt>
                <c:pt idx="833">
                  <c:v>44664</c:v>
                </c:pt>
                <c:pt idx="834">
                  <c:v>44665</c:v>
                </c:pt>
                <c:pt idx="835">
                  <c:v>44666</c:v>
                </c:pt>
                <c:pt idx="836">
                  <c:v>44667</c:v>
                </c:pt>
                <c:pt idx="837">
                  <c:v>44668</c:v>
                </c:pt>
                <c:pt idx="838">
                  <c:v>44669</c:v>
                </c:pt>
                <c:pt idx="839">
                  <c:v>44670</c:v>
                </c:pt>
                <c:pt idx="840">
                  <c:v>44671</c:v>
                </c:pt>
                <c:pt idx="841">
                  <c:v>44672</c:v>
                </c:pt>
                <c:pt idx="842">
                  <c:v>44673</c:v>
                </c:pt>
                <c:pt idx="843">
                  <c:v>44674</c:v>
                </c:pt>
                <c:pt idx="844">
                  <c:v>44675</c:v>
                </c:pt>
                <c:pt idx="845">
                  <c:v>44676</c:v>
                </c:pt>
                <c:pt idx="846">
                  <c:v>44677</c:v>
                </c:pt>
                <c:pt idx="847">
                  <c:v>44678</c:v>
                </c:pt>
                <c:pt idx="848">
                  <c:v>44679</c:v>
                </c:pt>
                <c:pt idx="849">
                  <c:v>44680</c:v>
                </c:pt>
                <c:pt idx="850">
                  <c:v>44681</c:v>
                </c:pt>
                <c:pt idx="851">
                  <c:v>44682</c:v>
                </c:pt>
                <c:pt idx="852">
                  <c:v>44683</c:v>
                </c:pt>
                <c:pt idx="853">
                  <c:v>44684</c:v>
                </c:pt>
                <c:pt idx="854">
                  <c:v>44685</c:v>
                </c:pt>
                <c:pt idx="855">
                  <c:v>44686</c:v>
                </c:pt>
                <c:pt idx="856">
                  <c:v>44687</c:v>
                </c:pt>
                <c:pt idx="857">
                  <c:v>44688</c:v>
                </c:pt>
                <c:pt idx="858">
                  <c:v>44689</c:v>
                </c:pt>
                <c:pt idx="859">
                  <c:v>44690</c:v>
                </c:pt>
                <c:pt idx="860">
                  <c:v>44691</c:v>
                </c:pt>
                <c:pt idx="861">
                  <c:v>44692</c:v>
                </c:pt>
                <c:pt idx="862">
                  <c:v>44693</c:v>
                </c:pt>
                <c:pt idx="863">
                  <c:v>44694</c:v>
                </c:pt>
                <c:pt idx="864">
                  <c:v>44695</c:v>
                </c:pt>
                <c:pt idx="865">
                  <c:v>44696</c:v>
                </c:pt>
                <c:pt idx="866">
                  <c:v>44697</c:v>
                </c:pt>
                <c:pt idx="867">
                  <c:v>44698</c:v>
                </c:pt>
                <c:pt idx="868">
                  <c:v>44699</c:v>
                </c:pt>
                <c:pt idx="869">
                  <c:v>44700</c:v>
                </c:pt>
                <c:pt idx="870">
                  <c:v>44701</c:v>
                </c:pt>
                <c:pt idx="871">
                  <c:v>44702</c:v>
                </c:pt>
                <c:pt idx="872">
                  <c:v>44703</c:v>
                </c:pt>
                <c:pt idx="873">
                  <c:v>44704</c:v>
                </c:pt>
                <c:pt idx="874">
                  <c:v>44705</c:v>
                </c:pt>
                <c:pt idx="875">
                  <c:v>44706</c:v>
                </c:pt>
                <c:pt idx="876">
                  <c:v>44707</c:v>
                </c:pt>
                <c:pt idx="877">
                  <c:v>44708</c:v>
                </c:pt>
                <c:pt idx="878">
                  <c:v>44709</c:v>
                </c:pt>
                <c:pt idx="879">
                  <c:v>44710</c:v>
                </c:pt>
                <c:pt idx="880">
                  <c:v>44711</c:v>
                </c:pt>
                <c:pt idx="881">
                  <c:v>44712</c:v>
                </c:pt>
                <c:pt idx="882">
                  <c:v>44713</c:v>
                </c:pt>
                <c:pt idx="883">
                  <c:v>44714</c:v>
                </c:pt>
                <c:pt idx="884">
                  <c:v>44715</c:v>
                </c:pt>
                <c:pt idx="885">
                  <c:v>44716</c:v>
                </c:pt>
                <c:pt idx="886">
                  <c:v>44717</c:v>
                </c:pt>
                <c:pt idx="887">
                  <c:v>44718</c:v>
                </c:pt>
                <c:pt idx="888">
                  <c:v>44719</c:v>
                </c:pt>
                <c:pt idx="889">
                  <c:v>44720</c:v>
                </c:pt>
                <c:pt idx="890">
                  <c:v>44721</c:v>
                </c:pt>
                <c:pt idx="891">
                  <c:v>44722</c:v>
                </c:pt>
                <c:pt idx="892">
                  <c:v>44723</c:v>
                </c:pt>
                <c:pt idx="893">
                  <c:v>44724</c:v>
                </c:pt>
                <c:pt idx="894">
                  <c:v>44725</c:v>
                </c:pt>
                <c:pt idx="895">
                  <c:v>44726</c:v>
                </c:pt>
                <c:pt idx="896">
                  <c:v>44727</c:v>
                </c:pt>
                <c:pt idx="897">
                  <c:v>44728</c:v>
                </c:pt>
                <c:pt idx="898">
                  <c:v>44729</c:v>
                </c:pt>
                <c:pt idx="899">
                  <c:v>44730</c:v>
                </c:pt>
                <c:pt idx="900">
                  <c:v>44731</c:v>
                </c:pt>
                <c:pt idx="901">
                  <c:v>44732</c:v>
                </c:pt>
                <c:pt idx="902">
                  <c:v>44733</c:v>
                </c:pt>
                <c:pt idx="903">
                  <c:v>44734</c:v>
                </c:pt>
                <c:pt idx="904">
                  <c:v>44735</c:v>
                </c:pt>
                <c:pt idx="905">
                  <c:v>44736</c:v>
                </c:pt>
                <c:pt idx="906">
                  <c:v>44737</c:v>
                </c:pt>
                <c:pt idx="907">
                  <c:v>44738</c:v>
                </c:pt>
                <c:pt idx="908">
                  <c:v>44739</c:v>
                </c:pt>
                <c:pt idx="909">
                  <c:v>44740</c:v>
                </c:pt>
                <c:pt idx="910">
                  <c:v>44741</c:v>
                </c:pt>
                <c:pt idx="911">
                  <c:v>44742</c:v>
                </c:pt>
                <c:pt idx="912">
                  <c:v>44743</c:v>
                </c:pt>
                <c:pt idx="913">
                  <c:v>44744</c:v>
                </c:pt>
                <c:pt idx="914">
                  <c:v>44745</c:v>
                </c:pt>
                <c:pt idx="915">
                  <c:v>44746</c:v>
                </c:pt>
                <c:pt idx="916">
                  <c:v>44747</c:v>
                </c:pt>
                <c:pt idx="917">
                  <c:v>44748</c:v>
                </c:pt>
                <c:pt idx="918">
                  <c:v>44749</c:v>
                </c:pt>
                <c:pt idx="919">
                  <c:v>44750</c:v>
                </c:pt>
                <c:pt idx="920">
                  <c:v>44751</c:v>
                </c:pt>
                <c:pt idx="921">
                  <c:v>44752</c:v>
                </c:pt>
                <c:pt idx="922">
                  <c:v>44753</c:v>
                </c:pt>
                <c:pt idx="923">
                  <c:v>44754</c:v>
                </c:pt>
                <c:pt idx="924">
                  <c:v>44755</c:v>
                </c:pt>
                <c:pt idx="925">
                  <c:v>44756</c:v>
                </c:pt>
                <c:pt idx="926">
                  <c:v>44757</c:v>
                </c:pt>
                <c:pt idx="927">
                  <c:v>44758</c:v>
                </c:pt>
                <c:pt idx="928">
                  <c:v>44759</c:v>
                </c:pt>
                <c:pt idx="929">
                  <c:v>44760</c:v>
                </c:pt>
                <c:pt idx="930">
                  <c:v>44761</c:v>
                </c:pt>
                <c:pt idx="931">
                  <c:v>44762</c:v>
                </c:pt>
                <c:pt idx="932">
                  <c:v>44763</c:v>
                </c:pt>
                <c:pt idx="933">
                  <c:v>44764</c:v>
                </c:pt>
                <c:pt idx="934">
                  <c:v>44765</c:v>
                </c:pt>
                <c:pt idx="935">
                  <c:v>44766</c:v>
                </c:pt>
                <c:pt idx="936">
                  <c:v>44767</c:v>
                </c:pt>
                <c:pt idx="937">
                  <c:v>44768</c:v>
                </c:pt>
                <c:pt idx="938">
                  <c:v>44769</c:v>
                </c:pt>
                <c:pt idx="939">
                  <c:v>44770</c:v>
                </c:pt>
                <c:pt idx="940">
                  <c:v>44771</c:v>
                </c:pt>
                <c:pt idx="941">
                  <c:v>44772</c:v>
                </c:pt>
                <c:pt idx="942">
                  <c:v>44773</c:v>
                </c:pt>
                <c:pt idx="943">
                  <c:v>44774</c:v>
                </c:pt>
                <c:pt idx="944">
                  <c:v>44775</c:v>
                </c:pt>
                <c:pt idx="945">
                  <c:v>44776</c:v>
                </c:pt>
                <c:pt idx="946">
                  <c:v>44777</c:v>
                </c:pt>
                <c:pt idx="947">
                  <c:v>44778</c:v>
                </c:pt>
                <c:pt idx="948">
                  <c:v>44779</c:v>
                </c:pt>
                <c:pt idx="949">
                  <c:v>44780</c:v>
                </c:pt>
                <c:pt idx="950">
                  <c:v>44781</c:v>
                </c:pt>
                <c:pt idx="951">
                  <c:v>44782</c:v>
                </c:pt>
                <c:pt idx="952">
                  <c:v>44783</c:v>
                </c:pt>
                <c:pt idx="953">
                  <c:v>44784</c:v>
                </c:pt>
                <c:pt idx="954">
                  <c:v>44785</c:v>
                </c:pt>
                <c:pt idx="955">
                  <c:v>44786</c:v>
                </c:pt>
                <c:pt idx="956">
                  <c:v>44787</c:v>
                </c:pt>
                <c:pt idx="957">
                  <c:v>44788</c:v>
                </c:pt>
                <c:pt idx="958">
                  <c:v>44789</c:v>
                </c:pt>
                <c:pt idx="959">
                  <c:v>44790</c:v>
                </c:pt>
                <c:pt idx="960">
                  <c:v>44791</c:v>
                </c:pt>
                <c:pt idx="961">
                  <c:v>44792</c:v>
                </c:pt>
                <c:pt idx="962">
                  <c:v>44793</c:v>
                </c:pt>
                <c:pt idx="963">
                  <c:v>44794</c:v>
                </c:pt>
                <c:pt idx="964">
                  <c:v>44795</c:v>
                </c:pt>
                <c:pt idx="965">
                  <c:v>44796</c:v>
                </c:pt>
                <c:pt idx="966">
                  <c:v>44797</c:v>
                </c:pt>
                <c:pt idx="967">
                  <c:v>44798</c:v>
                </c:pt>
                <c:pt idx="968">
                  <c:v>44799</c:v>
                </c:pt>
                <c:pt idx="969">
                  <c:v>44800</c:v>
                </c:pt>
                <c:pt idx="970">
                  <c:v>44801</c:v>
                </c:pt>
                <c:pt idx="971">
                  <c:v>44802</c:v>
                </c:pt>
                <c:pt idx="972">
                  <c:v>44803</c:v>
                </c:pt>
                <c:pt idx="973">
                  <c:v>44804</c:v>
                </c:pt>
                <c:pt idx="974">
                  <c:v>44805</c:v>
                </c:pt>
                <c:pt idx="975">
                  <c:v>44806</c:v>
                </c:pt>
                <c:pt idx="976">
                  <c:v>44807</c:v>
                </c:pt>
                <c:pt idx="977">
                  <c:v>44808</c:v>
                </c:pt>
                <c:pt idx="978">
                  <c:v>44809</c:v>
                </c:pt>
                <c:pt idx="979">
                  <c:v>44810</c:v>
                </c:pt>
                <c:pt idx="980">
                  <c:v>44811</c:v>
                </c:pt>
                <c:pt idx="981">
                  <c:v>44812</c:v>
                </c:pt>
                <c:pt idx="982">
                  <c:v>44813</c:v>
                </c:pt>
                <c:pt idx="983">
                  <c:v>44814</c:v>
                </c:pt>
                <c:pt idx="984">
                  <c:v>44815</c:v>
                </c:pt>
                <c:pt idx="985">
                  <c:v>44816</c:v>
                </c:pt>
                <c:pt idx="986">
                  <c:v>44817</c:v>
                </c:pt>
                <c:pt idx="987">
                  <c:v>44818</c:v>
                </c:pt>
                <c:pt idx="988">
                  <c:v>44819</c:v>
                </c:pt>
                <c:pt idx="989">
                  <c:v>44820</c:v>
                </c:pt>
                <c:pt idx="990">
                  <c:v>44821</c:v>
                </c:pt>
                <c:pt idx="991">
                  <c:v>44822</c:v>
                </c:pt>
                <c:pt idx="992">
                  <c:v>44823</c:v>
                </c:pt>
                <c:pt idx="993">
                  <c:v>44824</c:v>
                </c:pt>
                <c:pt idx="994">
                  <c:v>44825</c:v>
                </c:pt>
                <c:pt idx="995">
                  <c:v>44826</c:v>
                </c:pt>
                <c:pt idx="996">
                  <c:v>44827</c:v>
                </c:pt>
                <c:pt idx="997">
                  <c:v>44828</c:v>
                </c:pt>
                <c:pt idx="998">
                  <c:v>44829</c:v>
                </c:pt>
                <c:pt idx="999">
                  <c:v>44830</c:v>
                </c:pt>
                <c:pt idx="1000">
                  <c:v>44831</c:v>
                </c:pt>
                <c:pt idx="1001">
                  <c:v>44832</c:v>
                </c:pt>
                <c:pt idx="1002">
                  <c:v>44833</c:v>
                </c:pt>
                <c:pt idx="1003">
                  <c:v>44834</c:v>
                </c:pt>
                <c:pt idx="1004">
                  <c:v>44835</c:v>
                </c:pt>
                <c:pt idx="1005">
                  <c:v>44836</c:v>
                </c:pt>
                <c:pt idx="1006">
                  <c:v>44837</c:v>
                </c:pt>
                <c:pt idx="1007">
                  <c:v>44838</c:v>
                </c:pt>
                <c:pt idx="1008">
                  <c:v>44839</c:v>
                </c:pt>
                <c:pt idx="1009">
                  <c:v>44840</c:v>
                </c:pt>
                <c:pt idx="1010">
                  <c:v>44841</c:v>
                </c:pt>
                <c:pt idx="1011">
                  <c:v>44842</c:v>
                </c:pt>
                <c:pt idx="1012">
                  <c:v>44843</c:v>
                </c:pt>
                <c:pt idx="1013">
                  <c:v>44844</c:v>
                </c:pt>
                <c:pt idx="1014">
                  <c:v>44845</c:v>
                </c:pt>
                <c:pt idx="1015">
                  <c:v>44846</c:v>
                </c:pt>
                <c:pt idx="1016">
                  <c:v>44847</c:v>
                </c:pt>
                <c:pt idx="1017">
                  <c:v>44848</c:v>
                </c:pt>
                <c:pt idx="1018">
                  <c:v>44849</c:v>
                </c:pt>
                <c:pt idx="1019">
                  <c:v>44850</c:v>
                </c:pt>
                <c:pt idx="1020">
                  <c:v>44851</c:v>
                </c:pt>
                <c:pt idx="1021">
                  <c:v>44852</c:v>
                </c:pt>
                <c:pt idx="1022">
                  <c:v>44853</c:v>
                </c:pt>
                <c:pt idx="1023">
                  <c:v>44854</c:v>
                </c:pt>
                <c:pt idx="1024">
                  <c:v>44855</c:v>
                </c:pt>
                <c:pt idx="1025">
                  <c:v>44856</c:v>
                </c:pt>
                <c:pt idx="1026">
                  <c:v>44857</c:v>
                </c:pt>
                <c:pt idx="1027">
                  <c:v>44858</c:v>
                </c:pt>
                <c:pt idx="1028">
                  <c:v>44859</c:v>
                </c:pt>
                <c:pt idx="1029">
                  <c:v>44860</c:v>
                </c:pt>
                <c:pt idx="1030">
                  <c:v>44861</c:v>
                </c:pt>
                <c:pt idx="1031">
                  <c:v>44862</c:v>
                </c:pt>
                <c:pt idx="1032">
                  <c:v>44863</c:v>
                </c:pt>
                <c:pt idx="1033">
                  <c:v>44864</c:v>
                </c:pt>
                <c:pt idx="1034">
                  <c:v>44865</c:v>
                </c:pt>
                <c:pt idx="1035">
                  <c:v>44866</c:v>
                </c:pt>
                <c:pt idx="1036">
                  <c:v>44867</c:v>
                </c:pt>
                <c:pt idx="1037">
                  <c:v>44868</c:v>
                </c:pt>
                <c:pt idx="1038">
                  <c:v>44869</c:v>
                </c:pt>
                <c:pt idx="1039">
                  <c:v>44870</c:v>
                </c:pt>
                <c:pt idx="1040">
                  <c:v>44871</c:v>
                </c:pt>
                <c:pt idx="1041">
                  <c:v>44872</c:v>
                </c:pt>
                <c:pt idx="1042">
                  <c:v>44873</c:v>
                </c:pt>
                <c:pt idx="1043">
                  <c:v>44874</c:v>
                </c:pt>
                <c:pt idx="1044">
                  <c:v>44875</c:v>
                </c:pt>
                <c:pt idx="1045">
                  <c:v>44876</c:v>
                </c:pt>
                <c:pt idx="1046">
                  <c:v>44877</c:v>
                </c:pt>
                <c:pt idx="1047">
                  <c:v>44878</c:v>
                </c:pt>
                <c:pt idx="1048">
                  <c:v>44879</c:v>
                </c:pt>
                <c:pt idx="1049">
                  <c:v>44880</c:v>
                </c:pt>
                <c:pt idx="1050">
                  <c:v>44881</c:v>
                </c:pt>
                <c:pt idx="1051">
                  <c:v>44882</c:v>
                </c:pt>
                <c:pt idx="1052">
                  <c:v>44883</c:v>
                </c:pt>
                <c:pt idx="1053">
                  <c:v>44884</c:v>
                </c:pt>
                <c:pt idx="1054">
                  <c:v>44885</c:v>
                </c:pt>
                <c:pt idx="1055">
                  <c:v>44886</c:v>
                </c:pt>
                <c:pt idx="1056">
                  <c:v>44887</c:v>
                </c:pt>
                <c:pt idx="1057">
                  <c:v>44888</c:v>
                </c:pt>
                <c:pt idx="1058">
                  <c:v>44889</c:v>
                </c:pt>
                <c:pt idx="1059">
                  <c:v>44890</c:v>
                </c:pt>
                <c:pt idx="1060">
                  <c:v>44891</c:v>
                </c:pt>
                <c:pt idx="1061">
                  <c:v>44892</c:v>
                </c:pt>
                <c:pt idx="1062">
                  <c:v>44893</c:v>
                </c:pt>
                <c:pt idx="1063">
                  <c:v>44894</c:v>
                </c:pt>
                <c:pt idx="1064">
                  <c:v>44895</c:v>
                </c:pt>
                <c:pt idx="1065">
                  <c:v>44896</c:v>
                </c:pt>
                <c:pt idx="1066">
                  <c:v>44897</c:v>
                </c:pt>
                <c:pt idx="1067">
                  <c:v>44898</c:v>
                </c:pt>
                <c:pt idx="1068">
                  <c:v>44899</c:v>
                </c:pt>
                <c:pt idx="1069">
                  <c:v>44900</c:v>
                </c:pt>
                <c:pt idx="1070">
                  <c:v>44901</c:v>
                </c:pt>
                <c:pt idx="1071">
                  <c:v>44902</c:v>
                </c:pt>
                <c:pt idx="1072">
                  <c:v>44903</c:v>
                </c:pt>
                <c:pt idx="1073">
                  <c:v>44904</c:v>
                </c:pt>
                <c:pt idx="1074">
                  <c:v>44905</c:v>
                </c:pt>
                <c:pt idx="1075">
                  <c:v>44906</c:v>
                </c:pt>
                <c:pt idx="1076">
                  <c:v>44907</c:v>
                </c:pt>
                <c:pt idx="1077">
                  <c:v>44908</c:v>
                </c:pt>
                <c:pt idx="1078">
                  <c:v>44909</c:v>
                </c:pt>
                <c:pt idx="1079">
                  <c:v>44910</c:v>
                </c:pt>
                <c:pt idx="1080">
                  <c:v>44911</c:v>
                </c:pt>
                <c:pt idx="1081">
                  <c:v>44912</c:v>
                </c:pt>
                <c:pt idx="1082">
                  <c:v>44913</c:v>
                </c:pt>
                <c:pt idx="1083">
                  <c:v>44914</c:v>
                </c:pt>
                <c:pt idx="1084">
                  <c:v>44915</c:v>
                </c:pt>
                <c:pt idx="1085">
                  <c:v>44916</c:v>
                </c:pt>
                <c:pt idx="1086">
                  <c:v>44917</c:v>
                </c:pt>
                <c:pt idx="1087">
                  <c:v>44918</c:v>
                </c:pt>
                <c:pt idx="1088">
                  <c:v>44919</c:v>
                </c:pt>
                <c:pt idx="1089">
                  <c:v>44920</c:v>
                </c:pt>
                <c:pt idx="1090">
                  <c:v>44921</c:v>
                </c:pt>
                <c:pt idx="1091">
                  <c:v>44922</c:v>
                </c:pt>
                <c:pt idx="1092">
                  <c:v>44923</c:v>
                </c:pt>
                <c:pt idx="1093">
                  <c:v>44924</c:v>
                </c:pt>
                <c:pt idx="1094">
                  <c:v>44925</c:v>
                </c:pt>
                <c:pt idx="1095">
                  <c:v>44926</c:v>
                </c:pt>
                <c:pt idx="1096">
                  <c:v>44927</c:v>
                </c:pt>
                <c:pt idx="1097">
                  <c:v>44928</c:v>
                </c:pt>
                <c:pt idx="1098">
                  <c:v>44929</c:v>
                </c:pt>
                <c:pt idx="1099">
                  <c:v>44930</c:v>
                </c:pt>
                <c:pt idx="1100">
                  <c:v>44931</c:v>
                </c:pt>
                <c:pt idx="1101">
                  <c:v>44932</c:v>
                </c:pt>
                <c:pt idx="1102">
                  <c:v>44933</c:v>
                </c:pt>
                <c:pt idx="1103">
                  <c:v>44934</c:v>
                </c:pt>
                <c:pt idx="1104">
                  <c:v>44935</c:v>
                </c:pt>
                <c:pt idx="1105">
                  <c:v>44936</c:v>
                </c:pt>
                <c:pt idx="1106">
                  <c:v>44937</c:v>
                </c:pt>
                <c:pt idx="1107">
                  <c:v>44938</c:v>
                </c:pt>
                <c:pt idx="1108">
                  <c:v>44939</c:v>
                </c:pt>
                <c:pt idx="1109">
                  <c:v>44940</c:v>
                </c:pt>
                <c:pt idx="1110">
                  <c:v>44941</c:v>
                </c:pt>
                <c:pt idx="1111">
                  <c:v>44942</c:v>
                </c:pt>
                <c:pt idx="1112">
                  <c:v>44943</c:v>
                </c:pt>
                <c:pt idx="1113">
                  <c:v>44944</c:v>
                </c:pt>
                <c:pt idx="1114">
                  <c:v>44945</c:v>
                </c:pt>
                <c:pt idx="1115">
                  <c:v>44946</c:v>
                </c:pt>
                <c:pt idx="1116">
                  <c:v>44947</c:v>
                </c:pt>
                <c:pt idx="1117">
                  <c:v>44948</c:v>
                </c:pt>
                <c:pt idx="1118">
                  <c:v>44949</c:v>
                </c:pt>
                <c:pt idx="1119">
                  <c:v>44950</c:v>
                </c:pt>
                <c:pt idx="1120">
                  <c:v>44951</c:v>
                </c:pt>
                <c:pt idx="1121">
                  <c:v>44952</c:v>
                </c:pt>
                <c:pt idx="1122">
                  <c:v>44953</c:v>
                </c:pt>
                <c:pt idx="1123">
                  <c:v>44954</c:v>
                </c:pt>
                <c:pt idx="1124">
                  <c:v>44955</c:v>
                </c:pt>
                <c:pt idx="1125">
                  <c:v>44956</c:v>
                </c:pt>
                <c:pt idx="1126">
                  <c:v>44957</c:v>
                </c:pt>
                <c:pt idx="1127">
                  <c:v>44958</c:v>
                </c:pt>
                <c:pt idx="1128">
                  <c:v>44959</c:v>
                </c:pt>
                <c:pt idx="1129">
                  <c:v>44960</c:v>
                </c:pt>
                <c:pt idx="1130">
                  <c:v>44961</c:v>
                </c:pt>
                <c:pt idx="1131">
                  <c:v>44962</c:v>
                </c:pt>
                <c:pt idx="1132">
                  <c:v>44963</c:v>
                </c:pt>
                <c:pt idx="1133">
                  <c:v>44964</c:v>
                </c:pt>
                <c:pt idx="1134">
                  <c:v>44965</c:v>
                </c:pt>
                <c:pt idx="1135">
                  <c:v>44966</c:v>
                </c:pt>
                <c:pt idx="1136">
                  <c:v>44967</c:v>
                </c:pt>
                <c:pt idx="1137">
                  <c:v>44968</c:v>
                </c:pt>
                <c:pt idx="1138">
                  <c:v>44969</c:v>
                </c:pt>
                <c:pt idx="1139">
                  <c:v>44970</c:v>
                </c:pt>
                <c:pt idx="1140">
                  <c:v>44971</c:v>
                </c:pt>
                <c:pt idx="1141">
                  <c:v>44972</c:v>
                </c:pt>
                <c:pt idx="1142">
                  <c:v>44973</c:v>
                </c:pt>
                <c:pt idx="1143">
                  <c:v>44974</c:v>
                </c:pt>
                <c:pt idx="1144">
                  <c:v>44975</c:v>
                </c:pt>
                <c:pt idx="1145">
                  <c:v>44976</c:v>
                </c:pt>
                <c:pt idx="1146">
                  <c:v>44977</c:v>
                </c:pt>
                <c:pt idx="1147">
                  <c:v>44978</c:v>
                </c:pt>
                <c:pt idx="1148">
                  <c:v>44979</c:v>
                </c:pt>
                <c:pt idx="1149">
                  <c:v>44980</c:v>
                </c:pt>
                <c:pt idx="1150">
                  <c:v>44981</c:v>
                </c:pt>
                <c:pt idx="1151">
                  <c:v>44982</c:v>
                </c:pt>
                <c:pt idx="1152">
                  <c:v>44983</c:v>
                </c:pt>
                <c:pt idx="1153">
                  <c:v>44984</c:v>
                </c:pt>
                <c:pt idx="1154">
                  <c:v>44985</c:v>
                </c:pt>
                <c:pt idx="1155">
                  <c:v>44986</c:v>
                </c:pt>
                <c:pt idx="1156">
                  <c:v>44987</c:v>
                </c:pt>
                <c:pt idx="1157">
                  <c:v>44988</c:v>
                </c:pt>
                <c:pt idx="1158">
                  <c:v>44989</c:v>
                </c:pt>
                <c:pt idx="1159">
                  <c:v>44990</c:v>
                </c:pt>
                <c:pt idx="1160">
                  <c:v>44991</c:v>
                </c:pt>
                <c:pt idx="1161">
                  <c:v>44992</c:v>
                </c:pt>
                <c:pt idx="1162">
                  <c:v>44993</c:v>
                </c:pt>
                <c:pt idx="1163">
                  <c:v>44994</c:v>
                </c:pt>
                <c:pt idx="1164">
                  <c:v>44995</c:v>
                </c:pt>
                <c:pt idx="1165">
                  <c:v>44996</c:v>
                </c:pt>
                <c:pt idx="1166">
                  <c:v>44997</c:v>
                </c:pt>
                <c:pt idx="1167">
                  <c:v>44998</c:v>
                </c:pt>
                <c:pt idx="1168">
                  <c:v>44999</c:v>
                </c:pt>
                <c:pt idx="1169">
                  <c:v>45000</c:v>
                </c:pt>
                <c:pt idx="1170">
                  <c:v>45001</c:v>
                </c:pt>
                <c:pt idx="1171">
                  <c:v>45002</c:v>
                </c:pt>
                <c:pt idx="1172">
                  <c:v>45003</c:v>
                </c:pt>
                <c:pt idx="1173">
                  <c:v>45004</c:v>
                </c:pt>
                <c:pt idx="1174">
                  <c:v>45005</c:v>
                </c:pt>
                <c:pt idx="1175">
                  <c:v>45006</c:v>
                </c:pt>
                <c:pt idx="1176">
                  <c:v>45007</c:v>
                </c:pt>
                <c:pt idx="1177">
                  <c:v>45008</c:v>
                </c:pt>
                <c:pt idx="1178">
                  <c:v>45009</c:v>
                </c:pt>
                <c:pt idx="1179">
                  <c:v>45010</c:v>
                </c:pt>
                <c:pt idx="1180">
                  <c:v>45011</c:v>
                </c:pt>
                <c:pt idx="1181">
                  <c:v>45012</c:v>
                </c:pt>
                <c:pt idx="1182">
                  <c:v>45013</c:v>
                </c:pt>
                <c:pt idx="1183">
                  <c:v>45014</c:v>
                </c:pt>
                <c:pt idx="1184">
                  <c:v>45015</c:v>
                </c:pt>
                <c:pt idx="1185">
                  <c:v>45016</c:v>
                </c:pt>
                <c:pt idx="1186">
                  <c:v>45017</c:v>
                </c:pt>
                <c:pt idx="1187">
                  <c:v>45018</c:v>
                </c:pt>
                <c:pt idx="1188">
                  <c:v>45019</c:v>
                </c:pt>
                <c:pt idx="1189">
                  <c:v>45020</c:v>
                </c:pt>
                <c:pt idx="1190">
                  <c:v>45021</c:v>
                </c:pt>
                <c:pt idx="1191">
                  <c:v>45022</c:v>
                </c:pt>
                <c:pt idx="1192">
                  <c:v>45023</c:v>
                </c:pt>
                <c:pt idx="1193">
                  <c:v>45024</c:v>
                </c:pt>
                <c:pt idx="1194">
                  <c:v>45025</c:v>
                </c:pt>
                <c:pt idx="1195">
                  <c:v>45026</c:v>
                </c:pt>
                <c:pt idx="1196">
                  <c:v>45027</c:v>
                </c:pt>
                <c:pt idx="1197">
                  <c:v>45028</c:v>
                </c:pt>
                <c:pt idx="1198">
                  <c:v>45029</c:v>
                </c:pt>
                <c:pt idx="1199">
                  <c:v>45030</c:v>
                </c:pt>
                <c:pt idx="1200">
                  <c:v>45031</c:v>
                </c:pt>
                <c:pt idx="1201">
                  <c:v>45032</c:v>
                </c:pt>
                <c:pt idx="1202">
                  <c:v>45033</c:v>
                </c:pt>
                <c:pt idx="1203">
                  <c:v>45034</c:v>
                </c:pt>
                <c:pt idx="1204">
                  <c:v>45035</c:v>
                </c:pt>
                <c:pt idx="1205">
                  <c:v>45036</c:v>
                </c:pt>
                <c:pt idx="1206">
                  <c:v>45037</c:v>
                </c:pt>
                <c:pt idx="1207">
                  <c:v>45038</c:v>
                </c:pt>
                <c:pt idx="1208">
                  <c:v>45039</c:v>
                </c:pt>
                <c:pt idx="1209">
                  <c:v>45040</c:v>
                </c:pt>
                <c:pt idx="1210">
                  <c:v>45041</c:v>
                </c:pt>
                <c:pt idx="1211">
                  <c:v>45042</c:v>
                </c:pt>
                <c:pt idx="1212">
                  <c:v>45043</c:v>
                </c:pt>
                <c:pt idx="1213">
                  <c:v>45044</c:v>
                </c:pt>
                <c:pt idx="1214">
                  <c:v>45045</c:v>
                </c:pt>
                <c:pt idx="1215">
                  <c:v>45046</c:v>
                </c:pt>
                <c:pt idx="1216">
                  <c:v>45047</c:v>
                </c:pt>
                <c:pt idx="1217">
                  <c:v>45048</c:v>
                </c:pt>
                <c:pt idx="1218">
                  <c:v>45049</c:v>
                </c:pt>
                <c:pt idx="1219">
                  <c:v>45050</c:v>
                </c:pt>
                <c:pt idx="1220">
                  <c:v>45051</c:v>
                </c:pt>
                <c:pt idx="1221">
                  <c:v>45052</c:v>
                </c:pt>
                <c:pt idx="1222">
                  <c:v>45053</c:v>
                </c:pt>
                <c:pt idx="1223">
                  <c:v>45054</c:v>
                </c:pt>
                <c:pt idx="1224">
                  <c:v>45055</c:v>
                </c:pt>
                <c:pt idx="1225">
                  <c:v>45056</c:v>
                </c:pt>
                <c:pt idx="1226">
                  <c:v>45057</c:v>
                </c:pt>
                <c:pt idx="1227">
                  <c:v>45058</c:v>
                </c:pt>
                <c:pt idx="1228">
                  <c:v>45059</c:v>
                </c:pt>
                <c:pt idx="1229">
                  <c:v>45060</c:v>
                </c:pt>
                <c:pt idx="1230">
                  <c:v>45061</c:v>
                </c:pt>
                <c:pt idx="1231">
                  <c:v>45062</c:v>
                </c:pt>
                <c:pt idx="1232">
                  <c:v>45063</c:v>
                </c:pt>
                <c:pt idx="1233">
                  <c:v>45064</c:v>
                </c:pt>
                <c:pt idx="1234">
                  <c:v>45065</c:v>
                </c:pt>
                <c:pt idx="1235">
                  <c:v>45066</c:v>
                </c:pt>
                <c:pt idx="1236">
                  <c:v>45067</c:v>
                </c:pt>
                <c:pt idx="1237">
                  <c:v>45068</c:v>
                </c:pt>
                <c:pt idx="1238">
                  <c:v>45069</c:v>
                </c:pt>
                <c:pt idx="1239">
                  <c:v>45070</c:v>
                </c:pt>
                <c:pt idx="1240">
                  <c:v>45071</c:v>
                </c:pt>
                <c:pt idx="1241">
                  <c:v>45072</c:v>
                </c:pt>
                <c:pt idx="1242">
                  <c:v>45073</c:v>
                </c:pt>
                <c:pt idx="1243">
                  <c:v>45074</c:v>
                </c:pt>
                <c:pt idx="1244">
                  <c:v>45075</c:v>
                </c:pt>
                <c:pt idx="1245">
                  <c:v>45076</c:v>
                </c:pt>
                <c:pt idx="1246">
                  <c:v>45077</c:v>
                </c:pt>
                <c:pt idx="1247">
                  <c:v>45078</c:v>
                </c:pt>
                <c:pt idx="1248">
                  <c:v>45079</c:v>
                </c:pt>
                <c:pt idx="1249">
                  <c:v>45080</c:v>
                </c:pt>
                <c:pt idx="1250">
                  <c:v>45081</c:v>
                </c:pt>
                <c:pt idx="1251">
                  <c:v>45082</c:v>
                </c:pt>
              </c:numCache>
            </c:numRef>
          </c:cat>
          <c:val>
            <c:numRef>
              <c:f>'DK udtræk og injicering'!$G$4641:$G$5892</c:f>
              <c:numCache>
                <c:formatCode>_ * #,##0_ ;_ * \-#,##0_ ;_ * "-"??_ ;_ @_ </c:formatCode>
                <c:ptCount val="1252"/>
                <c:pt idx="0">
                  <c:v>1.296</c:v>
                </c:pt>
                <c:pt idx="1">
                  <c:v>4.3999999999999997E-2</c:v>
                </c:pt>
                <c:pt idx="2">
                  <c:v>4.7430000000000003</c:v>
                </c:pt>
                <c:pt idx="3">
                  <c:v>1.056</c:v>
                </c:pt>
                <c:pt idx="4">
                  <c:v>1.056</c:v>
                </c:pt>
                <c:pt idx="5">
                  <c:v>0.26400000000000001</c:v>
                </c:pt>
                <c:pt idx="6">
                  <c:v>1.056</c:v>
                </c:pt>
                <c:pt idx="7">
                  <c:v>1.0999999999999999E-2</c:v>
                </c:pt>
                <c:pt idx="8">
                  <c:v>5.5309999999999997</c:v>
                </c:pt>
                <c:pt idx="9">
                  <c:v>8.1940000000000008</c:v>
                </c:pt>
                <c:pt idx="10">
                  <c:v>1.2</c:v>
                </c:pt>
                <c:pt idx="11">
                  <c:v>0.308</c:v>
                </c:pt>
                <c:pt idx="12">
                  <c:v>0</c:v>
                </c:pt>
                <c:pt idx="13">
                  <c:v>2.044</c:v>
                </c:pt>
                <c:pt idx="14">
                  <c:v>5.9589999999999996</c:v>
                </c:pt>
                <c:pt idx="15">
                  <c:v>0.13200000000000001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.7</c:v>
                </c:pt>
                <c:pt idx="20">
                  <c:v>1.87</c:v>
                </c:pt>
                <c:pt idx="21">
                  <c:v>0</c:v>
                </c:pt>
                <c:pt idx="22">
                  <c:v>0</c:v>
                </c:pt>
                <c:pt idx="23">
                  <c:v>0.26400000000000001</c:v>
                </c:pt>
                <c:pt idx="24">
                  <c:v>3.278</c:v>
                </c:pt>
                <c:pt idx="25">
                  <c:v>4.992</c:v>
                </c:pt>
                <c:pt idx="26">
                  <c:v>2.4830000000000001</c:v>
                </c:pt>
                <c:pt idx="27">
                  <c:v>6.7619999999999996</c:v>
                </c:pt>
                <c:pt idx="28">
                  <c:v>0.17599999999999999</c:v>
                </c:pt>
                <c:pt idx="29">
                  <c:v>0</c:v>
                </c:pt>
                <c:pt idx="30">
                  <c:v>0.41799999999999998</c:v>
                </c:pt>
                <c:pt idx="31">
                  <c:v>10.803000000000001</c:v>
                </c:pt>
                <c:pt idx="32">
                  <c:v>9.923</c:v>
                </c:pt>
                <c:pt idx="33">
                  <c:v>6.1449999999999996</c:v>
                </c:pt>
                <c:pt idx="34">
                  <c:v>3.278</c:v>
                </c:pt>
                <c:pt idx="35">
                  <c:v>0.48399999999999999</c:v>
                </c:pt>
                <c:pt idx="36">
                  <c:v>4.3999999999999997E-2</c:v>
                </c:pt>
                <c:pt idx="37">
                  <c:v>1.639</c:v>
                </c:pt>
                <c:pt idx="38">
                  <c:v>0.08</c:v>
                </c:pt>
                <c:pt idx="39">
                  <c:v>1.056</c:v>
                </c:pt>
                <c:pt idx="40">
                  <c:v>0.26400000000000001</c:v>
                </c:pt>
                <c:pt idx="41">
                  <c:v>3.0880000000000001</c:v>
                </c:pt>
                <c:pt idx="42">
                  <c:v>2.048</c:v>
                </c:pt>
                <c:pt idx="43">
                  <c:v>0</c:v>
                </c:pt>
                <c:pt idx="44">
                  <c:v>2.4580000000000002</c:v>
                </c:pt>
                <c:pt idx="45">
                  <c:v>9.1620000000000008</c:v>
                </c:pt>
                <c:pt idx="46">
                  <c:v>15.409000000000001</c:v>
                </c:pt>
                <c:pt idx="47">
                  <c:v>2.1139999999999999</c:v>
                </c:pt>
                <c:pt idx="48">
                  <c:v>1.026</c:v>
                </c:pt>
                <c:pt idx="49">
                  <c:v>2.5</c:v>
                </c:pt>
                <c:pt idx="50">
                  <c:v>0.57599999999999996</c:v>
                </c:pt>
                <c:pt idx="51">
                  <c:v>14.972</c:v>
                </c:pt>
                <c:pt idx="52">
                  <c:v>20.509</c:v>
                </c:pt>
                <c:pt idx="53">
                  <c:v>14.978999999999999</c:v>
                </c:pt>
                <c:pt idx="54">
                  <c:v>13.284000000000001</c:v>
                </c:pt>
                <c:pt idx="55">
                  <c:v>13.092000000000001</c:v>
                </c:pt>
                <c:pt idx="56">
                  <c:v>12.432</c:v>
                </c:pt>
                <c:pt idx="57">
                  <c:v>12.432</c:v>
                </c:pt>
                <c:pt idx="58">
                  <c:v>12.432</c:v>
                </c:pt>
                <c:pt idx="59">
                  <c:v>7.7759999999999998</c:v>
                </c:pt>
                <c:pt idx="60">
                  <c:v>13.829000000000001</c:v>
                </c:pt>
                <c:pt idx="61">
                  <c:v>7.0289999999999999</c:v>
                </c:pt>
                <c:pt idx="62">
                  <c:v>5.0350000000000001</c:v>
                </c:pt>
                <c:pt idx="63">
                  <c:v>6.968</c:v>
                </c:pt>
                <c:pt idx="64">
                  <c:v>11.962999999999999</c:v>
                </c:pt>
                <c:pt idx="65">
                  <c:v>3.968</c:v>
                </c:pt>
                <c:pt idx="66">
                  <c:v>3.3570000000000002</c:v>
                </c:pt>
                <c:pt idx="67">
                  <c:v>14.568</c:v>
                </c:pt>
                <c:pt idx="68">
                  <c:v>2.16</c:v>
                </c:pt>
                <c:pt idx="69">
                  <c:v>9.19</c:v>
                </c:pt>
                <c:pt idx="70">
                  <c:v>14.278</c:v>
                </c:pt>
                <c:pt idx="71">
                  <c:v>8.5860000000000003</c:v>
                </c:pt>
                <c:pt idx="72">
                  <c:v>4.008</c:v>
                </c:pt>
                <c:pt idx="73">
                  <c:v>6.351</c:v>
                </c:pt>
                <c:pt idx="74">
                  <c:v>5.6239999999999997</c:v>
                </c:pt>
                <c:pt idx="75">
                  <c:v>9.8810000000000002</c:v>
                </c:pt>
                <c:pt idx="76">
                  <c:v>9.83</c:v>
                </c:pt>
                <c:pt idx="77">
                  <c:v>2.16</c:v>
                </c:pt>
                <c:pt idx="78">
                  <c:v>8.9849999999999994</c:v>
                </c:pt>
                <c:pt idx="79">
                  <c:v>4.4459999999999997</c:v>
                </c:pt>
                <c:pt idx="80">
                  <c:v>13.385</c:v>
                </c:pt>
                <c:pt idx="81">
                  <c:v>13.792</c:v>
                </c:pt>
                <c:pt idx="82">
                  <c:v>3.04</c:v>
                </c:pt>
                <c:pt idx="83">
                  <c:v>5.1779999999999999</c:v>
                </c:pt>
                <c:pt idx="84">
                  <c:v>3.4319999999999999</c:v>
                </c:pt>
                <c:pt idx="85">
                  <c:v>2.31</c:v>
                </c:pt>
                <c:pt idx="86">
                  <c:v>2.31</c:v>
                </c:pt>
                <c:pt idx="87">
                  <c:v>10.513</c:v>
                </c:pt>
                <c:pt idx="88">
                  <c:v>2.4860000000000002</c:v>
                </c:pt>
                <c:pt idx="89">
                  <c:v>2.31</c:v>
                </c:pt>
                <c:pt idx="90">
                  <c:v>3.9489999999999998</c:v>
                </c:pt>
                <c:pt idx="91">
                  <c:v>8.1479999999999997</c:v>
                </c:pt>
                <c:pt idx="92">
                  <c:v>9.8040000000000003</c:v>
                </c:pt>
                <c:pt idx="93">
                  <c:v>5.0880000000000001</c:v>
                </c:pt>
                <c:pt idx="94">
                  <c:v>5.6459999999999999</c:v>
                </c:pt>
                <c:pt idx="95">
                  <c:v>11.169</c:v>
                </c:pt>
                <c:pt idx="96">
                  <c:v>11.387</c:v>
                </c:pt>
                <c:pt idx="97">
                  <c:v>14.241</c:v>
                </c:pt>
                <c:pt idx="98">
                  <c:v>12.943</c:v>
                </c:pt>
                <c:pt idx="99">
                  <c:v>15.571999999999999</c:v>
                </c:pt>
                <c:pt idx="100">
                  <c:v>13.374000000000001</c:v>
                </c:pt>
                <c:pt idx="101">
                  <c:v>11.959</c:v>
                </c:pt>
                <c:pt idx="102">
                  <c:v>14.929</c:v>
                </c:pt>
                <c:pt idx="103">
                  <c:v>13.146000000000001</c:v>
                </c:pt>
                <c:pt idx="104">
                  <c:v>3.8439999999999999</c:v>
                </c:pt>
                <c:pt idx="105">
                  <c:v>11.286</c:v>
                </c:pt>
                <c:pt idx="106">
                  <c:v>9.5419999999999998</c:v>
                </c:pt>
                <c:pt idx="107">
                  <c:v>6.63</c:v>
                </c:pt>
                <c:pt idx="108">
                  <c:v>21.032</c:v>
                </c:pt>
                <c:pt idx="109">
                  <c:v>21.501999999999999</c:v>
                </c:pt>
                <c:pt idx="110">
                  <c:v>8.6280000000000001</c:v>
                </c:pt>
                <c:pt idx="111">
                  <c:v>20.032</c:v>
                </c:pt>
                <c:pt idx="112">
                  <c:v>20.417000000000002</c:v>
                </c:pt>
                <c:pt idx="113">
                  <c:v>20.129000000000001</c:v>
                </c:pt>
                <c:pt idx="114">
                  <c:v>22.715</c:v>
                </c:pt>
                <c:pt idx="115">
                  <c:v>35.679000000000002</c:v>
                </c:pt>
                <c:pt idx="116">
                  <c:v>34.405999999999999</c:v>
                </c:pt>
                <c:pt idx="117">
                  <c:v>11.31</c:v>
                </c:pt>
                <c:pt idx="118">
                  <c:v>8.5719999999999992</c:v>
                </c:pt>
                <c:pt idx="119">
                  <c:v>7.74</c:v>
                </c:pt>
                <c:pt idx="120">
                  <c:v>5.46</c:v>
                </c:pt>
                <c:pt idx="121">
                  <c:v>8.3119999999999994</c:v>
                </c:pt>
                <c:pt idx="122">
                  <c:v>24.173999999999999</c:v>
                </c:pt>
                <c:pt idx="123">
                  <c:v>24.286999999999999</c:v>
                </c:pt>
                <c:pt idx="124">
                  <c:v>20.189</c:v>
                </c:pt>
                <c:pt idx="125">
                  <c:v>9.8680000000000003</c:v>
                </c:pt>
                <c:pt idx="126">
                  <c:v>14.118</c:v>
                </c:pt>
                <c:pt idx="127">
                  <c:v>14.872</c:v>
                </c:pt>
                <c:pt idx="128">
                  <c:v>28.510999999999999</c:v>
                </c:pt>
                <c:pt idx="129">
                  <c:v>33.792000000000002</c:v>
                </c:pt>
                <c:pt idx="130">
                  <c:v>37.808999999999997</c:v>
                </c:pt>
                <c:pt idx="131">
                  <c:v>23.266999999999999</c:v>
                </c:pt>
                <c:pt idx="132">
                  <c:v>12.395</c:v>
                </c:pt>
                <c:pt idx="133">
                  <c:v>16.658000000000001</c:v>
                </c:pt>
                <c:pt idx="134">
                  <c:v>13.302</c:v>
                </c:pt>
                <c:pt idx="135">
                  <c:v>17.873999999999999</c:v>
                </c:pt>
                <c:pt idx="136">
                  <c:v>24.971</c:v>
                </c:pt>
                <c:pt idx="137">
                  <c:v>25.728999999999999</c:v>
                </c:pt>
                <c:pt idx="138">
                  <c:v>17.73</c:v>
                </c:pt>
                <c:pt idx="139">
                  <c:v>15.263999999999999</c:v>
                </c:pt>
                <c:pt idx="140">
                  <c:v>14.324</c:v>
                </c:pt>
                <c:pt idx="141">
                  <c:v>24.460999999999999</c:v>
                </c:pt>
                <c:pt idx="142">
                  <c:v>29.774000000000001</c:v>
                </c:pt>
                <c:pt idx="143">
                  <c:v>31.196000000000002</c:v>
                </c:pt>
                <c:pt idx="144">
                  <c:v>29.021999999999998</c:v>
                </c:pt>
                <c:pt idx="145">
                  <c:v>11.840999999999999</c:v>
                </c:pt>
                <c:pt idx="146">
                  <c:v>9.0069999999999997</c:v>
                </c:pt>
                <c:pt idx="147">
                  <c:v>17.407</c:v>
                </c:pt>
                <c:pt idx="148">
                  <c:v>17.524000000000001</c:v>
                </c:pt>
                <c:pt idx="149">
                  <c:v>23.131</c:v>
                </c:pt>
                <c:pt idx="150">
                  <c:v>35.020000000000003</c:v>
                </c:pt>
                <c:pt idx="151">
                  <c:v>35.511000000000003</c:v>
                </c:pt>
                <c:pt idx="152">
                  <c:v>29.861000000000001</c:v>
                </c:pt>
                <c:pt idx="153">
                  <c:v>32.270000000000003</c:v>
                </c:pt>
                <c:pt idx="154">
                  <c:v>23.161000000000001</c:v>
                </c:pt>
                <c:pt idx="155">
                  <c:v>36.383000000000003</c:v>
                </c:pt>
                <c:pt idx="156">
                  <c:v>34.932000000000002</c:v>
                </c:pt>
                <c:pt idx="157">
                  <c:v>27.151</c:v>
                </c:pt>
                <c:pt idx="158">
                  <c:v>24.469000000000001</c:v>
                </c:pt>
                <c:pt idx="159">
                  <c:v>15.573</c:v>
                </c:pt>
                <c:pt idx="160">
                  <c:v>22.308</c:v>
                </c:pt>
                <c:pt idx="161">
                  <c:v>10.413</c:v>
                </c:pt>
                <c:pt idx="162">
                  <c:v>15.803000000000001</c:v>
                </c:pt>
                <c:pt idx="163">
                  <c:v>21.834</c:v>
                </c:pt>
                <c:pt idx="164">
                  <c:v>38.414000000000001</c:v>
                </c:pt>
                <c:pt idx="165">
                  <c:v>36.539000000000001</c:v>
                </c:pt>
                <c:pt idx="166">
                  <c:v>28.242999999999999</c:v>
                </c:pt>
                <c:pt idx="167">
                  <c:v>23.146000000000001</c:v>
                </c:pt>
                <c:pt idx="168">
                  <c:v>26.271000000000001</c:v>
                </c:pt>
                <c:pt idx="169">
                  <c:v>30.353999999999999</c:v>
                </c:pt>
                <c:pt idx="170">
                  <c:v>33.500999999999998</c:v>
                </c:pt>
                <c:pt idx="171">
                  <c:v>39.97</c:v>
                </c:pt>
                <c:pt idx="172">
                  <c:v>36.819000000000003</c:v>
                </c:pt>
                <c:pt idx="173">
                  <c:v>27.396000000000001</c:v>
                </c:pt>
                <c:pt idx="174">
                  <c:v>22.26</c:v>
                </c:pt>
                <c:pt idx="175">
                  <c:v>35.472999999999999</c:v>
                </c:pt>
                <c:pt idx="176">
                  <c:v>26.684000000000001</c:v>
                </c:pt>
                <c:pt idx="177">
                  <c:v>33.686999999999998</c:v>
                </c:pt>
                <c:pt idx="178">
                  <c:v>56.850999999999999</c:v>
                </c:pt>
                <c:pt idx="179">
                  <c:v>56.481000000000002</c:v>
                </c:pt>
                <c:pt idx="180">
                  <c:v>39.067</c:v>
                </c:pt>
                <c:pt idx="181">
                  <c:v>38.973999999999997</c:v>
                </c:pt>
                <c:pt idx="182">
                  <c:v>35.146000000000001</c:v>
                </c:pt>
                <c:pt idx="183">
                  <c:v>25.236999999999998</c:v>
                </c:pt>
                <c:pt idx="184">
                  <c:v>36.575000000000003</c:v>
                </c:pt>
                <c:pt idx="185">
                  <c:v>52.735999999999997</c:v>
                </c:pt>
                <c:pt idx="186">
                  <c:v>52.792000000000002</c:v>
                </c:pt>
                <c:pt idx="187">
                  <c:v>40.578000000000003</c:v>
                </c:pt>
                <c:pt idx="188">
                  <c:v>39.365000000000002</c:v>
                </c:pt>
                <c:pt idx="189">
                  <c:v>40.28</c:v>
                </c:pt>
                <c:pt idx="190">
                  <c:v>40.521999999999998</c:v>
                </c:pt>
                <c:pt idx="191">
                  <c:v>36.401000000000003</c:v>
                </c:pt>
                <c:pt idx="192">
                  <c:v>52.570999999999998</c:v>
                </c:pt>
                <c:pt idx="193">
                  <c:v>52.805999999999997</c:v>
                </c:pt>
                <c:pt idx="194">
                  <c:v>47.252000000000002</c:v>
                </c:pt>
                <c:pt idx="195">
                  <c:v>53.984000000000002</c:v>
                </c:pt>
                <c:pt idx="196">
                  <c:v>48.634999999999998</c:v>
                </c:pt>
                <c:pt idx="197">
                  <c:v>43.161999999999999</c:v>
                </c:pt>
                <c:pt idx="198">
                  <c:v>40.122</c:v>
                </c:pt>
                <c:pt idx="199">
                  <c:v>49.234999999999999</c:v>
                </c:pt>
                <c:pt idx="200">
                  <c:v>49.994999999999997</c:v>
                </c:pt>
                <c:pt idx="201">
                  <c:v>43.137</c:v>
                </c:pt>
                <c:pt idx="202">
                  <c:v>49.491</c:v>
                </c:pt>
                <c:pt idx="203">
                  <c:v>39.636000000000003</c:v>
                </c:pt>
                <c:pt idx="204">
                  <c:v>40.247</c:v>
                </c:pt>
                <c:pt idx="205">
                  <c:v>38.097000000000001</c:v>
                </c:pt>
                <c:pt idx="206">
                  <c:v>47.259</c:v>
                </c:pt>
                <c:pt idx="207">
                  <c:v>46.484000000000002</c:v>
                </c:pt>
                <c:pt idx="208">
                  <c:v>39.402999999999999</c:v>
                </c:pt>
                <c:pt idx="209">
                  <c:v>39.198999999999998</c:v>
                </c:pt>
                <c:pt idx="210">
                  <c:v>41.573999999999998</c:v>
                </c:pt>
                <c:pt idx="211">
                  <c:v>38.023000000000003</c:v>
                </c:pt>
                <c:pt idx="212">
                  <c:v>36.613999999999997</c:v>
                </c:pt>
                <c:pt idx="213">
                  <c:v>40.234999999999999</c:v>
                </c:pt>
                <c:pt idx="214">
                  <c:v>53.051000000000002</c:v>
                </c:pt>
                <c:pt idx="215">
                  <c:v>38.975000000000001</c:v>
                </c:pt>
                <c:pt idx="216">
                  <c:v>38.588000000000001</c:v>
                </c:pt>
                <c:pt idx="217">
                  <c:v>35.296999999999997</c:v>
                </c:pt>
                <c:pt idx="218">
                  <c:v>35.954999999999998</c:v>
                </c:pt>
                <c:pt idx="219">
                  <c:v>38.216000000000001</c:v>
                </c:pt>
                <c:pt idx="220">
                  <c:v>39.506</c:v>
                </c:pt>
                <c:pt idx="221">
                  <c:v>39.621000000000002</c:v>
                </c:pt>
                <c:pt idx="222">
                  <c:v>28.405000000000001</c:v>
                </c:pt>
                <c:pt idx="223">
                  <c:v>34.93</c:v>
                </c:pt>
                <c:pt idx="224">
                  <c:v>25.988</c:v>
                </c:pt>
                <c:pt idx="225">
                  <c:v>29.222000000000001</c:v>
                </c:pt>
                <c:pt idx="226">
                  <c:v>28.443000000000001</c:v>
                </c:pt>
                <c:pt idx="227">
                  <c:v>28.584</c:v>
                </c:pt>
                <c:pt idx="228">
                  <c:v>29.459</c:v>
                </c:pt>
                <c:pt idx="229">
                  <c:v>28.588000000000001</c:v>
                </c:pt>
                <c:pt idx="230">
                  <c:v>27.859000000000002</c:v>
                </c:pt>
                <c:pt idx="231">
                  <c:v>26.555</c:v>
                </c:pt>
                <c:pt idx="232">
                  <c:v>32.515000000000001</c:v>
                </c:pt>
                <c:pt idx="233">
                  <c:v>26.245000000000001</c:v>
                </c:pt>
                <c:pt idx="234">
                  <c:v>33.170999999999999</c:v>
                </c:pt>
                <c:pt idx="235">
                  <c:v>35.01</c:v>
                </c:pt>
                <c:pt idx="236">
                  <c:v>26.384</c:v>
                </c:pt>
                <c:pt idx="237">
                  <c:v>15.749000000000001</c:v>
                </c:pt>
                <c:pt idx="238">
                  <c:v>21.667000000000002</c:v>
                </c:pt>
                <c:pt idx="239">
                  <c:v>19.934999999999999</c:v>
                </c:pt>
                <c:pt idx="240">
                  <c:v>24.452999999999999</c:v>
                </c:pt>
                <c:pt idx="241">
                  <c:v>31.155999999999999</c:v>
                </c:pt>
                <c:pt idx="242">
                  <c:v>30.414999999999999</c:v>
                </c:pt>
                <c:pt idx="243">
                  <c:v>16.204000000000001</c:v>
                </c:pt>
                <c:pt idx="244">
                  <c:v>4.452</c:v>
                </c:pt>
                <c:pt idx="245">
                  <c:v>2.758</c:v>
                </c:pt>
                <c:pt idx="246">
                  <c:v>4.7649999999999997</c:v>
                </c:pt>
                <c:pt idx="247">
                  <c:v>4.1520000000000001</c:v>
                </c:pt>
                <c:pt idx="248">
                  <c:v>11.318</c:v>
                </c:pt>
                <c:pt idx="249">
                  <c:v>5.976</c:v>
                </c:pt>
                <c:pt idx="250">
                  <c:v>3.2879999999999998</c:v>
                </c:pt>
                <c:pt idx="251">
                  <c:v>4.4880000000000004</c:v>
                </c:pt>
                <c:pt idx="252">
                  <c:v>9.3360000000000003</c:v>
                </c:pt>
                <c:pt idx="253">
                  <c:v>4.4400000000000004</c:v>
                </c:pt>
                <c:pt idx="254">
                  <c:v>5.976</c:v>
                </c:pt>
                <c:pt idx="255">
                  <c:v>14.23</c:v>
                </c:pt>
                <c:pt idx="256">
                  <c:v>25.4</c:v>
                </c:pt>
                <c:pt idx="257">
                  <c:v>10.958</c:v>
                </c:pt>
                <c:pt idx="258">
                  <c:v>6.4080000000000004</c:v>
                </c:pt>
                <c:pt idx="259">
                  <c:v>8.4700000000000006</c:v>
                </c:pt>
                <c:pt idx="260">
                  <c:v>4.3609999999999998</c:v>
                </c:pt>
                <c:pt idx="261">
                  <c:v>5.8559999999999999</c:v>
                </c:pt>
                <c:pt idx="262">
                  <c:v>10.92</c:v>
                </c:pt>
                <c:pt idx="263">
                  <c:v>10.92</c:v>
                </c:pt>
                <c:pt idx="264">
                  <c:v>8.8149999999999995</c:v>
                </c:pt>
                <c:pt idx="265">
                  <c:v>5.8559999999999999</c:v>
                </c:pt>
                <c:pt idx="266">
                  <c:v>13.269</c:v>
                </c:pt>
                <c:pt idx="267">
                  <c:v>11.515000000000001</c:v>
                </c:pt>
                <c:pt idx="268">
                  <c:v>6.085</c:v>
                </c:pt>
                <c:pt idx="269">
                  <c:v>18.811</c:v>
                </c:pt>
                <c:pt idx="270">
                  <c:v>20.556000000000001</c:v>
                </c:pt>
                <c:pt idx="271">
                  <c:v>11.195</c:v>
                </c:pt>
                <c:pt idx="272">
                  <c:v>5.2320000000000002</c:v>
                </c:pt>
                <c:pt idx="273">
                  <c:v>4.32</c:v>
                </c:pt>
                <c:pt idx="274">
                  <c:v>8.2940000000000005</c:v>
                </c:pt>
                <c:pt idx="275">
                  <c:v>4.3079999999999998</c:v>
                </c:pt>
                <c:pt idx="276">
                  <c:v>21.084</c:v>
                </c:pt>
                <c:pt idx="277">
                  <c:v>18.058</c:v>
                </c:pt>
                <c:pt idx="278">
                  <c:v>7.54</c:v>
                </c:pt>
                <c:pt idx="279">
                  <c:v>5.1859999999999999</c:v>
                </c:pt>
                <c:pt idx="280">
                  <c:v>7.0810000000000004</c:v>
                </c:pt>
                <c:pt idx="281">
                  <c:v>8.3889999999999993</c:v>
                </c:pt>
                <c:pt idx="282">
                  <c:v>10.901999999999999</c:v>
                </c:pt>
                <c:pt idx="283">
                  <c:v>23.401</c:v>
                </c:pt>
                <c:pt idx="284">
                  <c:v>19.064</c:v>
                </c:pt>
                <c:pt idx="285">
                  <c:v>4.9619999999999997</c:v>
                </c:pt>
                <c:pt idx="286">
                  <c:v>5.1660000000000004</c:v>
                </c:pt>
                <c:pt idx="287">
                  <c:v>9.2629999999999999</c:v>
                </c:pt>
                <c:pt idx="288">
                  <c:v>0</c:v>
                </c:pt>
                <c:pt idx="289">
                  <c:v>0.499</c:v>
                </c:pt>
                <c:pt idx="290">
                  <c:v>9.1850000000000005</c:v>
                </c:pt>
                <c:pt idx="291">
                  <c:v>11.38</c:v>
                </c:pt>
                <c:pt idx="292">
                  <c:v>0</c:v>
                </c:pt>
                <c:pt idx="293">
                  <c:v>0</c:v>
                </c:pt>
                <c:pt idx="294">
                  <c:v>0.81200000000000006</c:v>
                </c:pt>
                <c:pt idx="295">
                  <c:v>5.218</c:v>
                </c:pt>
                <c:pt idx="296">
                  <c:v>1.2110000000000001</c:v>
                </c:pt>
                <c:pt idx="297">
                  <c:v>17.282</c:v>
                </c:pt>
                <c:pt idx="298">
                  <c:v>14.805999999999999</c:v>
                </c:pt>
                <c:pt idx="299">
                  <c:v>6.9820000000000002</c:v>
                </c:pt>
                <c:pt idx="300">
                  <c:v>7.601</c:v>
                </c:pt>
                <c:pt idx="301">
                  <c:v>0</c:v>
                </c:pt>
                <c:pt idx="302">
                  <c:v>1.8839999999999999</c:v>
                </c:pt>
                <c:pt idx="303">
                  <c:v>1.6919999999999999</c:v>
                </c:pt>
                <c:pt idx="304">
                  <c:v>16.327999999999999</c:v>
                </c:pt>
                <c:pt idx="305">
                  <c:v>25.54</c:v>
                </c:pt>
                <c:pt idx="306">
                  <c:v>15.006</c:v>
                </c:pt>
                <c:pt idx="307">
                  <c:v>3.3260000000000001</c:v>
                </c:pt>
                <c:pt idx="308">
                  <c:v>1.3919999999999999</c:v>
                </c:pt>
                <c:pt idx="309">
                  <c:v>0</c:v>
                </c:pt>
                <c:pt idx="310">
                  <c:v>7.1999999999999995E-2</c:v>
                </c:pt>
                <c:pt idx="311">
                  <c:v>14.214</c:v>
                </c:pt>
                <c:pt idx="312">
                  <c:v>7.0190000000000001</c:v>
                </c:pt>
                <c:pt idx="313">
                  <c:v>1.8959999999999999</c:v>
                </c:pt>
                <c:pt idx="314">
                  <c:v>1.0629999999999999</c:v>
                </c:pt>
                <c:pt idx="315">
                  <c:v>1.3360000000000001</c:v>
                </c:pt>
                <c:pt idx="316">
                  <c:v>1.079</c:v>
                </c:pt>
                <c:pt idx="317">
                  <c:v>4.944</c:v>
                </c:pt>
                <c:pt idx="318">
                  <c:v>8.6029999999999998</c:v>
                </c:pt>
                <c:pt idx="319">
                  <c:v>18.239000000000001</c:v>
                </c:pt>
                <c:pt idx="320">
                  <c:v>7.085</c:v>
                </c:pt>
                <c:pt idx="321">
                  <c:v>1.056</c:v>
                </c:pt>
                <c:pt idx="322">
                  <c:v>11.826000000000001</c:v>
                </c:pt>
                <c:pt idx="323">
                  <c:v>1.581</c:v>
                </c:pt>
                <c:pt idx="324">
                  <c:v>1.3680000000000001</c:v>
                </c:pt>
                <c:pt idx="325">
                  <c:v>5.54</c:v>
                </c:pt>
                <c:pt idx="326">
                  <c:v>7.26</c:v>
                </c:pt>
                <c:pt idx="327">
                  <c:v>12.936</c:v>
                </c:pt>
                <c:pt idx="328">
                  <c:v>2.2650000000000001</c:v>
                </c:pt>
                <c:pt idx="329">
                  <c:v>0.59199999999999997</c:v>
                </c:pt>
                <c:pt idx="330">
                  <c:v>0</c:v>
                </c:pt>
                <c:pt idx="331">
                  <c:v>2.7930000000000001</c:v>
                </c:pt>
                <c:pt idx="332">
                  <c:v>0</c:v>
                </c:pt>
                <c:pt idx="333">
                  <c:v>0</c:v>
                </c:pt>
                <c:pt idx="334">
                  <c:v>1.7010000000000001</c:v>
                </c:pt>
                <c:pt idx="335">
                  <c:v>0.52200000000000002</c:v>
                </c:pt>
                <c:pt idx="336">
                  <c:v>0</c:v>
                </c:pt>
                <c:pt idx="337">
                  <c:v>0.23499999999999999</c:v>
                </c:pt>
                <c:pt idx="338">
                  <c:v>0.05</c:v>
                </c:pt>
                <c:pt idx="339">
                  <c:v>5.4029999999999996</c:v>
                </c:pt>
                <c:pt idx="340">
                  <c:v>6.5049999999999999</c:v>
                </c:pt>
                <c:pt idx="341">
                  <c:v>15.175000000000001</c:v>
                </c:pt>
                <c:pt idx="342">
                  <c:v>0</c:v>
                </c:pt>
                <c:pt idx="343">
                  <c:v>0</c:v>
                </c:pt>
                <c:pt idx="344">
                  <c:v>0</c:v>
                </c:pt>
                <c:pt idx="345">
                  <c:v>1.2669999999999999</c:v>
                </c:pt>
                <c:pt idx="346">
                  <c:v>10.749000000000001</c:v>
                </c:pt>
                <c:pt idx="347">
                  <c:v>7.66</c:v>
                </c:pt>
                <c:pt idx="348">
                  <c:v>13.621</c:v>
                </c:pt>
                <c:pt idx="349">
                  <c:v>6.6349999999999998</c:v>
                </c:pt>
                <c:pt idx="350">
                  <c:v>4.2</c:v>
                </c:pt>
                <c:pt idx="351">
                  <c:v>2.7839999999999998</c:v>
                </c:pt>
                <c:pt idx="352">
                  <c:v>6.1230000000000002</c:v>
                </c:pt>
                <c:pt idx="353">
                  <c:v>9.9459999999999997</c:v>
                </c:pt>
                <c:pt idx="354">
                  <c:v>8.5510000000000002</c:v>
                </c:pt>
                <c:pt idx="355">
                  <c:v>6.867</c:v>
                </c:pt>
                <c:pt idx="356">
                  <c:v>6.2949999999999999</c:v>
                </c:pt>
                <c:pt idx="357">
                  <c:v>1.115</c:v>
                </c:pt>
                <c:pt idx="358">
                  <c:v>7.0430000000000001</c:v>
                </c:pt>
                <c:pt idx="359">
                  <c:v>2.6440000000000001</c:v>
                </c:pt>
                <c:pt idx="360">
                  <c:v>5.4180000000000001</c:v>
                </c:pt>
                <c:pt idx="361">
                  <c:v>3.5139999999999998</c:v>
                </c:pt>
                <c:pt idx="362">
                  <c:v>4.2859999999999996</c:v>
                </c:pt>
                <c:pt idx="363">
                  <c:v>0</c:v>
                </c:pt>
                <c:pt idx="364">
                  <c:v>13.037000000000001</c:v>
                </c:pt>
                <c:pt idx="365">
                  <c:v>3.3759999999999999</c:v>
                </c:pt>
                <c:pt idx="366">
                  <c:v>15.031000000000001</c:v>
                </c:pt>
                <c:pt idx="367">
                  <c:v>1.8360000000000001</c:v>
                </c:pt>
                <c:pt idx="368">
                  <c:v>8.5489999999999995</c:v>
                </c:pt>
                <c:pt idx="369">
                  <c:v>2.8540000000000001</c:v>
                </c:pt>
                <c:pt idx="370">
                  <c:v>0.75600000000000001</c:v>
                </c:pt>
                <c:pt idx="371">
                  <c:v>1.476</c:v>
                </c:pt>
                <c:pt idx="372">
                  <c:v>0.115</c:v>
                </c:pt>
                <c:pt idx="373">
                  <c:v>0</c:v>
                </c:pt>
                <c:pt idx="374">
                  <c:v>0.108</c:v>
                </c:pt>
                <c:pt idx="375">
                  <c:v>1.2E-2</c:v>
                </c:pt>
                <c:pt idx="376">
                  <c:v>0</c:v>
                </c:pt>
                <c:pt idx="377">
                  <c:v>4.8330000000000002</c:v>
                </c:pt>
                <c:pt idx="378">
                  <c:v>0</c:v>
                </c:pt>
                <c:pt idx="379">
                  <c:v>0</c:v>
                </c:pt>
                <c:pt idx="380">
                  <c:v>0</c:v>
                </c:pt>
                <c:pt idx="381">
                  <c:v>0</c:v>
                </c:pt>
                <c:pt idx="382">
                  <c:v>0</c:v>
                </c:pt>
                <c:pt idx="383">
                  <c:v>0</c:v>
                </c:pt>
                <c:pt idx="384">
                  <c:v>1.81</c:v>
                </c:pt>
                <c:pt idx="385">
                  <c:v>7.22</c:v>
                </c:pt>
                <c:pt idx="386">
                  <c:v>5.7779999999999996</c:v>
                </c:pt>
                <c:pt idx="387">
                  <c:v>9.9019999999999992</c:v>
                </c:pt>
                <c:pt idx="388">
                  <c:v>3.653</c:v>
                </c:pt>
                <c:pt idx="389">
                  <c:v>4.5720000000000001</c:v>
                </c:pt>
                <c:pt idx="390">
                  <c:v>0.38</c:v>
                </c:pt>
                <c:pt idx="391">
                  <c:v>0</c:v>
                </c:pt>
                <c:pt idx="392">
                  <c:v>0.22900000000000001</c:v>
                </c:pt>
                <c:pt idx="393">
                  <c:v>3</c:v>
                </c:pt>
                <c:pt idx="394">
                  <c:v>0</c:v>
                </c:pt>
                <c:pt idx="395">
                  <c:v>0</c:v>
                </c:pt>
                <c:pt idx="396">
                  <c:v>0</c:v>
                </c:pt>
                <c:pt idx="397">
                  <c:v>0</c:v>
                </c:pt>
                <c:pt idx="398">
                  <c:v>0</c:v>
                </c:pt>
                <c:pt idx="399">
                  <c:v>0</c:v>
                </c:pt>
                <c:pt idx="400">
                  <c:v>0</c:v>
                </c:pt>
                <c:pt idx="401">
                  <c:v>0</c:v>
                </c:pt>
                <c:pt idx="402">
                  <c:v>1.18</c:v>
                </c:pt>
                <c:pt idx="403">
                  <c:v>0.95699999999999996</c:v>
                </c:pt>
                <c:pt idx="404">
                  <c:v>0</c:v>
                </c:pt>
                <c:pt idx="405">
                  <c:v>0</c:v>
                </c:pt>
                <c:pt idx="406">
                  <c:v>0</c:v>
                </c:pt>
                <c:pt idx="407">
                  <c:v>0</c:v>
                </c:pt>
                <c:pt idx="408">
                  <c:v>1.026</c:v>
                </c:pt>
                <c:pt idx="409">
                  <c:v>0</c:v>
                </c:pt>
                <c:pt idx="410">
                  <c:v>0</c:v>
                </c:pt>
                <c:pt idx="411">
                  <c:v>7.7919999999999998</c:v>
                </c:pt>
                <c:pt idx="412">
                  <c:v>0</c:v>
                </c:pt>
                <c:pt idx="413">
                  <c:v>0.86399999999999999</c:v>
                </c:pt>
                <c:pt idx="414">
                  <c:v>8.1709999999999994</c:v>
                </c:pt>
                <c:pt idx="415">
                  <c:v>0</c:v>
                </c:pt>
                <c:pt idx="416">
                  <c:v>10.548</c:v>
                </c:pt>
                <c:pt idx="417">
                  <c:v>19.123999999999999</c:v>
                </c:pt>
                <c:pt idx="418">
                  <c:v>0</c:v>
                </c:pt>
                <c:pt idx="419">
                  <c:v>8.16</c:v>
                </c:pt>
                <c:pt idx="420">
                  <c:v>17.34</c:v>
                </c:pt>
                <c:pt idx="421">
                  <c:v>4.3319999999999999</c:v>
                </c:pt>
                <c:pt idx="422">
                  <c:v>7.0439999999999996</c:v>
                </c:pt>
                <c:pt idx="423">
                  <c:v>1.032</c:v>
                </c:pt>
                <c:pt idx="424">
                  <c:v>1.6319999999999999</c:v>
                </c:pt>
                <c:pt idx="425">
                  <c:v>4.8000000000000001E-2</c:v>
                </c:pt>
                <c:pt idx="426">
                  <c:v>0.89200000000000002</c:v>
                </c:pt>
                <c:pt idx="427">
                  <c:v>0</c:v>
                </c:pt>
                <c:pt idx="428">
                  <c:v>2.0219999999999998</c:v>
                </c:pt>
                <c:pt idx="429">
                  <c:v>0</c:v>
                </c:pt>
                <c:pt idx="430">
                  <c:v>1.5609999999999999</c:v>
                </c:pt>
                <c:pt idx="431">
                  <c:v>0.89200000000000002</c:v>
                </c:pt>
                <c:pt idx="432">
                  <c:v>0</c:v>
                </c:pt>
                <c:pt idx="433">
                  <c:v>0</c:v>
                </c:pt>
                <c:pt idx="434">
                  <c:v>0.22</c:v>
                </c:pt>
                <c:pt idx="435">
                  <c:v>5.2290000000000001</c:v>
                </c:pt>
                <c:pt idx="436">
                  <c:v>10.153</c:v>
                </c:pt>
                <c:pt idx="437">
                  <c:v>9.9120000000000008</c:v>
                </c:pt>
                <c:pt idx="438">
                  <c:v>9.9120000000000008</c:v>
                </c:pt>
                <c:pt idx="439">
                  <c:v>18.853999999999999</c:v>
                </c:pt>
                <c:pt idx="440">
                  <c:v>8.2080000000000002</c:v>
                </c:pt>
                <c:pt idx="441">
                  <c:v>9.6910000000000007</c:v>
                </c:pt>
                <c:pt idx="442">
                  <c:v>6.3360000000000003</c:v>
                </c:pt>
                <c:pt idx="443">
                  <c:v>1.8720000000000001</c:v>
                </c:pt>
                <c:pt idx="444">
                  <c:v>3.052</c:v>
                </c:pt>
                <c:pt idx="445">
                  <c:v>3.008</c:v>
                </c:pt>
                <c:pt idx="446">
                  <c:v>4.8000000000000001E-2</c:v>
                </c:pt>
                <c:pt idx="447">
                  <c:v>0</c:v>
                </c:pt>
                <c:pt idx="448">
                  <c:v>2.665</c:v>
                </c:pt>
                <c:pt idx="449">
                  <c:v>2.16</c:v>
                </c:pt>
                <c:pt idx="450">
                  <c:v>0.83899999999999997</c:v>
                </c:pt>
                <c:pt idx="451">
                  <c:v>0</c:v>
                </c:pt>
                <c:pt idx="452">
                  <c:v>2.8000000000000001E-2</c:v>
                </c:pt>
                <c:pt idx="453">
                  <c:v>0</c:v>
                </c:pt>
                <c:pt idx="454">
                  <c:v>4.9269999999999996</c:v>
                </c:pt>
                <c:pt idx="455">
                  <c:v>13.42</c:v>
                </c:pt>
                <c:pt idx="456">
                  <c:v>21.946999999999999</c:v>
                </c:pt>
                <c:pt idx="457">
                  <c:v>9.7899999999999991</c:v>
                </c:pt>
                <c:pt idx="458">
                  <c:v>10.712999999999999</c:v>
                </c:pt>
                <c:pt idx="459">
                  <c:v>10.07</c:v>
                </c:pt>
                <c:pt idx="460">
                  <c:v>3.6640000000000001</c:v>
                </c:pt>
                <c:pt idx="461">
                  <c:v>4.742</c:v>
                </c:pt>
                <c:pt idx="462">
                  <c:v>0</c:v>
                </c:pt>
                <c:pt idx="463">
                  <c:v>1.212</c:v>
                </c:pt>
                <c:pt idx="464">
                  <c:v>4.351</c:v>
                </c:pt>
                <c:pt idx="465">
                  <c:v>6.4619999999999997</c:v>
                </c:pt>
                <c:pt idx="466">
                  <c:v>6.218</c:v>
                </c:pt>
                <c:pt idx="467">
                  <c:v>3.1469999999999998</c:v>
                </c:pt>
                <c:pt idx="468">
                  <c:v>0.752</c:v>
                </c:pt>
                <c:pt idx="469">
                  <c:v>0</c:v>
                </c:pt>
                <c:pt idx="470">
                  <c:v>2.23</c:v>
                </c:pt>
                <c:pt idx="471">
                  <c:v>0.89200000000000002</c:v>
                </c:pt>
                <c:pt idx="472">
                  <c:v>6.8150000000000004</c:v>
                </c:pt>
                <c:pt idx="473">
                  <c:v>19.245999999999999</c:v>
                </c:pt>
                <c:pt idx="474">
                  <c:v>8.7289999999999992</c:v>
                </c:pt>
                <c:pt idx="475">
                  <c:v>11.048</c:v>
                </c:pt>
                <c:pt idx="476">
                  <c:v>15.321999999999999</c:v>
                </c:pt>
                <c:pt idx="477">
                  <c:v>14.012</c:v>
                </c:pt>
                <c:pt idx="478">
                  <c:v>2.3E-2</c:v>
                </c:pt>
                <c:pt idx="479">
                  <c:v>8.6180000000000003</c:v>
                </c:pt>
                <c:pt idx="480">
                  <c:v>6.4459999999999997</c:v>
                </c:pt>
                <c:pt idx="481">
                  <c:v>0.85199999999999998</c:v>
                </c:pt>
                <c:pt idx="482">
                  <c:v>12.467000000000001</c:v>
                </c:pt>
                <c:pt idx="483">
                  <c:v>13.065</c:v>
                </c:pt>
                <c:pt idx="484">
                  <c:v>4.6829999999999998</c:v>
                </c:pt>
                <c:pt idx="485">
                  <c:v>1.784</c:v>
                </c:pt>
                <c:pt idx="486">
                  <c:v>2.98</c:v>
                </c:pt>
                <c:pt idx="487">
                  <c:v>7.3049999999999997</c:v>
                </c:pt>
                <c:pt idx="488">
                  <c:v>2.8919999999999999</c:v>
                </c:pt>
                <c:pt idx="489">
                  <c:v>2.9319999999999999</c:v>
                </c:pt>
                <c:pt idx="490">
                  <c:v>2.726</c:v>
                </c:pt>
                <c:pt idx="491">
                  <c:v>2.5</c:v>
                </c:pt>
                <c:pt idx="492">
                  <c:v>1.752</c:v>
                </c:pt>
                <c:pt idx="493">
                  <c:v>15.396000000000001</c:v>
                </c:pt>
                <c:pt idx="494">
                  <c:v>35.168999999999997</c:v>
                </c:pt>
                <c:pt idx="495">
                  <c:v>34.378</c:v>
                </c:pt>
                <c:pt idx="496">
                  <c:v>12.287000000000001</c:v>
                </c:pt>
                <c:pt idx="497">
                  <c:v>5.24</c:v>
                </c:pt>
                <c:pt idx="498">
                  <c:v>6.327</c:v>
                </c:pt>
                <c:pt idx="499">
                  <c:v>25.779</c:v>
                </c:pt>
                <c:pt idx="500">
                  <c:v>10.039999999999999</c:v>
                </c:pt>
                <c:pt idx="501">
                  <c:v>9.8610000000000007</c:v>
                </c:pt>
                <c:pt idx="502">
                  <c:v>8.5069999999999997</c:v>
                </c:pt>
                <c:pt idx="503">
                  <c:v>9.9640000000000004</c:v>
                </c:pt>
                <c:pt idx="504">
                  <c:v>17.385999999999999</c:v>
                </c:pt>
                <c:pt idx="505">
                  <c:v>37.582999999999998</c:v>
                </c:pt>
                <c:pt idx="506">
                  <c:v>15.084</c:v>
                </c:pt>
                <c:pt idx="507">
                  <c:v>15.009</c:v>
                </c:pt>
                <c:pt idx="508">
                  <c:v>14.98</c:v>
                </c:pt>
                <c:pt idx="509">
                  <c:v>19.655999999999999</c:v>
                </c:pt>
                <c:pt idx="510">
                  <c:v>2.5150000000000001</c:v>
                </c:pt>
                <c:pt idx="511">
                  <c:v>11.114000000000001</c:v>
                </c:pt>
                <c:pt idx="512">
                  <c:v>1.4E-2</c:v>
                </c:pt>
                <c:pt idx="513">
                  <c:v>22.867000000000001</c:v>
                </c:pt>
                <c:pt idx="514">
                  <c:v>27.352</c:v>
                </c:pt>
                <c:pt idx="515">
                  <c:v>44.334000000000003</c:v>
                </c:pt>
                <c:pt idx="516">
                  <c:v>14</c:v>
                </c:pt>
                <c:pt idx="517">
                  <c:v>28.271000000000001</c:v>
                </c:pt>
                <c:pt idx="518">
                  <c:v>27.561</c:v>
                </c:pt>
                <c:pt idx="519">
                  <c:v>32.011000000000003</c:v>
                </c:pt>
                <c:pt idx="520">
                  <c:v>18.277000000000001</c:v>
                </c:pt>
                <c:pt idx="521">
                  <c:v>21.635000000000002</c:v>
                </c:pt>
                <c:pt idx="522">
                  <c:v>23.158000000000001</c:v>
                </c:pt>
                <c:pt idx="523">
                  <c:v>29.442</c:v>
                </c:pt>
                <c:pt idx="524">
                  <c:v>38.170999999999999</c:v>
                </c:pt>
                <c:pt idx="525">
                  <c:v>25.672000000000001</c:v>
                </c:pt>
                <c:pt idx="526">
                  <c:v>29.337</c:v>
                </c:pt>
                <c:pt idx="527">
                  <c:v>30.256</c:v>
                </c:pt>
                <c:pt idx="528">
                  <c:v>33.878999999999998</c:v>
                </c:pt>
                <c:pt idx="529">
                  <c:v>31.786000000000001</c:v>
                </c:pt>
                <c:pt idx="530">
                  <c:v>33.32</c:v>
                </c:pt>
                <c:pt idx="531">
                  <c:v>11.916</c:v>
                </c:pt>
                <c:pt idx="532">
                  <c:v>20.515999999999998</c:v>
                </c:pt>
                <c:pt idx="533">
                  <c:v>17.829999999999998</c:v>
                </c:pt>
                <c:pt idx="534">
                  <c:v>31.201000000000001</c:v>
                </c:pt>
                <c:pt idx="535">
                  <c:v>34.985999999999997</c:v>
                </c:pt>
                <c:pt idx="536">
                  <c:v>33.219000000000001</c:v>
                </c:pt>
                <c:pt idx="537">
                  <c:v>19.815999999999999</c:v>
                </c:pt>
                <c:pt idx="538">
                  <c:v>23.513000000000002</c:v>
                </c:pt>
                <c:pt idx="539">
                  <c:v>18.475999999999999</c:v>
                </c:pt>
                <c:pt idx="540">
                  <c:v>24.73</c:v>
                </c:pt>
                <c:pt idx="541">
                  <c:v>25.635999999999999</c:v>
                </c:pt>
                <c:pt idx="542">
                  <c:v>30.507000000000001</c:v>
                </c:pt>
                <c:pt idx="543">
                  <c:v>30.693000000000001</c:v>
                </c:pt>
                <c:pt idx="544">
                  <c:v>22.876000000000001</c:v>
                </c:pt>
                <c:pt idx="545">
                  <c:v>42.506999999999998</c:v>
                </c:pt>
                <c:pt idx="546">
                  <c:v>26.792999999999999</c:v>
                </c:pt>
                <c:pt idx="547">
                  <c:v>16.434999999999999</c:v>
                </c:pt>
                <c:pt idx="548">
                  <c:v>23.882000000000001</c:v>
                </c:pt>
                <c:pt idx="549">
                  <c:v>30.97</c:v>
                </c:pt>
                <c:pt idx="550">
                  <c:v>26.786999999999999</c:v>
                </c:pt>
                <c:pt idx="551">
                  <c:v>45.274000000000001</c:v>
                </c:pt>
                <c:pt idx="552">
                  <c:v>20.449000000000002</c:v>
                </c:pt>
                <c:pt idx="553">
                  <c:v>31.151</c:v>
                </c:pt>
                <c:pt idx="554">
                  <c:v>42.402000000000001</c:v>
                </c:pt>
                <c:pt idx="555">
                  <c:v>50.116999999999997</c:v>
                </c:pt>
                <c:pt idx="556">
                  <c:v>36.409999999999997</c:v>
                </c:pt>
                <c:pt idx="557">
                  <c:v>42.223999999999997</c:v>
                </c:pt>
                <c:pt idx="558">
                  <c:v>30.271000000000001</c:v>
                </c:pt>
                <c:pt idx="559">
                  <c:v>23.564</c:v>
                </c:pt>
                <c:pt idx="560">
                  <c:v>24.658000000000001</c:v>
                </c:pt>
                <c:pt idx="561">
                  <c:v>17.105</c:v>
                </c:pt>
                <c:pt idx="562">
                  <c:v>30.026</c:v>
                </c:pt>
                <c:pt idx="563">
                  <c:v>48.866999999999997</c:v>
                </c:pt>
                <c:pt idx="564">
                  <c:v>47.021999999999998</c:v>
                </c:pt>
                <c:pt idx="565">
                  <c:v>37.542999999999999</c:v>
                </c:pt>
                <c:pt idx="566">
                  <c:v>39.734999999999999</c:v>
                </c:pt>
                <c:pt idx="567">
                  <c:v>38.21</c:v>
                </c:pt>
                <c:pt idx="568">
                  <c:v>26.456</c:v>
                </c:pt>
                <c:pt idx="569">
                  <c:v>28.059000000000001</c:v>
                </c:pt>
                <c:pt idx="570">
                  <c:v>44.381</c:v>
                </c:pt>
                <c:pt idx="571">
                  <c:v>43.213999999999999</c:v>
                </c:pt>
                <c:pt idx="572">
                  <c:v>52.802999999999997</c:v>
                </c:pt>
                <c:pt idx="573">
                  <c:v>39.494999999999997</c:v>
                </c:pt>
                <c:pt idx="574">
                  <c:v>44.744999999999997</c:v>
                </c:pt>
                <c:pt idx="575">
                  <c:v>45.764000000000003</c:v>
                </c:pt>
                <c:pt idx="576">
                  <c:v>35.531999999999996</c:v>
                </c:pt>
                <c:pt idx="577">
                  <c:v>37.970999999999997</c:v>
                </c:pt>
                <c:pt idx="578">
                  <c:v>39.593000000000004</c:v>
                </c:pt>
                <c:pt idx="579">
                  <c:v>27.741</c:v>
                </c:pt>
                <c:pt idx="580">
                  <c:v>23.012</c:v>
                </c:pt>
                <c:pt idx="581">
                  <c:v>26.408999999999999</c:v>
                </c:pt>
                <c:pt idx="582">
                  <c:v>33.963999999999999</c:v>
                </c:pt>
                <c:pt idx="583">
                  <c:v>31.274000000000001</c:v>
                </c:pt>
                <c:pt idx="584">
                  <c:v>30.844999999999999</c:v>
                </c:pt>
                <c:pt idx="585">
                  <c:v>32.853999999999999</c:v>
                </c:pt>
                <c:pt idx="586">
                  <c:v>30.896999999999998</c:v>
                </c:pt>
                <c:pt idx="587">
                  <c:v>29.096</c:v>
                </c:pt>
                <c:pt idx="588">
                  <c:v>20.841000000000001</c:v>
                </c:pt>
                <c:pt idx="589">
                  <c:v>21.384</c:v>
                </c:pt>
                <c:pt idx="590">
                  <c:v>19.582999999999998</c:v>
                </c:pt>
                <c:pt idx="591">
                  <c:v>28.896000000000001</c:v>
                </c:pt>
                <c:pt idx="592">
                  <c:v>28.125</c:v>
                </c:pt>
                <c:pt idx="593">
                  <c:v>18.631</c:v>
                </c:pt>
                <c:pt idx="594">
                  <c:v>21.388999999999999</c:v>
                </c:pt>
                <c:pt idx="595">
                  <c:v>30.117000000000001</c:v>
                </c:pt>
                <c:pt idx="596">
                  <c:v>26.012</c:v>
                </c:pt>
                <c:pt idx="597">
                  <c:v>23.257000000000001</c:v>
                </c:pt>
                <c:pt idx="598">
                  <c:v>26.28</c:v>
                </c:pt>
                <c:pt idx="599">
                  <c:v>26.341999999999999</c:v>
                </c:pt>
                <c:pt idx="600">
                  <c:v>19.927</c:v>
                </c:pt>
                <c:pt idx="601">
                  <c:v>29.805</c:v>
                </c:pt>
                <c:pt idx="602">
                  <c:v>16.800999999999998</c:v>
                </c:pt>
                <c:pt idx="603">
                  <c:v>24.236999999999998</c:v>
                </c:pt>
                <c:pt idx="604">
                  <c:v>36.762999999999998</c:v>
                </c:pt>
                <c:pt idx="605">
                  <c:v>34.354999999999997</c:v>
                </c:pt>
                <c:pt idx="606">
                  <c:v>36.749000000000002</c:v>
                </c:pt>
                <c:pt idx="607">
                  <c:v>23.978999999999999</c:v>
                </c:pt>
                <c:pt idx="608">
                  <c:v>19.343</c:v>
                </c:pt>
                <c:pt idx="609">
                  <c:v>26.277000000000001</c:v>
                </c:pt>
                <c:pt idx="610">
                  <c:v>37.411000000000001</c:v>
                </c:pt>
                <c:pt idx="611">
                  <c:v>33.06</c:v>
                </c:pt>
                <c:pt idx="612">
                  <c:v>45.231999999999999</c:v>
                </c:pt>
                <c:pt idx="613">
                  <c:v>53.52</c:v>
                </c:pt>
                <c:pt idx="614">
                  <c:v>28.472999999999999</c:v>
                </c:pt>
                <c:pt idx="615">
                  <c:v>22.753</c:v>
                </c:pt>
                <c:pt idx="616">
                  <c:v>21.79</c:v>
                </c:pt>
                <c:pt idx="617">
                  <c:v>35.417999999999999</c:v>
                </c:pt>
                <c:pt idx="618">
                  <c:v>28.908999999999999</c:v>
                </c:pt>
                <c:pt idx="619">
                  <c:v>37.529000000000003</c:v>
                </c:pt>
                <c:pt idx="620">
                  <c:v>38.491</c:v>
                </c:pt>
                <c:pt idx="621">
                  <c:v>35.680999999999997</c:v>
                </c:pt>
                <c:pt idx="622">
                  <c:v>26.678999999999998</c:v>
                </c:pt>
                <c:pt idx="623">
                  <c:v>27.54</c:v>
                </c:pt>
                <c:pt idx="624">
                  <c:v>29.911999999999999</c:v>
                </c:pt>
                <c:pt idx="625">
                  <c:v>36.478000000000002</c:v>
                </c:pt>
                <c:pt idx="626">
                  <c:v>40.018999999999998</c:v>
                </c:pt>
                <c:pt idx="627">
                  <c:v>43.951999999999998</c:v>
                </c:pt>
                <c:pt idx="628">
                  <c:v>32.097999999999999</c:v>
                </c:pt>
                <c:pt idx="629">
                  <c:v>19.661999999999999</c:v>
                </c:pt>
                <c:pt idx="630">
                  <c:v>25.113</c:v>
                </c:pt>
                <c:pt idx="631">
                  <c:v>36.273000000000003</c:v>
                </c:pt>
                <c:pt idx="632">
                  <c:v>48.789000000000001</c:v>
                </c:pt>
                <c:pt idx="633">
                  <c:v>56.552</c:v>
                </c:pt>
                <c:pt idx="634">
                  <c:v>72.852000000000004</c:v>
                </c:pt>
                <c:pt idx="635">
                  <c:v>57.113</c:v>
                </c:pt>
                <c:pt idx="636">
                  <c:v>29.486000000000001</c:v>
                </c:pt>
                <c:pt idx="637">
                  <c:v>37.587000000000003</c:v>
                </c:pt>
                <c:pt idx="638">
                  <c:v>28.202000000000002</c:v>
                </c:pt>
                <c:pt idx="639">
                  <c:v>3.2149999999999999</c:v>
                </c:pt>
                <c:pt idx="640">
                  <c:v>47.856999999999999</c:v>
                </c:pt>
                <c:pt idx="641">
                  <c:v>47.856999999999999</c:v>
                </c:pt>
                <c:pt idx="642">
                  <c:v>33.338999999999999</c:v>
                </c:pt>
                <c:pt idx="643">
                  <c:v>3.1840000000000002</c:v>
                </c:pt>
                <c:pt idx="644">
                  <c:v>5.05</c:v>
                </c:pt>
                <c:pt idx="645">
                  <c:v>10.102</c:v>
                </c:pt>
                <c:pt idx="646">
                  <c:v>0.90500000000000003</c:v>
                </c:pt>
                <c:pt idx="647">
                  <c:v>7.319</c:v>
                </c:pt>
                <c:pt idx="648">
                  <c:v>12.111000000000001</c:v>
                </c:pt>
                <c:pt idx="649">
                  <c:v>9.3030000000000008</c:v>
                </c:pt>
                <c:pt idx="650">
                  <c:v>3.8220000000000001</c:v>
                </c:pt>
                <c:pt idx="651">
                  <c:v>3.8220000000000001</c:v>
                </c:pt>
                <c:pt idx="652">
                  <c:v>9.032</c:v>
                </c:pt>
                <c:pt idx="653">
                  <c:v>2.4809999999999999</c:v>
                </c:pt>
                <c:pt idx="654">
                  <c:v>3.2839999999999998</c:v>
                </c:pt>
                <c:pt idx="655">
                  <c:v>5.5229999999999997</c:v>
                </c:pt>
                <c:pt idx="656">
                  <c:v>0.80800000000000005</c:v>
                </c:pt>
                <c:pt idx="657">
                  <c:v>16.713000000000001</c:v>
                </c:pt>
                <c:pt idx="658">
                  <c:v>17.722000000000001</c:v>
                </c:pt>
                <c:pt idx="659">
                  <c:v>0.18</c:v>
                </c:pt>
                <c:pt idx="660">
                  <c:v>0.96099999999999997</c:v>
                </c:pt>
                <c:pt idx="661">
                  <c:v>2.8039999999999998</c:v>
                </c:pt>
                <c:pt idx="662">
                  <c:v>2.948</c:v>
                </c:pt>
                <c:pt idx="663">
                  <c:v>1.429</c:v>
                </c:pt>
                <c:pt idx="664">
                  <c:v>4.4740000000000002</c:v>
                </c:pt>
                <c:pt idx="665">
                  <c:v>0.57799999999999996</c:v>
                </c:pt>
                <c:pt idx="666">
                  <c:v>6.5449999999999999</c:v>
                </c:pt>
                <c:pt idx="667">
                  <c:v>29.439</c:v>
                </c:pt>
                <c:pt idx="668">
                  <c:v>2.548</c:v>
                </c:pt>
                <c:pt idx="669">
                  <c:v>1.2</c:v>
                </c:pt>
                <c:pt idx="670">
                  <c:v>18.933</c:v>
                </c:pt>
                <c:pt idx="671">
                  <c:v>1.1970000000000001</c:v>
                </c:pt>
                <c:pt idx="672">
                  <c:v>0</c:v>
                </c:pt>
                <c:pt idx="673">
                  <c:v>16.876999999999999</c:v>
                </c:pt>
                <c:pt idx="674">
                  <c:v>15.36</c:v>
                </c:pt>
                <c:pt idx="675">
                  <c:v>5.98</c:v>
                </c:pt>
                <c:pt idx="676">
                  <c:v>10.326000000000001</c:v>
                </c:pt>
                <c:pt idx="677">
                  <c:v>0.42299999999999999</c:v>
                </c:pt>
                <c:pt idx="678">
                  <c:v>1.155</c:v>
                </c:pt>
                <c:pt idx="679">
                  <c:v>24.701000000000001</c:v>
                </c:pt>
                <c:pt idx="680">
                  <c:v>0.92100000000000004</c:v>
                </c:pt>
                <c:pt idx="681">
                  <c:v>2E-3</c:v>
                </c:pt>
                <c:pt idx="682">
                  <c:v>2.4009999999999998</c:v>
                </c:pt>
                <c:pt idx="683">
                  <c:v>2.1219999999999999</c:v>
                </c:pt>
                <c:pt idx="684">
                  <c:v>5.55</c:v>
                </c:pt>
                <c:pt idx="685">
                  <c:v>2E-3</c:v>
                </c:pt>
                <c:pt idx="686">
                  <c:v>2.8109999999999999</c:v>
                </c:pt>
                <c:pt idx="687">
                  <c:v>9.3859999999999992</c:v>
                </c:pt>
                <c:pt idx="688">
                  <c:v>15.188000000000001</c:v>
                </c:pt>
                <c:pt idx="689">
                  <c:v>15.154999999999999</c:v>
                </c:pt>
                <c:pt idx="690">
                  <c:v>1.25</c:v>
                </c:pt>
                <c:pt idx="691">
                  <c:v>2E-3</c:v>
                </c:pt>
                <c:pt idx="692">
                  <c:v>3.6890000000000001</c:v>
                </c:pt>
                <c:pt idx="693">
                  <c:v>4.7510000000000003</c:v>
                </c:pt>
                <c:pt idx="694">
                  <c:v>5.5970000000000004</c:v>
                </c:pt>
                <c:pt idx="695">
                  <c:v>2.3540000000000001</c:v>
                </c:pt>
                <c:pt idx="696">
                  <c:v>4.3280000000000003</c:v>
                </c:pt>
                <c:pt idx="697">
                  <c:v>4.6219999999999999</c:v>
                </c:pt>
                <c:pt idx="698">
                  <c:v>1.5</c:v>
                </c:pt>
                <c:pt idx="699">
                  <c:v>2E-3</c:v>
                </c:pt>
                <c:pt idx="700">
                  <c:v>2.883</c:v>
                </c:pt>
                <c:pt idx="701">
                  <c:v>7.7619999999999996</c:v>
                </c:pt>
                <c:pt idx="702">
                  <c:v>2.0139999999999998</c:v>
                </c:pt>
                <c:pt idx="703">
                  <c:v>26.870999999999999</c:v>
                </c:pt>
                <c:pt idx="704">
                  <c:v>15.231999999999999</c:v>
                </c:pt>
                <c:pt idx="705">
                  <c:v>9.5559999999999992</c:v>
                </c:pt>
                <c:pt idx="706">
                  <c:v>1.53</c:v>
                </c:pt>
                <c:pt idx="707">
                  <c:v>8.2100000000000009</c:v>
                </c:pt>
                <c:pt idx="708">
                  <c:v>3.5539999999999998</c:v>
                </c:pt>
                <c:pt idx="709">
                  <c:v>1.488</c:v>
                </c:pt>
                <c:pt idx="710">
                  <c:v>0.12</c:v>
                </c:pt>
                <c:pt idx="711">
                  <c:v>3.0430000000000001</c:v>
                </c:pt>
                <c:pt idx="712">
                  <c:v>16.687999999999999</c:v>
                </c:pt>
                <c:pt idx="713">
                  <c:v>18.817</c:v>
                </c:pt>
                <c:pt idx="714">
                  <c:v>2.1139999999999999</c:v>
                </c:pt>
                <c:pt idx="715">
                  <c:v>21.667000000000002</c:v>
                </c:pt>
                <c:pt idx="716">
                  <c:v>0.441</c:v>
                </c:pt>
                <c:pt idx="717">
                  <c:v>6.649</c:v>
                </c:pt>
                <c:pt idx="718">
                  <c:v>26.43</c:v>
                </c:pt>
                <c:pt idx="719">
                  <c:v>1E-3</c:v>
                </c:pt>
                <c:pt idx="720">
                  <c:v>3.633</c:v>
                </c:pt>
                <c:pt idx="721">
                  <c:v>1.556</c:v>
                </c:pt>
                <c:pt idx="722">
                  <c:v>5.3129999999999997</c:v>
                </c:pt>
                <c:pt idx="723">
                  <c:v>33.276000000000003</c:v>
                </c:pt>
                <c:pt idx="724">
                  <c:v>5.81</c:v>
                </c:pt>
                <c:pt idx="725">
                  <c:v>3.5179999999999998</c:v>
                </c:pt>
                <c:pt idx="726">
                  <c:v>3.7069999999999999</c:v>
                </c:pt>
                <c:pt idx="727">
                  <c:v>12.178000000000001</c:v>
                </c:pt>
                <c:pt idx="728">
                  <c:v>14.305</c:v>
                </c:pt>
                <c:pt idx="729">
                  <c:v>14.805</c:v>
                </c:pt>
                <c:pt idx="730">
                  <c:v>35.883000000000003</c:v>
                </c:pt>
                <c:pt idx="731">
                  <c:v>26.885000000000002</c:v>
                </c:pt>
                <c:pt idx="732">
                  <c:v>25.741</c:v>
                </c:pt>
                <c:pt idx="733">
                  <c:v>35.069000000000003</c:v>
                </c:pt>
                <c:pt idx="734">
                  <c:v>19.831</c:v>
                </c:pt>
                <c:pt idx="735">
                  <c:v>8.8140000000000001</c:v>
                </c:pt>
                <c:pt idx="736">
                  <c:v>2.0920000000000001</c:v>
                </c:pt>
                <c:pt idx="737">
                  <c:v>0.91900000000000004</c:v>
                </c:pt>
                <c:pt idx="738">
                  <c:v>1.5529999999999999</c:v>
                </c:pt>
                <c:pt idx="739">
                  <c:v>21.640999999999998</c:v>
                </c:pt>
                <c:pt idx="740">
                  <c:v>1.7000000000000001E-2</c:v>
                </c:pt>
                <c:pt idx="741">
                  <c:v>1.155</c:v>
                </c:pt>
                <c:pt idx="742">
                  <c:v>1.2270000000000001</c:v>
                </c:pt>
                <c:pt idx="743">
                  <c:v>23.631</c:v>
                </c:pt>
                <c:pt idx="744">
                  <c:v>4.3220000000000001</c:v>
                </c:pt>
                <c:pt idx="745">
                  <c:v>0.46200000000000002</c:v>
                </c:pt>
                <c:pt idx="746">
                  <c:v>2.54</c:v>
                </c:pt>
                <c:pt idx="747">
                  <c:v>2.2410000000000001</c:v>
                </c:pt>
                <c:pt idx="748">
                  <c:v>0</c:v>
                </c:pt>
                <c:pt idx="749">
                  <c:v>0.73899999999999999</c:v>
                </c:pt>
                <c:pt idx="750">
                  <c:v>3.5830000000000002</c:v>
                </c:pt>
                <c:pt idx="751">
                  <c:v>7.0000000000000001E-3</c:v>
                </c:pt>
                <c:pt idx="752">
                  <c:v>1.204</c:v>
                </c:pt>
                <c:pt idx="753">
                  <c:v>1.2929999999999999</c:v>
                </c:pt>
                <c:pt idx="754">
                  <c:v>2.16</c:v>
                </c:pt>
                <c:pt idx="755">
                  <c:v>0.01</c:v>
                </c:pt>
                <c:pt idx="756">
                  <c:v>5.4710000000000001</c:v>
                </c:pt>
                <c:pt idx="757">
                  <c:v>1.546</c:v>
                </c:pt>
                <c:pt idx="758">
                  <c:v>1.2E-2</c:v>
                </c:pt>
                <c:pt idx="759">
                  <c:v>11.792</c:v>
                </c:pt>
                <c:pt idx="760">
                  <c:v>5.6539999999999999</c:v>
                </c:pt>
                <c:pt idx="761">
                  <c:v>0.28399999999999997</c:v>
                </c:pt>
                <c:pt idx="762">
                  <c:v>1.3680000000000001</c:v>
                </c:pt>
                <c:pt idx="763">
                  <c:v>1.048</c:v>
                </c:pt>
                <c:pt idx="764">
                  <c:v>3.5979999999999999</c:v>
                </c:pt>
                <c:pt idx="765">
                  <c:v>3.0840000000000001</c:v>
                </c:pt>
                <c:pt idx="766">
                  <c:v>3.49</c:v>
                </c:pt>
                <c:pt idx="767">
                  <c:v>3.492</c:v>
                </c:pt>
                <c:pt idx="768">
                  <c:v>2.6970000000000001</c:v>
                </c:pt>
                <c:pt idx="769">
                  <c:v>4.6230000000000002</c:v>
                </c:pt>
                <c:pt idx="770">
                  <c:v>1.085</c:v>
                </c:pt>
                <c:pt idx="771">
                  <c:v>1.625</c:v>
                </c:pt>
                <c:pt idx="772">
                  <c:v>3.7530000000000001</c:v>
                </c:pt>
                <c:pt idx="773">
                  <c:v>0.55000000000000004</c:v>
                </c:pt>
                <c:pt idx="774">
                  <c:v>0</c:v>
                </c:pt>
                <c:pt idx="775">
                  <c:v>0</c:v>
                </c:pt>
                <c:pt idx="776">
                  <c:v>1.272</c:v>
                </c:pt>
                <c:pt idx="777">
                  <c:v>0.46200000000000002</c:v>
                </c:pt>
                <c:pt idx="778">
                  <c:v>8.9079999999999995</c:v>
                </c:pt>
                <c:pt idx="779">
                  <c:v>0.96</c:v>
                </c:pt>
                <c:pt idx="780">
                  <c:v>0.35</c:v>
                </c:pt>
                <c:pt idx="781">
                  <c:v>0</c:v>
                </c:pt>
                <c:pt idx="782">
                  <c:v>2.3380000000000001</c:v>
                </c:pt>
                <c:pt idx="783">
                  <c:v>0</c:v>
                </c:pt>
                <c:pt idx="784">
                  <c:v>2.101</c:v>
                </c:pt>
                <c:pt idx="785">
                  <c:v>0</c:v>
                </c:pt>
                <c:pt idx="786">
                  <c:v>2.585</c:v>
                </c:pt>
                <c:pt idx="787">
                  <c:v>3.6269999999999998</c:v>
                </c:pt>
                <c:pt idx="788">
                  <c:v>2.67</c:v>
                </c:pt>
                <c:pt idx="789">
                  <c:v>4.5599999999999996</c:v>
                </c:pt>
                <c:pt idx="790">
                  <c:v>0</c:v>
                </c:pt>
                <c:pt idx="791">
                  <c:v>0</c:v>
                </c:pt>
                <c:pt idx="792">
                  <c:v>0.92100000000000004</c:v>
                </c:pt>
                <c:pt idx="793">
                  <c:v>0</c:v>
                </c:pt>
                <c:pt idx="794">
                  <c:v>0</c:v>
                </c:pt>
                <c:pt idx="795">
                  <c:v>9.4510000000000005</c:v>
                </c:pt>
                <c:pt idx="796">
                  <c:v>2.8159999999999998</c:v>
                </c:pt>
                <c:pt idx="797">
                  <c:v>5.0519999999999996</c:v>
                </c:pt>
                <c:pt idx="798">
                  <c:v>0</c:v>
                </c:pt>
                <c:pt idx="799">
                  <c:v>5.976</c:v>
                </c:pt>
                <c:pt idx="800">
                  <c:v>2.1720000000000002</c:v>
                </c:pt>
                <c:pt idx="801">
                  <c:v>11.615</c:v>
                </c:pt>
                <c:pt idx="802">
                  <c:v>17.172000000000001</c:v>
                </c:pt>
                <c:pt idx="803">
                  <c:v>9.7200000000000006</c:v>
                </c:pt>
                <c:pt idx="804">
                  <c:v>16.047999999999998</c:v>
                </c:pt>
                <c:pt idx="805">
                  <c:v>11.9</c:v>
                </c:pt>
                <c:pt idx="806">
                  <c:v>10.311</c:v>
                </c:pt>
                <c:pt idx="807">
                  <c:v>12.273999999999999</c:v>
                </c:pt>
                <c:pt idx="808">
                  <c:v>23.864999999999998</c:v>
                </c:pt>
                <c:pt idx="809">
                  <c:v>21.184000000000001</c:v>
                </c:pt>
                <c:pt idx="810">
                  <c:v>17.364000000000001</c:v>
                </c:pt>
                <c:pt idx="811">
                  <c:v>17.187000000000001</c:v>
                </c:pt>
                <c:pt idx="812">
                  <c:v>10.916</c:v>
                </c:pt>
                <c:pt idx="813">
                  <c:v>18.088999999999999</c:v>
                </c:pt>
                <c:pt idx="814">
                  <c:v>34.164999999999999</c:v>
                </c:pt>
                <c:pt idx="815">
                  <c:v>25.263999999999999</c:v>
                </c:pt>
                <c:pt idx="816">
                  <c:v>25.696000000000002</c:v>
                </c:pt>
                <c:pt idx="817">
                  <c:v>17.850999999999999</c:v>
                </c:pt>
                <c:pt idx="818">
                  <c:v>23.905000000000001</c:v>
                </c:pt>
                <c:pt idx="819">
                  <c:v>22.108000000000001</c:v>
                </c:pt>
                <c:pt idx="820">
                  <c:v>26.951000000000001</c:v>
                </c:pt>
                <c:pt idx="821">
                  <c:v>21.209</c:v>
                </c:pt>
                <c:pt idx="822">
                  <c:v>15.228999999999999</c:v>
                </c:pt>
                <c:pt idx="823">
                  <c:v>15.948</c:v>
                </c:pt>
                <c:pt idx="824">
                  <c:v>16.739000000000001</c:v>
                </c:pt>
                <c:pt idx="825">
                  <c:v>9.6959999999999997</c:v>
                </c:pt>
                <c:pt idx="826">
                  <c:v>9.8640000000000008</c:v>
                </c:pt>
                <c:pt idx="827">
                  <c:v>28.844999999999999</c:v>
                </c:pt>
                <c:pt idx="828">
                  <c:v>28.613</c:v>
                </c:pt>
                <c:pt idx="829">
                  <c:v>42.850999999999999</c:v>
                </c:pt>
                <c:pt idx="830">
                  <c:v>50.622999999999998</c:v>
                </c:pt>
                <c:pt idx="831">
                  <c:v>47.360999999999997</c:v>
                </c:pt>
                <c:pt idx="832">
                  <c:v>43.12</c:v>
                </c:pt>
                <c:pt idx="833">
                  <c:v>39.674999999999997</c:v>
                </c:pt>
                <c:pt idx="834">
                  <c:v>35.594000000000001</c:v>
                </c:pt>
                <c:pt idx="835">
                  <c:v>55.389000000000003</c:v>
                </c:pt>
                <c:pt idx="836">
                  <c:v>65.347999999999999</c:v>
                </c:pt>
                <c:pt idx="837">
                  <c:v>77.432000000000002</c:v>
                </c:pt>
                <c:pt idx="838">
                  <c:v>72.894999999999996</c:v>
                </c:pt>
                <c:pt idx="839">
                  <c:v>68.539000000000001</c:v>
                </c:pt>
                <c:pt idx="840">
                  <c:v>43.884999999999998</c:v>
                </c:pt>
                <c:pt idx="841">
                  <c:v>27.349</c:v>
                </c:pt>
                <c:pt idx="842">
                  <c:v>25.271999999999998</c:v>
                </c:pt>
                <c:pt idx="843">
                  <c:v>39.037999999999997</c:v>
                </c:pt>
                <c:pt idx="844">
                  <c:v>37.436</c:v>
                </c:pt>
                <c:pt idx="845">
                  <c:v>22.584</c:v>
                </c:pt>
                <c:pt idx="846">
                  <c:v>27.559000000000001</c:v>
                </c:pt>
                <c:pt idx="847">
                  <c:v>36.026000000000003</c:v>
                </c:pt>
                <c:pt idx="848">
                  <c:v>31.47</c:v>
                </c:pt>
                <c:pt idx="849">
                  <c:v>72.811999999999998</c:v>
                </c:pt>
                <c:pt idx="850">
                  <c:v>63.837000000000003</c:v>
                </c:pt>
                <c:pt idx="851">
                  <c:v>63.247999999999998</c:v>
                </c:pt>
                <c:pt idx="852">
                  <c:v>51.654000000000003</c:v>
                </c:pt>
                <c:pt idx="853">
                  <c:v>32.420999999999999</c:v>
                </c:pt>
                <c:pt idx="854">
                  <c:v>20.568000000000001</c:v>
                </c:pt>
                <c:pt idx="855">
                  <c:v>28.800999999999998</c:v>
                </c:pt>
                <c:pt idx="856">
                  <c:v>37.109000000000002</c:v>
                </c:pt>
                <c:pt idx="857">
                  <c:v>65.040000000000006</c:v>
                </c:pt>
                <c:pt idx="858">
                  <c:v>64.091999999999999</c:v>
                </c:pt>
                <c:pt idx="859">
                  <c:v>69.468999999999994</c:v>
                </c:pt>
                <c:pt idx="860">
                  <c:v>100.345</c:v>
                </c:pt>
                <c:pt idx="861">
                  <c:v>104.652</c:v>
                </c:pt>
                <c:pt idx="862">
                  <c:v>92.629000000000005</c:v>
                </c:pt>
                <c:pt idx="863">
                  <c:v>95.76</c:v>
                </c:pt>
                <c:pt idx="864">
                  <c:v>87.611000000000004</c:v>
                </c:pt>
                <c:pt idx="865">
                  <c:v>93.36</c:v>
                </c:pt>
                <c:pt idx="866">
                  <c:v>52.298000000000002</c:v>
                </c:pt>
                <c:pt idx="867">
                  <c:v>76.747</c:v>
                </c:pt>
                <c:pt idx="868">
                  <c:v>93.638000000000005</c:v>
                </c:pt>
                <c:pt idx="869">
                  <c:v>77.611000000000004</c:v>
                </c:pt>
                <c:pt idx="870">
                  <c:v>80.551000000000002</c:v>
                </c:pt>
                <c:pt idx="871">
                  <c:v>75.599999999999994</c:v>
                </c:pt>
                <c:pt idx="872">
                  <c:v>90.72</c:v>
                </c:pt>
                <c:pt idx="873">
                  <c:v>90.009</c:v>
                </c:pt>
                <c:pt idx="874">
                  <c:v>92.975999999999999</c:v>
                </c:pt>
                <c:pt idx="875">
                  <c:v>100.8</c:v>
                </c:pt>
                <c:pt idx="876">
                  <c:v>98.808000000000007</c:v>
                </c:pt>
                <c:pt idx="877">
                  <c:v>98.4</c:v>
                </c:pt>
                <c:pt idx="878">
                  <c:v>87.828000000000003</c:v>
                </c:pt>
                <c:pt idx="879">
                  <c:v>92.641000000000005</c:v>
                </c:pt>
                <c:pt idx="880">
                  <c:v>79.210999999999999</c:v>
                </c:pt>
                <c:pt idx="881">
                  <c:v>73.501999999999995</c:v>
                </c:pt>
                <c:pt idx="882">
                  <c:v>68.98</c:v>
                </c:pt>
                <c:pt idx="883">
                  <c:v>53.985999999999997</c:v>
                </c:pt>
                <c:pt idx="884">
                  <c:v>59.137</c:v>
                </c:pt>
                <c:pt idx="885">
                  <c:v>78.156000000000006</c:v>
                </c:pt>
                <c:pt idx="886">
                  <c:v>79.412999999999997</c:v>
                </c:pt>
                <c:pt idx="887">
                  <c:v>72.085999999999999</c:v>
                </c:pt>
                <c:pt idx="888">
                  <c:v>59.795000000000002</c:v>
                </c:pt>
                <c:pt idx="889">
                  <c:v>57.125</c:v>
                </c:pt>
                <c:pt idx="890">
                  <c:v>63.063000000000002</c:v>
                </c:pt>
                <c:pt idx="891">
                  <c:v>54.268999999999998</c:v>
                </c:pt>
                <c:pt idx="892">
                  <c:v>76.311000000000007</c:v>
                </c:pt>
                <c:pt idx="893">
                  <c:v>94.043000000000006</c:v>
                </c:pt>
                <c:pt idx="894">
                  <c:v>66.343999999999994</c:v>
                </c:pt>
                <c:pt idx="895">
                  <c:v>55.805999999999997</c:v>
                </c:pt>
                <c:pt idx="896">
                  <c:v>41.338000000000001</c:v>
                </c:pt>
                <c:pt idx="897">
                  <c:v>37.44</c:v>
                </c:pt>
                <c:pt idx="898">
                  <c:v>49.835999999999999</c:v>
                </c:pt>
                <c:pt idx="899">
                  <c:v>69.174000000000007</c:v>
                </c:pt>
                <c:pt idx="900">
                  <c:v>58.097999999999999</c:v>
                </c:pt>
                <c:pt idx="901">
                  <c:v>42.478000000000002</c:v>
                </c:pt>
                <c:pt idx="902">
                  <c:v>49.860999999999997</c:v>
                </c:pt>
                <c:pt idx="903">
                  <c:v>47.866999999999997</c:v>
                </c:pt>
                <c:pt idx="904">
                  <c:v>49.151000000000003</c:v>
                </c:pt>
                <c:pt idx="905">
                  <c:v>48.012</c:v>
                </c:pt>
                <c:pt idx="906">
                  <c:v>64.400000000000006</c:v>
                </c:pt>
                <c:pt idx="907">
                  <c:v>66.238</c:v>
                </c:pt>
                <c:pt idx="908">
                  <c:v>42.786000000000001</c:v>
                </c:pt>
                <c:pt idx="909">
                  <c:v>39.607999999999997</c:v>
                </c:pt>
                <c:pt idx="910">
                  <c:v>37.765999999999998</c:v>
                </c:pt>
                <c:pt idx="911">
                  <c:v>38.146000000000001</c:v>
                </c:pt>
                <c:pt idx="912">
                  <c:v>38.173999999999999</c:v>
                </c:pt>
                <c:pt idx="913">
                  <c:v>42.38</c:v>
                </c:pt>
                <c:pt idx="914">
                  <c:v>41.064</c:v>
                </c:pt>
                <c:pt idx="915">
                  <c:v>29.481000000000002</c:v>
                </c:pt>
                <c:pt idx="916">
                  <c:v>28.45</c:v>
                </c:pt>
                <c:pt idx="917">
                  <c:v>37.841000000000001</c:v>
                </c:pt>
                <c:pt idx="918">
                  <c:v>33.033999999999999</c:v>
                </c:pt>
                <c:pt idx="919">
                  <c:v>30.038</c:v>
                </c:pt>
                <c:pt idx="920">
                  <c:v>50.756</c:v>
                </c:pt>
                <c:pt idx="921">
                  <c:v>54.314999999999998</c:v>
                </c:pt>
                <c:pt idx="922">
                  <c:v>27.641999999999999</c:v>
                </c:pt>
                <c:pt idx="923">
                  <c:v>32.856999999999999</c:v>
                </c:pt>
                <c:pt idx="924">
                  <c:v>28.535</c:v>
                </c:pt>
                <c:pt idx="925">
                  <c:v>35.779000000000003</c:v>
                </c:pt>
                <c:pt idx="926">
                  <c:v>33.828000000000003</c:v>
                </c:pt>
                <c:pt idx="927">
                  <c:v>45.308999999999997</c:v>
                </c:pt>
                <c:pt idx="928">
                  <c:v>34.573</c:v>
                </c:pt>
                <c:pt idx="929">
                  <c:v>30.966000000000001</c:v>
                </c:pt>
                <c:pt idx="930">
                  <c:v>41.795999999999999</c:v>
                </c:pt>
                <c:pt idx="931">
                  <c:v>41.825000000000003</c:v>
                </c:pt>
                <c:pt idx="932">
                  <c:v>37.65</c:v>
                </c:pt>
                <c:pt idx="933">
                  <c:v>39.771999999999998</c:v>
                </c:pt>
                <c:pt idx="934">
                  <c:v>45.607999999999997</c:v>
                </c:pt>
                <c:pt idx="935">
                  <c:v>42.765000000000001</c:v>
                </c:pt>
                <c:pt idx="936">
                  <c:v>39.667999999999999</c:v>
                </c:pt>
                <c:pt idx="937">
                  <c:v>35.845999999999997</c:v>
                </c:pt>
                <c:pt idx="938">
                  <c:v>34.478999999999999</c:v>
                </c:pt>
                <c:pt idx="939">
                  <c:v>40.027999999999999</c:v>
                </c:pt>
                <c:pt idx="940">
                  <c:v>31.539000000000001</c:v>
                </c:pt>
                <c:pt idx="941">
                  <c:v>40.125</c:v>
                </c:pt>
                <c:pt idx="942">
                  <c:v>43.914999999999999</c:v>
                </c:pt>
                <c:pt idx="943">
                  <c:v>39.837000000000003</c:v>
                </c:pt>
                <c:pt idx="944">
                  <c:v>41.308</c:v>
                </c:pt>
                <c:pt idx="945">
                  <c:v>24.95</c:v>
                </c:pt>
                <c:pt idx="946">
                  <c:v>23.998999999999999</c:v>
                </c:pt>
                <c:pt idx="947">
                  <c:v>22.343</c:v>
                </c:pt>
                <c:pt idx="948">
                  <c:v>29.954999999999998</c:v>
                </c:pt>
                <c:pt idx="949">
                  <c:v>32.061</c:v>
                </c:pt>
                <c:pt idx="950">
                  <c:v>26.289000000000001</c:v>
                </c:pt>
                <c:pt idx="951">
                  <c:v>26.658000000000001</c:v>
                </c:pt>
                <c:pt idx="952">
                  <c:v>26.501000000000001</c:v>
                </c:pt>
                <c:pt idx="953">
                  <c:v>21.323</c:v>
                </c:pt>
                <c:pt idx="954">
                  <c:v>30.411999999999999</c:v>
                </c:pt>
                <c:pt idx="955">
                  <c:v>36.412999999999997</c:v>
                </c:pt>
                <c:pt idx="956">
                  <c:v>30.369</c:v>
                </c:pt>
                <c:pt idx="957">
                  <c:v>32.395000000000003</c:v>
                </c:pt>
                <c:pt idx="958">
                  <c:v>25.420999999999999</c:v>
                </c:pt>
                <c:pt idx="959">
                  <c:v>27.535</c:v>
                </c:pt>
                <c:pt idx="960">
                  <c:v>26.038</c:v>
                </c:pt>
                <c:pt idx="961">
                  <c:v>24.056999999999999</c:v>
                </c:pt>
                <c:pt idx="962">
                  <c:v>26.341000000000001</c:v>
                </c:pt>
                <c:pt idx="963">
                  <c:v>26.797999999999998</c:v>
                </c:pt>
                <c:pt idx="964">
                  <c:v>24.155000000000001</c:v>
                </c:pt>
                <c:pt idx="965">
                  <c:v>24.584</c:v>
                </c:pt>
                <c:pt idx="966">
                  <c:v>31.69</c:v>
                </c:pt>
                <c:pt idx="967">
                  <c:v>0.26400000000000001</c:v>
                </c:pt>
                <c:pt idx="968">
                  <c:v>9.6609999999999996</c:v>
                </c:pt>
                <c:pt idx="969">
                  <c:v>62.057000000000002</c:v>
                </c:pt>
                <c:pt idx="970">
                  <c:v>63.164000000000001</c:v>
                </c:pt>
                <c:pt idx="971">
                  <c:v>12.305999999999999</c:v>
                </c:pt>
                <c:pt idx="972">
                  <c:v>5.0709999999999997</c:v>
                </c:pt>
                <c:pt idx="973">
                  <c:v>5.5579999999999998</c:v>
                </c:pt>
                <c:pt idx="974">
                  <c:v>6.4980000000000002</c:v>
                </c:pt>
                <c:pt idx="975">
                  <c:v>18.882999999999999</c:v>
                </c:pt>
                <c:pt idx="976">
                  <c:v>8.9730000000000008</c:v>
                </c:pt>
                <c:pt idx="977">
                  <c:v>18.914000000000001</c:v>
                </c:pt>
                <c:pt idx="978">
                  <c:v>15.577999999999999</c:v>
                </c:pt>
                <c:pt idx="979">
                  <c:v>4.577</c:v>
                </c:pt>
                <c:pt idx="980">
                  <c:v>21.800999999999998</c:v>
                </c:pt>
                <c:pt idx="981">
                  <c:v>36.447000000000003</c:v>
                </c:pt>
                <c:pt idx="982">
                  <c:v>20.568000000000001</c:v>
                </c:pt>
                <c:pt idx="983">
                  <c:v>34.76</c:v>
                </c:pt>
                <c:pt idx="984">
                  <c:v>32.798999999999999</c:v>
                </c:pt>
                <c:pt idx="985">
                  <c:v>20.568000000000001</c:v>
                </c:pt>
                <c:pt idx="986">
                  <c:v>29.93</c:v>
                </c:pt>
                <c:pt idx="987">
                  <c:v>20.568000000000001</c:v>
                </c:pt>
                <c:pt idx="988">
                  <c:v>5.31</c:v>
                </c:pt>
                <c:pt idx="989">
                  <c:v>37.012</c:v>
                </c:pt>
                <c:pt idx="990">
                  <c:v>63.552</c:v>
                </c:pt>
                <c:pt idx="991">
                  <c:v>34.213000000000001</c:v>
                </c:pt>
                <c:pt idx="992">
                  <c:v>24.648</c:v>
                </c:pt>
                <c:pt idx="993">
                  <c:v>33.067999999999998</c:v>
                </c:pt>
                <c:pt idx="994">
                  <c:v>20.568000000000001</c:v>
                </c:pt>
                <c:pt idx="995">
                  <c:v>31.021000000000001</c:v>
                </c:pt>
                <c:pt idx="996">
                  <c:v>22.652000000000001</c:v>
                </c:pt>
                <c:pt idx="997">
                  <c:v>25.576000000000001</c:v>
                </c:pt>
                <c:pt idx="998">
                  <c:v>23.777999999999999</c:v>
                </c:pt>
                <c:pt idx="999">
                  <c:v>20.849</c:v>
                </c:pt>
                <c:pt idx="1000">
                  <c:v>21.683</c:v>
                </c:pt>
                <c:pt idx="1001">
                  <c:v>20.571999999999999</c:v>
                </c:pt>
                <c:pt idx="1002">
                  <c:v>22.771000000000001</c:v>
                </c:pt>
                <c:pt idx="1003">
                  <c:v>30.459</c:v>
                </c:pt>
                <c:pt idx="1004">
                  <c:v>9.6129999999999995</c:v>
                </c:pt>
                <c:pt idx="1005">
                  <c:v>11.566000000000001</c:v>
                </c:pt>
                <c:pt idx="1006">
                  <c:v>18.593</c:v>
                </c:pt>
                <c:pt idx="1007">
                  <c:v>12.968</c:v>
                </c:pt>
                <c:pt idx="1008">
                  <c:v>33.070999999999998</c:v>
                </c:pt>
                <c:pt idx="1009">
                  <c:v>53.570999999999998</c:v>
                </c:pt>
                <c:pt idx="1010">
                  <c:v>24.094000000000001</c:v>
                </c:pt>
                <c:pt idx="1011">
                  <c:v>30.863</c:v>
                </c:pt>
                <c:pt idx="1012">
                  <c:v>25</c:v>
                </c:pt>
                <c:pt idx="1013">
                  <c:v>21.501999999999999</c:v>
                </c:pt>
                <c:pt idx="1014">
                  <c:v>21.123999999999999</c:v>
                </c:pt>
                <c:pt idx="1015">
                  <c:v>20.568000000000001</c:v>
                </c:pt>
                <c:pt idx="1016">
                  <c:v>22.082999999999998</c:v>
                </c:pt>
                <c:pt idx="1017">
                  <c:v>26.838000000000001</c:v>
                </c:pt>
                <c:pt idx="1018">
                  <c:v>14.486000000000001</c:v>
                </c:pt>
                <c:pt idx="1019">
                  <c:v>9.4700000000000006</c:v>
                </c:pt>
                <c:pt idx="1020">
                  <c:v>9.1340000000000003</c:v>
                </c:pt>
                <c:pt idx="1021">
                  <c:v>3.8410000000000002</c:v>
                </c:pt>
                <c:pt idx="1022">
                  <c:v>0</c:v>
                </c:pt>
                <c:pt idx="1023">
                  <c:v>4.9560000000000004</c:v>
                </c:pt>
                <c:pt idx="1024">
                  <c:v>1.484</c:v>
                </c:pt>
                <c:pt idx="1025">
                  <c:v>12.755000000000001</c:v>
                </c:pt>
                <c:pt idx="1026">
                  <c:v>12.209</c:v>
                </c:pt>
                <c:pt idx="1027">
                  <c:v>4.7119999999999997</c:v>
                </c:pt>
                <c:pt idx="1028">
                  <c:v>0.30599999999999999</c:v>
                </c:pt>
                <c:pt idx="1029">
                  <c:v>2.6419999999999999</c:v>
                </c:pt>
                <c:pt idx="1030">
                  <c:v>1.016</c:v>
                </c:pt>
                <c:pt idx="1031">
                  <c:v>6.1589999999999998</c:v>
                </c:pt>
                <c:pt idx="1032">
                  <c:v>5.9489999999999998</c:v>
                </c:pt>
                <c:pt idx="1033">
                  <c:v>5.3680000000000003</c:v>
                </c:pt>
                <c:pt idx="1034">
                  <c:v>0</c:v>
                </c:pt>
                <c:pt idx="1035">
                  <c:v>29.826000000000001</c:v>
                </c:pt>
                <c:pt idx="1036">
                  <c:v>62.915999999999997</c:v>
                </c:pt>
                <c:pt idx="1037">
                  <c:v>60.686999999999998</c:v>
                </c:pt>
                <c:pt idx="1038">
                  <c:v>63.78</c:v>
                </c:pt>
                <c:pt idx="1039">
                  <c:v>5.1920000000000002</c:v>
                </c:pt>
                <c:pt idx="1040">
                  <c:v>10.382</c:v>
                </c:pt>
                <c:pt idx="1041">
                  <c:v>57.305</c:v>
                </c:pt>
                <c:pt idx="1042">
                  <c:v>67.301000000000002</c:v>
                </c:pt>
                <c:pt idx="1043">
                  <c:v>63</c:v>
                </c:pt>
                <c:pt idx="1044">
                  <c:v>65.192999999999998</c:v>
                </c:pt>
                <c:pt idx="1045">
                  <c:v>65.349000000000004</c:v>
                </c:pt>
                <c:pt idx="1046">
                  <c:v>9.7260000000000009</c:v>
                </c:pt>
                <c:pt idx="1047">
                  <c:v>7.3</c:v>
                </c:pt>
                <c:pt idx="1048">
                  <c:v>54.923000000000002</c:v>
                </c:pt>
                <c:pt idx="1049">
                  <c:v>32.823999999999998</c:v>
                </c:pt>
                <c:pt idx="1050">
                  <c:v>49.329000000000001</c:v>
                </c:pt>
                <c:pt idx="1051">
                  <c:v>65.265000000000001</c:v>
                </c:pt>
                <c:pt idx="1052">
                  <c:v>0.23200000000000001</c:v>
                </c:pt>
                <c:pt idx="1053">
                  <c:v>6.6509999999999998</c:v>
                </c:pt>
                <c:pt idx="1054">
                  <c:v>1.286</c:v>
                </c:pt>
                <c:pt idx="1055">
                  <c:v>0</c:v>
                </c:pt>
                <c:pt idx="1056">
                  <c:v>5.3570000000000002</c:v>
                </c:pt>
                <c:pt idx="1057">
                  <c:v>3.7010000000000001</c:v>
                </c:pt>
                <c:pt idx="1058">
                  <c:v>1.1020000000000001</c:v>
                </c:pt>
                <c:pt idx="1059">
                  <c:v>6.6959999999999997</c:v>
                </c:pt>
                <c:pt idx="1060">
                  <c:v>5.58</c:v>
                </c:pt>
                <c:pt idx="1061">
                  <c:v>9.0570000000000004</c:v>
                </c:pt>
                <c:pt idx="1062">
                  <c:v>2.3319999999999999</c:v>
                </c:pt>
                <c:pt idx="1063">
                  <c:v>0.9</c:v>
                </c:pt>
                <c:pt idx="1064">
                  <c:v>2.3519999999999999</c:v>
                </c:pt>
                <c:pt idx="1065">
                  <c:v>1.506</c:v>
                </c:pt>
                <c:pt idx="1066">
                  <c:v>13.516999999999999</c:v>
                </c:pt>
                <c:pt idx="1067">
                  <c:v>3.1480000000000001</c:v>
                </c:pt>
                <c:pt idx="1068">
                  <c:v>5.226</c:v>
                </c:pt>
                <c:pt idx="1069">
                  <c:v>1.3340000000000001</c:v>
                </c:pt>
                <c:pt idx="1070">
                  <c:v>9.173</c:v>
                </c:pt>
                <c:pt idx="1071">
                  <c:v>4.8380000000000001</c:v>
                </c:pt>
                <c:pt idx="1072">
                  <c:v>4.0289999999999999</c:v>
                </c:pt>
                <c:pt idx="1073">
                  <c:v>10.412000000000001</c:v>
                </c:pt>
                <c:pt idx="1074">
                  <c:v>5.0419999999999998</c:v>
                </c:pt>
                <c:pt idx="1075">
                  <c:v>3.7120000000000002</c:v>
                </c:pt>
                <c:pt idx="1076">
                  <c:v>0.6</c:v>
                </c:pt>
                <c:pt idx="1077">
                  <c:v>4.3499999999999996</c:v>
                </c:pt>
                <c:pt idx="1078">
                  <c:v>6.4240000000000004</c:v>
                </c:pt>
                <c:pt idx="1079">
                  <c:v>9.4789999999999992</c:v>
                </c:pt>
                <c:pt idx="1080">
                  <c:v>5.1349999999999998</c:v>
                </c:pt>
                <c:pt idx="1081">
                  <c:v>13.51</c:v>
                </c:pt>
                <c:pt idx="1082">
                  <c:v>19.677</c:v>
                </c:pt>
                <c:pt idx="1083">
                  <c:v>17.436</c:v>
                </c:pt>
                <c:pt idx="1084">
                  <c:v>17.431000000000001</c:v>
                </c:pt>
                <c:pt idx="1085">
                  <c:v>9.99</c:v>
                </c:pt>
                <c:pt idx="1086">
                  <c:v>11.302</c:v>
                </c:pt>
                <c:pt idx="1087">
                  <c:v>7.9740000000000002</c:v>
                </c:pt>
                <c:pt idx="1088">
                  <c:v>17.956</c:v>
                </c:pt>
                <c:pt idx="1089">
                  <c:v>26.786999999999999</c:v>
                </c:pt>
                <c:pt idx="1090">
                  <c:v>24.600999999999999</c:v>
                </c:pt>
                <c:pt idx="1091">
                  <c:v>16.338999999999999</c:v>
                </c:pt>
                <c:pt idx="1092">
                  <c:v>12.52</c:v>
                </c:pt>
                <c:pt idx="1093">
                  <c:v>39.646000000000001</c:v>
                </c:pt>
                <c:pt idx="1094">
                  <c:v>25.61</c:v>
                </c:pt>
                <c:pt idx="1095">
                  <c:v>40.771999999999998</c:v>
                </c:pt>
                <c:pt idx="1096">
                  <c:v>27.36</c:v>
                </c:pt>
                <c:pt idx="1097">
                  <c:v>11.554</c:v>
                </c:pt>
                <c:pt idx="1098">
                  <c:v>3.8980000000000001</c:v>
                </c:pt>
                <c:pt idx="1099">
                  <c:v>39.277999999999999</c:v>
                </c:pt>
                <c:pt idx="1100">
                  <c:v>17.266999999999999</c:v>
                </c:pt>
                <c:pt idx="1101">
                  <c:v>20.251000000000001</c:v>
                </c:pt>
                <c:pt idx="1102">
                  <c:v>29.440999999999999</c:v>
                </c:pt>
                <c:pt idx="1103">
                  <c:v>22.452000000000002</c:v>
                </c:pt>
                <c:pt idx="1104">
                  <c:v>9.9250000000000007</c:v>
                </c:pt>
                <c:pt idx="1105">
                  <c:v>10.499000000000001</c:v>
                </c:pt>
                <c:pt idx="1106">
                  <c:v>22.616</c:v>
                </c:pt>
                <c:pt idx="1107">
                  <c:v>14.912000000000001</c:v>
                </c:pt>
                <c:pt idx="1108">
                  <c:v>11.04</c:v>
                </c:pt>
                <c:pt idx="1109">
                  <c:v>21.806000000000001</c:v>
                </c:pt>
                <c:pt idx="1110">
                  <c:v>11.683999999999999</c:v>
                </c:pt>
                <c:pt idx="1111">
                  <c:v>6.484</c:v>
                </c:pt>
                <c:pt idx="1112">
                  <c:v>4.9089999999999998</c:v>
                </c:pt>
                <c:pt idx="1113">
                  <c:v>0.193</c:v>
                </c:pt>
                <c:pt idx="1114">
                  <c:v>4.194</c:v>
                </c:pt>
                <c:pt idx="1115">
                  <c:v>0.48</c:v>
                </c:pt>
                <c:pt idx="1116">
                  <c:v>0</c:v>
                </c:pt>
                <c:pt idx="1117">
                  <c:v>0.4</c:v>
                </c:pt>
                <c:pt idx="1118">
                  <c:v>0</c:v>
                </c:pt>
                <c:pt idx="1119">
                  <c:v>10.91</c:v>
                </c:pt>
                <c:pt idx="1120">
                  <c:v>6.1740000000000004</c:v>
                </c:pt>
                <c:pt idx="1121">
                  <c:v>12.057</c:v>
                </c:pt>
                <c:pt idx="1122">
                  <c:v>2.0499999999999998</c:v>
                </c:pt>
                <c:pt idx="1123">
                  <c:v>8.5619999999999994</c:v>
                </c:pt>
                <c:pt idx="1124">
                  <c:v>16.398</c:v>
                </c:pt>
                <c:pt idx="1125">
                  <c:v>8.35</c:v>
                </c:pt>
                <c:pt idx="1126">
                  <c:v>1.3220000000000001</c:v>
                </c:pt>
                <c:pt idx="1127">
                  <c:v>0</c:v>
                </c:pt>
                <c:pt idx="1128">
                  <c:v>4.1859999999999999</c:v>
                </c:pt>
                <c:pt idx="1129">
                  <c:v>14.629</c:v>
                </c:pt>
                <c:pt idx="1130">
                  <c:v>3.2490000000000001</c:v>
                </c:pt>
                <c:pt idx="1131">
                  <c:v>3.7</c:v>
                </c:pt>
                <c:pt idx="1132">
                  <c:v>0</c:v>
                </c:pt>
                <c:pt idx="1133">
                  <c:v>1.907</c:v>
                </c:pt>
                <c:pt idx="1134">
                  <c:v>12.061</c:v>
                </c:pt>
                <c:pt idx="1135">
                  <c:v>2.9860000000000002</c:v>
                </c:pt>
                <c:pt idx="1136">
                  <c:v>6.351</c:v>
                </c:pt>
                <c:pt idx="1137">
                  <c:v>12.285</c:v>
                </c:pt>
                <c:pt idx="1138">
                  <c:v>13.601000000000001</c:v>
                </c:pt>
                <c:pt idx="1139">
                  <c:v>2.4500000000000002</c:v>
                </c:pt>
                <c:pt idx="1140">
                  <c:v>4.7140000000000004</c:v>
                </c:pt>
                <c:pt idx="1141">
                  <c:v>3.8639999999999999</c:v>
                </c:pt>
                <c:pt idx="1142">
                  <c:v>12.305999999999999</c:v>
                </c:pt>
                <c:pt idx="1143">
                  <c:v>26.102</c:v>
                </c:pt>
                <c:pt idx="1144">
                  <c:v>25.023</c:v>
                </c:pt>
                <c:pt idx="1145">
                  <c:v>18.776</c:v>
                </c:pt>
                <c:pt idx="1146">
                  <c:v>22.341999999999999</c:v>
                </c:pt>
                <c:pt idx="1147">
                  <c:v>14.089</c:v>
                </c:pt>
                <c:pt idx="1148">
                  <c:v>2.508</c:v>
                </c:pt>
                <c:pt idx="1149">
                  <c:v>23.722000000000001</c:v>
                </c:pt>
                <c:pt idx="1150">
                  <c:v>13.198</c:v>
                </c:pt>
                <c:pt idx="1151">
                  <c:v>12.584</c:v>
                </c:pt>
                <c:pt idx="1152">
                  <c:v>9.9830000000000005</c:v>
                </c:pt>
                <c:pt idx="1153">
                  <c:v>0.84399999999999997</c:v>
                </c:pt>
                <c:pt idx="1154">
                  <c:v>5.7</c:v>
                </c:pt>
                <c:pt idx="1155">
                  <c:v>0</c:v>
                </c:pt>
                <c:pt idx="1156">
                  <c:v>0.97</c:v>
                </c:pt>
                <c:pt idx="1157">
                  <c:v>12.144</c:v>
                </c:pt>
                <c:pt idx="1158">
                  <c:v>4.367</c:v>
                </c:pt>
                <c:pt idx="1159">
                  <c:v>3.05</c:v>
                </c:pt>
                <c:pt idx="1160">
                  <c:v>0.28499999999999998</c:v>
                </c:pt>
                <c:pt idx="1161">
                  <c:v>14.557</c:v>
                </c:pt>
                <c:pt idx="1162">
                  <c:v>0.1</c:v>
                </c:pt>
                <c:pt idx="1163">
                  <c:v>32.286000000000001</c:v>
                </c:pt>
                <c:pt idx="1164">
                  <c:v>8.5660000000000007</c:v>
                </c:pt>
                <c:pt idx="1165">
                  <c:v>10.763999999999999</c:v>
                </c:pt>
                <c:pt idx="1166">
                  <c:v>16.167000000000002</c:v>
                </c:pt>
                <c:pt idx="1167">
                  <c:v>33.359000000000002</c:v>
                </c:pt>
                <c:pt idx="1168">
                  <c:v>9.4429999999999996</c:v>
                </c:pt>
                <c:pt idx="1169">
                  <c:v>25.186</c:v>
                </c:pt>
                <c:pt idx="1170">
                  <c:v>17.893000000000001</c:v>
                </c:pt>
                <c:pt idx="1171">
                  <c:v>16.684000000000001</c:v>
                </c:pt>
                <c:pt idx="1172">
                  <c:v>25.146000000000001</c:v>
                </c:pt>
                <c:pt idx="1173">
                  <c:v>20.523</c:v>
                </c:pt>
                <c:pt idx="1174">
                  <c:v>14.013999999999999</c:v>
                </c:pt>
                <c:pt idx="1175">
                  <c:v>18.032</c:v>
                </c:pt>
                <c:pt idx="1176">
                  <c:v>14.404</c:v>
                </c:pt>
                <c:pt idx="1177">
                  <c:v>30.16</c:v>
                </c:pt>
                <c:pt idx="1178">
                  <c:v>22.152999999999999</c:v>
                </c:pt>
                <c:pt idx="1179">
                  <c:v>29.725999999999999</c:v>
                </c:pt>
                <c:pt idx="1180">
                  <c:v>26.850999999999999</c:v>
                </c:pt>
                <c:pt idx="1181">
                  <c:v>8.89</c:v>
                </c:pt>
                <c:pt idx="1182">
                  <c:v>10.065</c:v>
                </c:pt>
                <c:pt idx="1183">
                  <c:v>8.2430000000000003</c:v>
                </c:pt>
                <c:pt idx="1184">
                  <c:v>20.254999999999999</c:v>
                </c:pt>
                <c:pt idx="1185">
                  <c:v>21.905000000000001</c:v>
                </c:pt>
                <c:pt idx="1186">
                  <c:v>2.1589999999999998</c:v>
                </c:pt>
                <c:pt idx="1187">
                  <c:v>3.8279999999999998</c:v>
                </c:pt>
                <c:pt idx="1188">
                  <c:v>3.165</c:v>
                </c:pt>
                <c:pt idx="1189">
                  <c:v>0.54400000000000004</c:v>
                </c:pt>
                <c:pt idx="1190">
                  <c:v>1.482</c:v>
                </c:pt>
                <c:pt idx="1191">
                  <c:v>4.6289999999999996</c:v>
                </c:pt>
                <c:pt idx="1192">
                  <c:v>7.1520000000000001</c:v>
                </c:pt>
                <c:pt idx="1193">
                  <c:v>5.3520000000000003</c:v>
                </c:pt>
                <c:pt idx="1194">
                  <c:v>7.7919999999999998</c:v>
                </c:pt>
                <c:pt idx="1195">
                  <c:v>9.4320000000000004</c:v>
                </c:pt>
                <c:pt idx="1196">
                  <c:v>5.52</c:v>
                </c:pt>
                <c:pt idx="1197">
                  <c:v>33.542999999999999</c:v>
                </c:pt>
                <c:pt idx="1198">
                  <c:v>6.9240000000000004</c:v>
                </c:pt>
                <c:pt idx="1199">
                  <c:v>0</c:v>
                </c:pt>
                <c:pt idx="1200">
                  <c:v>11.38</c:v>
                </c:pt>
                <c:pt idx="1201">
                  <c:v>16.670999999999999</c:v>
                </c:pt>
                <c:pt idx="1202">
                  <c:v>7.5469999999999997</c:v>
                </c:pt>
                <c:pt idx="1203">
                  <c:v>17.576000000000001</c:v>
                </c:pt>
                <c:pt idx="1204">
                  <c:v>13.375999999999999</c:v>
                </c:pt>
                <c:pt idx="1205">
                  <c:v>20.93</c:v>
                </c:pt>
                <c:pt idx="1206">
                  <c:v>18.933</c:v>
                </c:pt>
                <c:pt idx="1207">
                  <c:v>28.981999999999999</c:v>
                </c:pt>
                <c:pt idx="1208">
                  <c:v>19.077000000000002</c:v>
                </c:pt>
                <c:pt idx="1209">
                  <c:v>2.7650000000000001</c:v>
                </c:pt>
                <c:pt idx="1210">
                  <c:v>52.908000000000001</c:v>
                </c:pt>
                <c:pt idx="1211">
                  <c:v>26.088000000000001</c:v>
                </c:pt>
                <c:pt idx="1212">
                  <c:v>0.153</c:v>
                </c:pt>
                <c:pt idx="1213">
                  <c:v>7.9669999999999996</c:v>
                </c:pt>
                <c:pt idx="1214">
                  <c:v>13.398999999999999</c:v>
                </c:pt>
                <c:pt idx="1215">
                  <c:v>4.2779999999999996</c:v>
                </c:pt>
                <c:pt idx="1216">
                  <c:v>14.217000000000001</c:v>
                </c:pt>
                <c:pt idx="1217">
                  <c:v>6.766</c:v>
                </c:pt>
                <c:pt idx="1218">
                  <c:v>21.981999999999999</c:v>
                </c:pt>
                <c:pt idx="1219">
                  <c:v>13.109</c:v>
                </c:pt>
                <c:pt idx="1220">
                  <c:v>41.802999999999997</c:v>
                </c:pt>
                <c:pt idx="1221">
                  <c:v>5.5069999999999997</c:v>
                </c:pt>
                <c:pt idx="1222">
                  <c:v>12.548999999999999</c:v>
                </c:pt>
                <c:pt idx="1223">
                  <c:v>0</c:v>
                </c:pt>
                <c:pt idx="1224">
                  <c:v>0</c:v>
                </c:pt>
                <c:pt idx="1225">
                  <c:v>0</c:v>
                </c:pt>
                <c:pt idx="1226">
                  <c:v>0.39500000000000002</c:v>
                </c:pt>
                <c:pt idx="1227">
                  <c:v>3.2109999999999999</c:v>
                </c:pt>
                <c:pt idx="1228">
                  <c:v>65.012</c:v>
                </c:pt>
                <c:pt idx="1229">
                  <c:v>62.345999999999997</c:v>
                </c:pt>
                <c:pt idx="1230">
                  <c:v>36.200000000000003</c:v>
                </c:pt>
                <c:pt idx="1231">
                  <c:v>33.887999999999998</c:v>
                </c:pt>
                <c:pt idx="1232">
                  <c:v>15.08</c:v>
                </c:pt>
                <c:pt idx="1233">
                  <c:v>32.173999999999999</c:v>
                </c:pt>
                <c:pt idx="1234">
                  <c:v>30.768000000000001</c:v>
                </c:pt>
                <c:pt idx="1235">
                  <c:v>47.743000000000002</c:v>
                </c:pt>
                <c:pt idx="1236">
                  <c:v>38.594999999999999</c:v>
                </c:pt>
                <c:pt idx="1237">
                  <c:v>43.62</c:v>
                </c:pt>
                <c:pt idx="1238">
                  <c:v>19.780999999999999</c:v>
                </c:pt>
                <c:pt idx="1239">
                  <c:v>27.276</c:v>
                </c:pt>
                <c:pt idx="1240">
                  <c:v>12.394</c:v>
                </c:pt>
                <c:pt idx="1241">
                  <c:v>33.683999999999997</c:v>
                </c:pt>
                <c:pt idx="1242">
                  <c:v>37.366</c:v>
                </c:pt>
                <c:pt idx="1243">
                  <c:v>35.566000000000003</c:v>
                </c:pt>
                <c:pt idx="1244">
                  <c:v>38.962000000000003</c:v>
                </c:pt>
                <c:pt idx="1245">
                  <c:v>40.936</c:v>
                </c:pt>
                <c:pt idx="1246">
                  <c:v>30.547999999999998</c:v>
                </c:pt>
                <c:pt idx="1247">
                  <c:v>53.89</c:v>
                </c:pt>
                <c:pt idx="1248">
                  <c:v>1.2470000000000001</c:v>
                </c:pt>
                <c:pt idx="1249">
                  <c:v>21.957000000000001</c:v>
                </c:pt>
                <c:pt idx="1250">
                  <c:v>5.5490000000000004</c:v>
                </c:pt>
                <c:pt idx="1251">
                  <c:v>8.007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99-43FB-9B00-42D97902B992}"/>
            </c:ext>
          </c:extLst>
        </c:ser>
        <c:ser>
          <c:idx val="0"/>
          <c:order val="2"/>
          <c:tx>
            <c:v>Withdrawal</c:v>
          </c:tx>
          <c:spPr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c:spPr>
          <c:invertIfNegative val="0"/>
          <c:cat>
            <c:numRef>
              <c:f>'DK udtræk og injicering'!$D$4641:$D$5892</c:f>
              <c:numCache>
                <c:formatCode>m/d/yyyy</c:formatCode>
                <c:ptCount val="1252"/>
                <c:pt idx="0">
                  <c:v>43831</c:v>
                </c:pt>
                <c:pt idx="1">
                  <c:v>43832</c:v>
                </c:pt>
                <c:pt idx="2">
                  <c:v>43833</c:v>
                </c:pt>
                <c:pt idx="3">
                  <c:v>43834</c:v>
                </c:pt>
                <c:pt idx="4">
                  <c:v>43835</c:v>
                </c:pt>
                <c:pt idx="5">
                  <c:v>43836</c:v>
                </c:pt>
                <c:pt idx="6">
                  <c:v>43837</c:v>
                </c:pt>
                <c:pt idx="7">
                  <c:v>43838</c:v>
                </c:pt>
                <c:pt idx="8">
                  <c:v>43839</c:v>
                </c:pt>
                <c:pt idx="9">
                  <c:v>43840</c:v>
                </c:pt>
                <c:pt idx="10">
                  <c:v>43841</c:v>
                </c:pt>
                <c:pt idx="11">
                  <c:v>43842</c:v>
                </c:pt>
                <c:pt idx="12">
                  <c:v>43843</c:v>
                </c:pt>
                <c:pt idx="13">
                  <c:v>43844</c:v>
                </c:pt>
                <c:pt idx="14">
                  <c:v>43845</c:v>
                </c:pt>
                <c:pt idx="15">
                  <c:v>43846</c:v>
                </c:pt>
                <c:pt idx="16">
                  <c:v>43847</c:v>
                </c:pt>
                <c:pt idx="17">
                  <c:v>43848</c:v>
                </c:pt>
                <c:pt idx="18">
                  <c:v>43849</c:v>
                </c:pt>
                <c:pt idx="19">
                  <c:v>43850</c:v>
                </c:pt>
                <c:pt idx="20">
                  <c:v>43851</c:v>
                </c:pt>
                <c:pt idx="21">
                  <c:v>43852</c:v>
                </c:pt>
                <c:pt idx="22">
                  <c:v>43853</c:v>
                </c:pt>
                <c:pt idx="23">
                  <c:v>43854</c:v>
                </c:pt>
                <c:pt idx="24">
                  <c:v>43855</c:v>
                </c:pt>
                <c:pt idx="25">
                  <c:v>43856</c:v>
                </c:pt>
                <c:pt idx="26">
                  <c:v>43857</c:v>
                </c:pt>
                <c:pt idx="27">
                  <c:v>43858</c:v>
                </c:pt>
                <c:pt idx="28">
                  <c:v>43859</c:v>
                </c:pt>
                <c:pt idx="29">
                  <c:v>43860</c:v>
                </c:pt>
                <c:pt idx="30">
                  <c:v>43861</c:v>
                </c:pt>
                <c:pt idx="31">
                  <c:v>43862</c:v>
                </c:pt>
                <c:pt idx="32">
                  <c:v>43863</c:v>
                </c:pt>
                <c:pt idx="33">
                  <c:v>43864</c:v>
                </c:pt>
                <c:pt idx="34">
                  <c:v>43865</c:v>
                </c:pt>
                <c:pt idx="35">
                  <c:v>43866</c:v>
                </c:pt>
                <c:pt idx="36">
                  <c:v>43867</c:v>
                </c:pt>
                <c:pt idx="37">
                  <c:v>43868</c:v>
                </c:pt>
                <c:pt idx="38">
                  <c:v>43869</c:v>
                </c:pt>
                <c:pt idx="39">
                  <c:v>43870</c:v>
                </c:pt>
                <c:pt idx="40">
                  <c:v>43871</c:v>
                </c:pt>
                <c:pt idx="41">
                  <c:v>43872</c:v>
                </c:pt>
                <c:pt idx="42">
                  <c:v>43873</c:v>
                </c:pt>
                <c:pt idx="43">
                  <c:v>43874</c:v>
                </c:pt>
                <c:pt idx="44">
                  <c:v>43875</c:v>
                </c:pt>
                <c:pt idx="45">
                  <c:v>43876</c:v>
                </c:pt>
                <c:pt idx="46">
                  <c:v>43877</c:v>
                </c:pt>
                <c:pt idx="47">
                  <c:v>43878</c:v>
                </c:pt>
                <c:pt idx="48">
                  <c:v>43879</c:v>
                </c:pt>
                <c:pt idx="49">
                  <c:v>43880</c:v>
                </c:pt>
                <c:pt idx="50">
                  <c:v>43881</c:v>
                </c:pt>
                <c:pt idx="51">
                  <c:v>43882</c:v>
                </c:pt>
                <c:pt idx="52">
                  <c:v>43883</c:v>
                </c:pt>
                <c:pt idx="53">
                  <c:v>43884</c:v>
                </c:pt>
                <c:pt idx="54">
                  <c:v>43885</c:v>
                </c:pt>
                <c:pt idx="55">
                  <c:v>43886</c:v>
                </c:pt>
                <c:pt idx="56">
                  <c:v>43887</c:v>
                </c:pt>
                <c:pt idx="57">
                  <c:v>43888</c:v>
                </c:pt>
                <c:pt idx="58">
                  <c:v>43889</c:v>
                </c:pt>
                <c:pt idx="59">
                  <c:v>43890</c:v>
                </c:pt>
                <c:pt idx="60">
                  <c:v>43891</c:v>
                </c:pt>
                <c:pt idx="61">
                  <c:v>43892</c:v>
                </c:pt>
                <c:pt idx="62">
                  <c:v>43893</c:v>
                </c:pt>
                <c:pt idx="63">
                  <c:v>43894</c:v>
                </c:pt>
                <c:pt idx="64">
                  <c:v>43895</c:v>
                </c:pt>
                <c:pt idx="65">
                  <c:v>43896</c:v>
                </c:pt>
                <c:pt idx="66">
                  <c:v>43897</c:v>
                </c:pt>
                <c:pt idx="67">
                  <c:v>43898</c:v>
                </c:pt>
                <c:pt idx="68">
                  <c:v>43899</c:v>
                </c:pt>
                <c:pt idx="69">
                  <c:v>43900</c:v>
                </c:pt>
                <c:pt idx="70">
                  <c:v>43901</c:v>
                </c:pt>
                <c:pt idx="71">
                  <c:v>43902</c:v>
                </c:pt>
                <c:pt idx="72">
                  <c:v>43903</c:v>
                </c:pt>
                <c:pt idx="73">
                  <c:v>43904</c:v>
                </c:pt>
                <c:pt idx="74">
                  <c:v>43905</c:v>
                </c:pt>
                <c:pt idx="75">
                  <c:v>43906</c:v>
                </c:pt>
                <c:pt idx="76">
                  <c:v>43907</c:v>
                </c:pt>
                <c:pt idx="77">
                  <c:v>43908</c:v>
                </c:pt>
                <c:pt idx="78">
                  <c:v>43909</c:v>
                </c:pt>
                <c:pt idx="79">
                  <c:v>43910</c:v>
                </c:pt>
                <c:pt idx="80">
                  <c:v>43911</c:v>
                </c:pt>
                <c:pt idx="81">
                  <c:v>43912</c:v>
                </c:pt>
                <c:pt idx="82">
                  <c:v>43913</c:v>
                </c:pt>
                <c:pt idx="83">
                  <c:v>43914</c:v>
                </c:pt>
                <c:pt idx="84">
                  <c:v>43915</c:v>
                </c:pt>
                <c:pt idx="85">
                  <c:v>43916</c:v>
                </c:pt>
                <c:pt idx="86">
                  <c:v>43917</c:v>
                </c:pt>
                <c:pt idx="87">
                  <c:v>43918</c:v>
                </c:pt>
                <c:pt idx="88">
                  <c:v>43919</c:v>
                </c:pt>
                <c:pt idx="89">
                  <c:v>43920</c:v>
                </c:pt>
                <c:pt idx="90">
                  <c:v>43921</c:v>
                </c:pt>
                <c:pt idx="91">
                  <c:v>43922</c:v>
                </c:pt>
                <c:pt idx="92">
                  <c:v>43923</c:v>
                </c:pt>
                <c:pt idx="93">
                  <c:v>43924</c:v>
                </c:pt>
                <c:pt idx="94">
                  <c:v>43925</c:v>
                </c:pt>
                <c:pt idx="95">
                  <c:v>43926</c:v>
                </c:pt>
                <c:pt idx="96">
                  <c:v>43927</c:v>
                </c:pt>
                <c:pt idx="97">
                  <c:v>43928</c:v>
                </c:pt>
                <c:pt idx="98">
                  <c:v>43929</c:v>
                </c:pt>
                <c:pt idx="99">
                  <c:v>43930</c:v>
                </c:pt>
                <c:pt idx="100">
                  <c:v>43931</c:v>
                </c:pt>
                <c:pt idx="101">
                  <c:v>43932</c:v>
                </c:pt>
                <c:pt idx="102">
                  <c:v>43933</c:v>
                </c:pt>
                <c:pt idx="103">
                  <c:v>43934</c:v>
                </c:pt>
                <c:pt idx="104">
                  <c:v>43935</c:v>
                </c:pt>
                <c:pt idx="105">
                  <c:v>43936</c:v>
                </c:pt>
                <c:pt idx="106">
                  <c:v>43937</c:v>
                </c:pt>
                <c:pt idx="107">
                  <c:v>43938</c:v>
                </c:pt>
                <c:pt idx="108">
                  <c:v>43939</c:v>
                </c:pt>
                <c:pt idx="109">
                  <c:v>43940</c:v>
                </c:pt>
                <c:pt idx="110">
                  <c:v>43941</c:v>
                </c:pt>
                <c:pt idx="111">
                  <c:v>43942</c:v>
                </c:pt>
                <c:pt idx="112">
                  <c:v>43943</c:v>
                </c:pt>
                <c:pt idx="113">
                  <c:v>43944</c:v>
                </c:pt>
                <c:pt idx="114">
                  <c:v>43945</c:v>
                </c:pt>
                <c:pt idx="115">
                  <c:v>43946</c:v>
                </c:pt>
                <c:pt idx="116">
                  <c:v>43947</c:v>
                </c:pt>
                <c:pt idx="117">
                  <c:v>43948</c:v>
                </c:pt>
                <c:pt idx="118">
                  <c:v>43949</c:v>
                </c:pt>
                <c:pt idx="119">
                  <c:v>43950</c:v>
                </c:pt>
                <c:pt idx="120">
                  <c:v>43951</c:v>
                </c:pt>
                <c:pt idx="121">
                  <c:v>43952</c:v>
                </c:pt>
                <c:pt idx="122">
                  <c:v>43953</c:v>
                </c:pt>
                <c:pt idx="123">
                  <c:v>43954</c:v>
                </c:pt>
                <c:pt idx="124">
                  <c:v>43955</c:v>
                </c:pt>
                <c:pt idx="125">
                  <c:v>43956</c:v>
                </c:pt>
                <c:pt idx="126">
                  <c:v>43957</c:v>
                </c:pt>
                <c:pt idx="127">
                  <c:v>43958</c:v>
                </c:pt>
                <c:pt idx="128">
                  <c:v>43959</c:v>
                </c:pt>
                <c:pt idx="129">
                  <c:v>43960</c:v>
                </c:pt>
                <c:pt idx="130">
                  <c:v>43961</c:v>
                </c:pt>
                <c:pt idx="131">
                  <c:v>43962</c:v>
                </c:pt>
                <c:pt idx="132">
                  <c:v>43963</c:v>
                </c:pt>
                <c:pt idx="133">
                  <c:v>43964</c:v>
                </c:pt>
                <c:pt idx="134">
                  <c:v>43965</c:v>
                </c:pt>
                <c:pt idx="135">
                  <c:v>43966</c:v>
                </c:pt>
                <c:pt idx="136">
                  <c:v>43967</c:v>
                </c:pt>
                <c:pt idx="137">
                  <c:v>43968</c:v>
                </c:pt>
                <c:pt idx="138">
                  <c:v>43969</c:v>
                </c:pt>
                <c:pt idx="139">
                  <c:v>43970</c:v>
                </c:pt>
                <c:pt idx="140">
                  <c:v>43971</c:v>
                </c:pt>
                <c:pt idx="141">
                  <c:v>43972</c:v>
                </c:pt>
                <c:pt idx="142">
                  <c:v>43973</c:v>
                </c:pt>
                <c:pt idx="143">
                  <c:v>43974</c:v>
                </c:pt>
                <c:pt idx="144">
                  <c:v>43975</c:v>
                </c:pt>
                <c:pt idx="145">
                  <c:v>43976</c:v>
                </c:pt>
                <c:pt idx="146">
                  <c:v>43977</c:v>
                </c:pt>
                <c:pt idx="147">
                  <c:v>43978</c:v>
                </c:pt>
                <c:pt idx="148">
                  <c:v>43979</c:v>
                </c:pt>
                <c:pt idx="149">
                  <c:v>43980</c:v>
                </c:pt>
                <c:pt idx="150">
                  <c:v>43981</c:v>
                </c:pt>
                <c:pt idx="151">
                  <c:v>43982</c:v>
                </c:pt>
                <c:pt idx="152">
                  <c:v>43983</c:v>
                </c:pt>
                <c:pt idx="153">
                  <c:v>43984</c:v>
                </c:pt>
                <c:pt idx="154">
                  <c:v>43985</c:v>
                </c:pt>
                <c:pt idx="155">
                  <c:v>43986</c:v>
                </c:pt>
                <c:pt idx="156">
                  <c:v>43987</c:v>
                </c:pt>
                <c:pt idx="157">
                  <c:v>43988</c:v>
                </c:pt>
                <c:pt idx="158">
                  <c:v>43989</c:v>
                </c:pt>
                <c:pt idx="159">
                  <c:v>43990</c:v>
                </c:pt>
                <c:pt idx="160">
                  <c:v>43991</c:v>
                </c:pt>
                <c:pt idx="161">
                  <c:v>43992</c:v>
                </c:pt>
                <c:pt idx="162">
                  <c:v>43993</c:v>
                </c:pt>
                <c:pt idx="163">
                  <c:v>43994</c:v>
                </c:pt>
                <c:pt idx="164">
                  <c:v>43995</c:v>
                </c:pt>
                <c:pt idx="165">
                  <c:v>43996</c:v>
                </c:pt>
                <c:pt idx="166">
                  <c:v>43997</c:v>
                </c:pt>
                <c:pt idx="167">
                  <c:v>43998</c:v>
                </c:pt>
                <c:pt idx="168">
                  <c:v>43999</c:v>
                </c:pt>
                <c:pt idx="169">
                  <c:v>44000</c:v>
                </c:pt>
                <c:pt idx="170">
                  <c:v>44001</c:v>
                </c:pt>
                <c:pt idx="171">
                  <c:v>44002</c:v>
                </c:pt>
                <c:pt idx="172">
                  <c:v>44003</c:v>
                </c:pt>
                <c:pt idx="173">
                  <c:v>44004</c:v>
                </c:pt>
                <c:pt idx="174">
                  <c:v>44005</c:v>
                </c:pt>
                <c:pt idx="175">
                  <c:v>44006</c:v>
                </c:pt>
                <c:pt idx="176">
                  <c:v>44007</c:v>
                </c:pt>
                <c:pt idx="177">
                  <c:v>44008</c:v>
                </c:pt>
                <c:pt idx="178">
                  <c:v>44009</c:v>
                </c:pt>
                <c:pt idx="179">
                  <c:v>44010</c:v>
                </c:pt>
                <c:pt idx="180">
                  <c:v>44011</c:v>
                </c:pt>
                <c:pt idx="181">
                  <c:v>44012</c:v>
                </c:pt>
                <c:pt idx="182">
                  <c:v>44013</c:v>
                </c:pt>
                <c:pt idx="183">
                  <c:v>44014</c:v>
                </c:pt>
                <c:pt idx="184">
                  <c:v>44015</c:v>
                </c:pt>
                <c:pt idx="185">
                  <c:v>44016</c:v>
                </c:pt>
                <c:pt idx="186">
                  <c:v>44017</c:v>
                </c:pt>
                <c:pt idx="187">
                  <c:v>44018</c:v>
                </c:pt>
                <c:pt idx="188">
                  <c:v>44019</c:v>
                </c:pt>
                <c:pt idx="189">
                  <c:v>44020</c:v>
                </c:pt>
                <c:pt idx="190">
                  <c:v>44021</c:v>
                </c:pt>
                <c:pt idx="191">
                  <c:v>44022</c:v>
                </c:pt>
                <c:pt idx="192">
                  <c:v>44023</c:v>
                </c:pt>
                <c:pt idx="193">
                  <c:v>44024</c:v>
                </c:pt>
                <c:pt idx="194">
                  <c:v>44025</c:v>
                </c:pt>
                <c:pt idx="195">
                  <c:v>44026</c:v>
                </c:pt>
                <c:pt idx="196">
                  <c:v>44027</c:v>
                </c:pt>
                <c:pt idx="197">
                  <c:v>44028</c:v>
                </c:pt>
                <c:pt idx="198">
                  <c:v>44029</c:v>
                </c:pt>
                <c:pt idx="199">
                  <c:v>44030</c:v>
                </c:pt>
                <c:pt idx="200">
                  <c:v>44031</c:v>
                </c:pt>
                <c:pt idx="201">
                  <c:v>44032</c:v>
                </c:pt>
                <c:pt idx="202">
                  <c:v>44033</c:v>
                </c:pt>
                <c:pt idx="203">
                  <c:v>44034</c:v>
                </c:pt>
                <c:pt idx="204">
                  <c:v>44035</c:v>
                </c:pt>
                <c:pt idx="205">
                  <c:v>44036</c:v>
                </c:pt>
                <c:pt idx="206">
                  <c:v>44037</c:v>
                </c:pt>
                <c:pt idx="207">
                  <c:v>44038</c:v>
                </c:pt>
                <c:pt idx="208">
                  <c:v>44039</c:v>
                </c:pt>
                <c:pt idx="209">
                  <c:v>44040</c:v>
                </c:pt>
                <c:pt idx="210">
                  <c:v>44041</c:v>
                </c:pt>
                <c:pt idx="211">
                  <c:v>44042</c:v>
                </c:pt>
                <c:pt idx="212">
                  <c:v>44043</c:v>
                </c:pt>
                <c:pt idx="213">
                  <c:v>44044</c:v>
                </c:pt>
                <c:pt idx="214">
                  <c:v>44045</c:v>
                </c:pt>
                <c:pt idx="215">
                  <c:v>44046</c:v>
                </c:pt>
                <c:pt idx="216">
                  <c:v>44047</c:v>
                </c:pt>
                <c:pt idx="217">
                  <c:v>44048</c:v>
                </c:pt>
                <c:pt idx="218">
                  <c:v>44049</c:v>
                </c:pt>
                <c:pt idx="219">
                  <c:v>44050</c:v>
                </c:pt>
                <c:pt idx="220">
                  <c:v>44051</c:v>
                </c:pt>
                <c:pt idx="221">
                  <c:v>44052</c:v>
                </c:pt>
                <c:pt idx="222">
                  <c:v>44053</c:v>
                </c:pt>
                <c:pt idx="223">
                  <c:v>44054</c:v>
                </c:pt>
                <c:pt idx="224">
                  <c:v>44055</c:v>
                </c:pt>
                <c:pt idx="225">
                  <c:v>44056</c:v>
                </c:pt>
                <c:pt idx="226">
                  <c:v>44057</c:v>
                </c:pt>
                <c:pt idx="227">
                  <c:v>44058</c:v>
                </c:pt>
                <c:pt idx="228">
                  <c:v>44059</c:v>
                </c:pt>
                <c:pt idx="229">
                  <c:v>44060</c:v>
                </c:pt>
                <c:pt idx="230">
                  <c:v>44061</c:v>
                </c:pt>
                <c:pt idx="231">
                  <c:v>44062</c:v>
                </c:pt>
                <c:pt idx="232">
                  <c:v>44063</c:v>
                </c:pt>
                <c:pt idx="233">
                  <c:v>44064</c:v>
                </c:pt>
                <c:pt idx="234">
                  <c:v>44065</c:v>
                </c:pt>
                <c:pt idx="235">
                  <c:v>44066</c:v>
                </c:pt>
                <c:pt idx="236">
                  <c:v>44067</c:v>
                </c:pt>
                <c:pt idx="237">
                  <c:v>44068</c:v>
                </c:pt>
                <c:pt idx="238">
                  <c:v>44069</c:v>
                </c:pt>
                <c:pt idx="239">
                  <c:v>44070</c:v>
                </c:pt>
                <c:pt idx="240">
                  <c:v>44071</c:v>
                </c:pt>
                <c:pt idx="241">
                  <c:v>44072</c:v>
                </c:pt>
                <c:pt idx="242">
                  <c:v>44073</c:v>
                </c:pt>
                <c:pt idx="243">
                  <c:v>44074</c:v>
                </c:pt>
                <c:pt idx="244">
                  <c:v>44075</c:v>
                </c:pt>
                <c:pt idx="245">
                  <c:v>44076</c:v>
                </c:pt>
                <c:pt idx="246">
                  <c:v>44077</c:v>
                </c:pt>
                <c:pt idx="247">
                  <c:v>44078</c:v>
                </c:pt>
                <c:pt idx="248">
                  <c:v>44079</c:v>
                </c:pt>
                <c:pt idx="249">
                  <c:v>44080</c:v>
                </c:pt>
                <c:pt idx="250">
                  <c:v>44081</c:v>
                </c:pt>
                <c:pt idx="251">
                  <c:v>44082</c:v>
                </c:pt>
                <c:pt idx="252">
                  <c:v>44083</c:v>
                </c:pt>
                <c:pt idx="253">
                  <c:v>44084</c:v>
                </c:pt>
                <c:pt idx="254">
                  <c:v>44085</c:v>
                </c:pt>
                <c:pt idx="255">
                  <c:v>44086</c:v>
                </c:pt>
                <c:pt idx="256">
                  <c:v>44087</c:v>
                </c:pt>
                <c:pt idx="257">
                  <c:v>44088</c:v>
                </c:pt>
                <c:pt idx="258">
                  <c:v>44089</c:v>
                </c:pt>
                <c:pt idx="259">
                  <c:v>44090</c:v>
                </c:pt>
                <c:pt idx="260">
                  <c:v>44091</c:v>
                </c:pt>
                <c:pt idx="261">
                  <c:v>44092</c:v>
                </c:pt>
                <c:pt idx="262">
                  <c:v>44093</c:v>
                </c:pt>
                <c:pt idx="263">
                  <c:v>44094</c:v>
                </c:pt>
                <c:pt idx="264">
                  <c:v>44095</c:v>
                </c:pt>
                <c:pt idx="265">
                  <c:v>44096</c:v>
                </c:pt>
                <c:pt idx="266">
                  <c:v>44097</c:v>
                </c:pt>
                <c:pt idx="267">
                  <c:v>44098</c:v>
                </c:pt>
                <c:pt idx="268">
                  <c:v>44099</c:v>
                </c:pt>
                <c:pt idx="269">
                  <c:v>44100</c:v>
                </c:pt>
                <c:pt idx="270">
                  <c:v>44101</c:v>
                </c:pt>
                <c:pt idx="271">
                  <c:v>44102</c:v>
                </c:pt>
                <c:pt idx="272">
                  <c:v>44103</c:v>
                </c:pt>
                <c:pt idx="273">
                  <c:v>44104</c:v>
                </c:pt>
                <c:pt idx="274">
                  <c:v>44105</c:v>
                </c:pt>
                <c:pt idx="275">
                  <c:v>44106</c:v>
                </c:pt>
                <c:pt idx="276">
                  <c:v>44107</c:v>
                </c:pt>
                <c:pt idx="277">
                  <c:v>44108</c:v>
                </c:pt>
                <c:pt idx="278">
                  <c:v>44109</c:v>
                </c:pt>
                <c:pt idx="279">
                  <c:v>44110</c:v>
                </c:pt>
                <c:pt idx="280">
                  <c:v>44111</c:v>
                </c:pt>
                <c:pt idx="281">
                  <c:v>44112</c:v>
                </c:pt>
                <c:pt idx="282">
                  <c:v>44113</c:v>
                </c:pt>
                <c:pt idx="283">
                  <c:v>44114</c:v>
                </c:pt>
                <c:pt idx="284">
                  <c:v>44115</c:v>
                </c:pt>
                <c:pt idx="285">
                  <c:v>44116</c:v>
                </c:pt>
                <c:pt idx="286">
                  <c:v>44117</c:v>
                </c:pt>
                <c:pt idx="287">
                  <c:v>44118</c:v>
                </c:pt>
                <c:pt idx="288">
                  <c:v>44119</c:v>
                </c:pt>
                <c:pt idx="289">
                  <c:v>44120</c:v>
                </c:pt>
                <c:pt idx="290">
                  <c:v>44121</c:v>
                </c:pt>
                <c:pt idx="291">
                  <c:v>44122</c:v>
                </c:pt>
                <c:pt idx="292">
                  <c:v>44123</c:v>
                </c:pt>
                <c:pt idx="293">
                  <c:v>44124</c:v>
                </c:pt>
                <c:pt idx="294">
                  <c:v>44125</c:v>
                </c:pt>
                <c:pt idx="295">
                  <c:v>44126</c:v>
                </c:pt>
                <c:pt idx="296">
                  <c:v>44127</c:v>
                </c:pt>
                <c:pt idx="297">
                  <c:v>44128</c:v>
                </c:pt>
                <c:pt idx="298">
                  <c:v>44129</c:v>
                </c:pt>
                <c:pt idx="299">
                  <c:v>44130</c:v>
                </c:pt>
                <c:pt idx="300">
                  <c:v>44131</c:v>
                </c:pt>
                <c:pt idx="301">
                  <c:v>44132</c:v>
                </c:pt>
                <c:pt idx="302">
                  <c:v>44133</c:v>
                </c:pt>
                <c:pt idx="303">
                  <c:v>44134</c:v>
                </c:pt>
                <c:pt idx="304">
                  <c:v>44135</c:v>
                </c:pt>
                <c:pt idx="305">
                  <c:v>44136</c:v>
                </c:pt>
                <c:pt idx="306">
                  <c:v>44137</c:v>
                </c:pt>
                <c:pt idx="307">
                  <c:v>44138</c:v>
                </c:pt>
                <c:pt idx="308">
                  <c:v>44139</c:v>
                </c:pt>
                <c:pt idx="309">
                  <c:v>44140</c:v>
                </c:pt>
                <c:pt idx="310">
                  <c:v>44141</c:v>
                </c:pt>
                <c:pt idx="311">
                  <c:v>44142</c:v>
                </c:pt>
                <c:pt idx="312">
                  <c:v>44143</c:v>
                </c:pt>
                <c:pt idx="313">
                  <c:v>44144</c:v>
                </c:pt>
                <c:pt idx="314">
                  <c:v>44145</c:v>
                </c:pt>
                <c:pt idx="315">
                  <c:v>44146</c:v>
                </c:pt>
                <c:pt idx="316">
                  <c:v>44147</c:v>
                </c:pt>
                <c:pt idx="317">
                  <c:v>44148</c:v>
                </c:pt>
                <c:pt idx="318">
                  <c:v>44149</c:v>
                </c:pt>
                <c:pt idx="319">
                  <c:v>44150</c:v>
                </c:pt>
                <c:pt idx="320">
                  <c:v>44151</c:v>
                </c:pt>
                <c:pt idx="321">
                  <c:v>44152</c:v>
                </c:pt>
                <c:pt idx="322">
                  <c:v>44153</c:v>
                </c:pt>
                <c:pt idx="323">
                  <c:v>44154</c:v>
                </c:pt>
                <c:pt idx="324">
                  <c:v>44155</c:v>
                </c:pt>
                <c:pt idx="325">
                  <c:v>44156</c:v>
                </c:pt>
                <c:pt idx="326">
                  <c:v>44157</c:v>
                </c:pt>
                <c:pt idx="327">
                  <c:v>44158</c:v>
                </c:pt>
                <c:pt idx="328">
                  <c:v>44159</c:v>
                </c:pt>
                <c:pt idx="329">
                  <c:v>44160</c:v>
                </c:pt>
                <c:pt idx="330">
                  <c:v>44161</c:v>
                </c:pt>
                <c:pt idx="331">
                  <c:v>44162</c:v>
                </c:pt>
                <c:pt idx="332">
                  <c:v>44163</c:v>
                </c:pt>
                <c:pt idx="333">
                  <c:v>44164</c:v>
                </c:pt>
                <c:pt idx="334">
                  <c:v>44165</c:v>
                </c:pt>
                <c:pt idx="335">
                  <c:v>44166</c:v>
                </c:pt>
                <c:pt idx="336">
                  <c:v>44167</c:v>
                </c:pt>
                <c:pt idx="337">
                  <c:v>44168</c:v>
                </c:pt>
                <c:pt idx="338">
                  <c:v>44169</c:v>
                </c:pt>
                <c:pt idx="339">
                  <c:v>44170</c:v>
                </c:pt>
                <c:pt idx="340">
                  <c:v>44171</c:v>
                </c:pt>
                <c:pt idx="341">
                  <c:v>44172</c:v>
                </c:pt>
                <c:pt idx="342">
                  <c:v>44173</c:v>
                </c:pt>
                <c:pt idx="343">
                  <c:v>44174</c:v>
                </c:pt>
                <c:pt idx="344">
                  <c:v>44175</c:v>
                </c:pt>
                <c:pt idx="345">
                  <c:v>44176</c:v>
                </c:pt>
                <c:pt idx="346">
                  <c:v>44177</c:v>
                </c:pt>
                <c:pt idx="347">
                  <c:v>44178</c:v>
                </c:pt>
                <c:pt idx="348">
                  <c:v>44179</c:v>
                </c:pt>
                <c:pt idx="349">
                  <c:v>44180</c:v>
                </c:pt>
                <c:pt idx="350">
                  <c:v>44181</c:v>
                </c:pt>
                <c:pt idx="351">
                  <c:v>44182</c:v>
                </c:pt>
                <c:pt idx="352">
                  <c:v>44183</c:v>
                </c:pt>
                <c:pt idx="353">
                  <c:v>44184</c:v>
                </c:pt>
                <c:pt idx="354">
                  <c:v>44185</c:v>
                </c:pt>
                <c:pt idx="355">
                  <c:v>44186</c:v>
                </c:pt>
                <c:pt idx="356">
                  <c:v>44187</c:v>
                </c:pt>
                <c:pt idx="357">
                  <c:v>44188</c:v>
                </c:pt>
                <c:pt idx="358">
                  <c:v>44189</c:v>
                </c:pt>
                <c:pt idx="359">
                  <c:v>44190</c:v>
                </c:pt>
                <c:pt idx="360">
                  <c:v>44191</c:v>
                </c:pt>
                <c:pt idx="361">
                  <c:v>44192</c:v>
                </c:pt>
                <c:pt idx="362">
                  <c:v>44193</c:v>
                </c:pt>
                <c:pt idx="363">
                  <c:v>44194</c:v>
                </c:pt>
                <c:pt idx="364">
                  <c:v>44195</c:v>
                </c:pt>
                <c:pt idx="365">
                  <c:v>44196</c:v>
                </c:pt>
                <c:pt idx="366">
                  <c:v>44197</c:v>
                </c:pt>
                <c:pt idx="367">
                  <c:v>44198</c:v>
                </c:pt>
                <c:pt idx="368">
                  <c:v>44199</c:v>
                </c:pt>
                <c:pt idx="369">
                  <c:v>44200</c:v>
                </c:pt>
                <c:pt idx="370">
                  <c:v>44201</c:v>
                </c:pt>
                <c:pt idx="371">
                  <c:v>44202</c:v>
                </c:pt>
                <c:pt idx="372">
                  <c:v>44203</c:v>
                </c:pt>
                <c:pt idx="373">
                  <c:v>44204</c:v>
                </c:pt>
                <c:pt idx="374">
                  <c:v>44205</c:v>
                </c:pt>
                <c:pt idx="375">
                  <c:v>44206</c:v>
                </c:pt>
                <c:pt idx="376">
                  <c:v>44207</c:v>
                </c:pt>
                <c:pt idx="377">
                  <c:v>44208</c:v>
                </c:pt>
                <c:pt idx="378">
                  <c:v>44209</c:v>
                </c:pt>
                <c:pt idx="379">
                  <c:v>44210</c:v>
                </c:pt>
                <c:pt idx="380">
                  <c:v>44211</c:v>
                </c:pt>
                <c:pt idx="381">
                  <c:v>44212</c:v>
                </c:pt>
                <c:pt idx="382">
                  <c:v>44213</c:v>
                </c:pt>
                <c:pt idx="383">
                  <c:v>44214</c:v>
                </c:pt>
                <c:pt idx="384">
                  <c:v>44215</c:v>
                </c:pt>
                <c:pt idx="385">
                  <c:v>44216</c:v>
                </c:pt>
                <c:pt idx="386">
                  <c:v>44217</c:v>
                </c:pt>
                <c:pt idx="387">
                  <c:v>44218</c:v>
                </c:pt>
                <c:pt idx="388">
                  <c:v>44219</c:v>
                </c:pt>
                <c:pt idx="389">
                  <c:v>44220</c:v>
                </c:pt>
                <c:pt idx="390">
                  <c:v>44221</c:v>
                </c:pt>
                <c:pt idx="391">
                  <c:v>44222</c:v>
                </c:pt>
                <c:pt idx="392">
                  <c:v>44223</c:v>
                </c:pt>
                <c:pt idx="393">
                  <c:v>44224</c:v>
                </c:pt>
                <c:pt idx="394">
                  <c:v>44225</c:v>
                </c:pt>
                <c:pt idx="395">
                  <c:v>44226</c:v>
                </c:pt>
                <c:pt idx="396">
                  <c:v>44227</c:v>
                </c:pt>
                <c:pt idx="397">
                  <c:v>44228</c:v>
                </c:pt>
                <c:pt idx="398">
                  <c:v>44229</c:v>
                </c:pt>
                <c:pt idx="399">
                  <c:v>44230</c:v>
                </c:pt>
                <c:pt idx="400">
                  <c:v>44231</c:v>
                </c:pt>
                <c:pt idx="401">
                  <c:v>44232</c:v>
                </c:pt>
                <c:pt idx="402">
                  <c:v>44233</c:v>
                </c:pt>
                <c:pt idx="403">
                  <c:v>44234</c:v>
                </c:pt>
                <c:pt idx="404">
                  <c:v>44235</c:v>
                </c:pt>
                <c:pt idx="405">
                  <c:v>44236</c:v>
                </c:pt>
                <c:pt idx="406">
                  <c:v>44237</c:v>
                </c:pt>
                <c:pt idx="407">
                  <c:v>44238</c:v>
                </c:pt>
                <c:pt idx="408">
                  <c:v>44239</c:v>
                </c:pt>
                <c:pt idx="409">
                  <c:v>44240</c:v>
                </c:pt>
                <c:pt idx="410">
                  <c:v>44241</c:v>
                </c:pt>
                <c:pt idx="411">
                  <c:v>44242</c:v>
                </c:pt>
                <c:pt idx="412">
                  <c:v>44243</c:v>
                </c:pt>
                <c:pt idx="413">
                  <c:v>44244</c:v>
                </c:pt>
                <c:pt idx="414">
                  <c:v>44245</c:v>
                </c:pt>
                <c:pt idx="415">
                  <c:v>44246</c:v>
                </c:pt>
                <c:pt idx="416">
                  <c:v>44247</c:v>
                </c:pt>
                <c:pt idx="417">
                  <c:v>44248</c:v>
                </c:pt>
                <c:pt idx="418">
                  <c:v>44249</c:v>
                </c:pt>
                <c:pt idx="419">
                  <c:v>44250</c:v>
                </c:pt>
                <c:pt idx="420">
                  <c:v>44251</c:v>
                </c:pt>
                <c:pt idx="421">
                  <c:v>44252</c:v>
                </c:pt>
                <c:pt idx="422">
                  <c:v>44253</c:v>
                </c:pt>
                <c:pt idx="423">
                  <c:v>44254</c:v>
                </c:pt>
                <c:pt idx="424">
                  <c:v>44255</c:v>
                </c:pt>
                <c:pt idx="425">
                  <c:v>44256</c:v>
                </c:pt>
                <c:pt idx="426">
                  <c:v>44257</c:v>
                </c:pt>
                <c:pt idx="427">
                  <c:v>44258</c:v>
                </c:pt>
                <c:pt idx="428">
                  <c:v>44259</c:v>
                </c:pt>
                <c:pt idx="429">
                  <c:v>44260</c:v>
                </c:pt>
                <c:pt idx="430">
                  <c:v>44261</c:v>
                </c:pt>
                <c:pt idx="431">
                  <c:v>44262</c:v>
                </c:pt>
                <c:pt idx="432">
                  <c:v>44263</c:v>
                </c:pt>
                <c:pt idx="433">
                  <c:v>44264</c:v>
                </c:pt>
                <c:pt idx="434">
                  <c:v>44265</c:v>
                </c:pt>
                <c:pt idx="435">
                  <c:v>44266</c:v>
                </c:pt>
                <c:pt idx="436">
                  <c:v>44267</c:v>
                </c:pt>
                <c:pt idx="437">
                  <c:v>44268</c:v>
                </c:pt>
                <c:pt idx="438">
                  <c:v>44269</c:v>
                </c:pt>
                <c:pt idx="439">
                  <c:v>44270</c:v>
                </c:pt>
                <c:pt idx="440">
                  <c:v>44271</c:v>
                </c:pt>
                <c:pt idx="441">
                  <c:v>44272</c:v>
                </c:pt>
                <c:pt idx="442">
                  <c:v>44273</c:v>
                </c:pt>
                <c:pt idx="443">
                  <c:v>44274</c:v>
                </c:pt>
                <c:pt idx="444">
                  <c:v>44275</c:v>
                </c:pt>
                <c:pt idx="445">
                  <c:v>44276</c:v>
                </c:pt>
                <c:pt idx="446">
                  <c:v>44277</c:v>
                </c:pt>
                <c:pt idx="447">
                  <c:v>44278</c:v>
                </c:pt>
                <c:pt idx="448">
                  <c:v>44279</c:v>
                </c:pt>
                <c:pt idx="449">
                  <c:v>44280</c:v>
                </c:pt>
                <c:pt idx="450">
                  <c:v>44281</c:v>
                </c:pt>
                <c:pt idx="451">
                  <c:v>44282</c:v>
                </c:pt>
                <c:pt idx="452">
                  <c:v>44283</c:v>
                </c:pt>
                <c:pt idx="453">
                  <c:v>44284</c:v>
                </c:pt>
                <c:pt idx="454">
                  <c:v>44285</c:v>
                </c:pt>
                <c:pt idx="455">
                  <c:v>44286</c:v>
                </c:pt>
                <c:pt idx="456">
                  <c:v>44287</c:v>
                </c:pt>
                <c:pt idx="457">
                  <c:v>44288</c:v>
                </c:pt>
                <c:pt idx="458">
                  <c:v>44289</c:v>
                </c:pt>
                <c:pt idx="459">
                  <c:v>44290</c:v>
                </c:pt>
                <c:pt idx="460">
                  <c:v>44291</c:v>
                </c:pt>
                <c:pt idx="461">
                  <c:v>44292</c:v>
                </c:pt>
                <c:pt idx="462">
                  <c:v>44293</c:v>
                </c:pt>
                <c:pt idx="463">
                  <c:v>44294</c:v>
                </c:pt>
                <c:pt idx="464">
                  <c:v>44295</c:v>
                </c:pt>
                <c:pt idx="465">
                  <c:v>44296</c:v>
                </c:pt>
                <c:pt idx="466">
                  <c:v>44297</c:v>
                </c:pt>
                <c:pt idx="467">
                  <c:v>44298</c:v>
                </c:pt>
                <c:pt idx="468">
                  <c:v>44299</c:v>
                </c:pt>
                <c:pt idx="469">
                  <c:v>44300</c:v>
                </c:pt>
                <c:pt idx="470">
                  <c:v>44301</c:v>
                </c:pt>
                <c:pt idx="471">
                  <c:v>44302</c:v>
                </c:pt>
                <c:pt idx="472">
                  <c:v>44303</c:v>
                </c:pt>
                <c:pt idx="473">
                  <c:v>44304</c:v>
                </c:pt>
                <c:pt idx="474">
                  <c:v>44305</c:v>
                </c:pt>
                <c:pt idx="475">
                  <c:v>44306</c:v>
                </c:pt>
                <c:pt idx="476">
                  <c:v>44307</c:v>
                </c:pt>
                <c:pt idx="477">
                  <c:v>44308</c:v>
                </c:pt>
                <c:pt idx="478">
                  <c:v>44309</c:v>
                </c:pt>
                <c:pt idx="479">
                  <c:v>44310</c:v>
                </c:pt>
                <c:pt idx="480">
                  <c:v>44311</c:v>
                </c:pt>
                <c:pt idx="481">
                  <c:v>44312</c:v>
                </c:pt>
                <c:pt idx="482">
                  <c:v>44313</c:v>
                </c:pt>
                <c:pt idx="483">
                  <c:v>44314</c:v>
                </c:pt>
                <c:pt idx="484">
                  <c:v>44315</c:v>
                </c:pt>
                <c:pt idx="485">
                  <c:v>44316</c:v>
                </c:pt>
                <c:pt idx="486">
                  <c:v>44317</c:v>
                </c:pt>
                <c:pt idx="487">
                  <c:v>44318</c:v>
                </c:pt>
                <c:pt idx="488">
                  <c:v>44319</c:v>
                </c:pt>
                <c:pt idx="489">
                  <c:v>44320</c:v>
                </c:pt>
                <c:pt idx="490">
                  <c:v>44321</c:v>
                </c:pt>
                <c:pt idx="491">
                  <c:v>44322</c:v>
                </c:pt>
                <c:pt idx="492">
                  <c:v>44323</c:v>
                </c:pt>
                <c:pt idx="493">
                  <c:v>44324</c:v>
                </c:pt>
                <c:pt idx="494">
                  <c:v>44325</c:v>
                </c:pt>
                <c:pt idx="495">
                  <c:v>44326</c:v>
                </c:pt>
                <c:pt idx="496">
                  <c:v>44327</c:v>
                </c:pt>
                <c:pt idx="497">
                  <c:v>44328</c:v>
                </c:pt>
                <c:pt idx="498">
                  <c:v>44329</c:v>
                </c:pt>
                <c:pt idx="499">
                  <c:v>44330</c:v>
                </c:pt>
                <c:pt idx="500">
                  <c:v>44331</c:v>
                </c:pt>
                <c:pt idx="501">
                  <c:v>44332</c:v>
                </c:pt>
                <c:pt idx="502">
                  <c:v>44333</c:v>
                </c:pt>
                <c:pt idx="503">
                  <c:v>44334</c:v>
                </c:pt>
                <c:pt idx="504">
                  <c:v>44335</c:v>
                </c:pt>
                <c:pt idx="505">
                  <c:v>44336</c:v>
                </c:pt>
                <c:pt idx="506">
                  <c:v>44337</c:v>
                </c:pt>
                <c:pt idx="507">
                  <c:v>44338</c:v>
                </c:pt>
                <c:pt idx="508">
                  <c:v>44339</c:v>
                </c:pt>
                <c:pt idx="509">
                  <c:v>44340</c:v>
                </c:pt>
                <c:pt idx="510">
                  <c:v>44341</c:v>
                </c:pt>
                <c:pt idx="511">
                  <c:v>44342</c:v>
                </c:pt>
                <c:pt idx="512">
                  <c:v>44343</c:v>
                </c:pt>
                <c:pt idx="513">
                  <c:v>44344</c:v>
                </c:pt>
                <c:pt idx="514">
                  <c:v>44345</c:v>
                </c:pt>
                <c:pt idx="515">
                  <c:v>44346</c:v>
                </c:pt>
                <c:pt idx="516">
                  <c:v>44347</c:v>
                </c:pt>
                <c:pt idx="517">
                  <c:v>44348</c:v>
                </c:pt>
                <c:pt idx="518">
                  <c:v>44349</c:v>
                </c:pt>
                <c:pt idx="519">
                  <c:v>44350</c:v>
                </c:pt>
                <c:pt idx="520">
                  <c:v>44351</c:v>
                </c:pt>
                <c:pt idx="521">
                  <c:v>44352</c:v>
                </c:pt>
                <c:pt idx="522">
                  <c:v>44353</c:v>
                </c:pt>
                <c:pt idx="523">
                  <c:v>44354</c:v>
                </c:pt>
                <c:pt idx="524">
                  <c:v>44355</c:v>
                </c:pt>
                <c:pt idx="525">
                  <c:v>44356</c:v>
                </c:pt>
                <c:pt idx="526">
                  <c:v>44357</c:v>
                </c:pt>
                <c:pt idx="527">
                  <c:v>44358</c:v>
                </c:pt>
                <c:pt idx="528">
                  <c:v>44359</c:v>
                </c:pt>
                <c:pt idx="529">
                  <c:v>44360</c:v>
                </c:pt>
                <c:pt idx="530">
                  <c:v>44361</c:v>
                </c:pt>
                <c:pt idx="531">
                  <c:v>44362</c:v>
                </c:pt>
                <c:pt idx="532">
                  <c:v>44363</c:v>
                </c:pt>
                <c:pt idx="533">
                  <c:v>44364</c:v>
                </c:pt>
                <c:pt idx="534">
                  <c:v>44365</c:v>
                </c:pt>
                <c:pt idx="535">
                  <c:v>44366</c:v>
                </c:pt>
                <c:pt idx="536">
                  <c:v>44367</c:v>
                </c:pt>
                <c:pt idx="537">
                  <c:v>44368</c:v>
                </c:pt>
                <c:pt idx="538">
                  <c:v>44369</c:v>
                </c:pt>
                <c:pt idx="539">
                  <c:v>44370</c:v>
                </c:pt>
                <c:pt idx="540">
                  <c:v>44371</c:v>
                </c:pt>
                <c:pt idx="541">
                  <c:v>44372</c:v>
                </c:pt>
                <c:pt idx="542">
                  <c:v>44373</c:v>
                </c:pt>
                <c:pt idx="543">
                  <c:v>44374</c:v>
                </c:pt>
                <c:pt idx="544">
                  <c:v>44375</c:v>
                </c:pt>
                <c:pt idx="545">
                  <c:v>44376</c:v>
                </c:pt>
                <c:pt idx="546">
                  <c:v>44377</c:v>
                </c:pt>
                <c:pt idx="547">
                  <c:v>44378</c:v>
                </c:pt>
                <c:pt idx="548">
                  <c:v>44379</c:v>
                </c:pt>
                <c:pt idx="549">
                  <c:v>44380</c:v>
                </c:pt>
                <c:pt idx="550">
                  <c:v>44381</c:v>
                </c:pt>
                <c:pt idx="551">
                  <c:v>44382</c:v>
                </c:pt>
                <c:pt idx="552">
                  <c:v>44383</c:v>
                </c:pt>
                <c:pt idx="553">
                  <c:v>44384</c:v>
                </c:pt>
                <c:pt idx="554">
                  <c:v>44385</c:v>
                </c:pt>
                <c:pt idx="555">
                  <c:v>44386</c:v>
                </c:pt>
                <c:pt idx="556">
                  <c:v>44387</c:v>
                </c:pt>
                <c:pt idx="557">
                  <c:v>44388</c:v>
                </c:pt>
                <c:pt idx="558">
                  <c:v>44389</c:v>
                </c:pt>
                <c:pt idx="559">
                  <c:v>44390</c:v>
                </c:pt>
                <c:pt idx="560">
                  <c:v>44391</c:v>
                </c:pt>
                <c:pt idx="561">
                  <c:v>44392</c:v>
                </c:pt>
                <c:pt idx="562">
                  <c:v>44393</c:v>
                </c:pt>
                <c:pt idx="563">
                  <c:v>44394</c:v>
                </c:pt>
                <c:pt idx="564">
                  <c:v>44395</c:v>
                </c:pt>
                <c:pt idx="565">
                  <c:v>44396</c:v>
                </c:pt>
                <c:pt idx="566">
                  <c:v>44397</c:v>
                </c:pt>
                <c:pt idx="567">
                  <c:v>44398</c:v>
                </c:pt>
                <c:pt idx="568">
                  <c:v>44399</c:v>
                </c:pt>
                <c:pt idx="569">
                  <c:v>44400</c:v>
                </c:pt>
                <c:pt idx="570">
                  <c:v>44401</c:v>
                </c:pt>
                <c:pt idx="571">
                  <c:v>44402</c:v>
                </c:pt>
                <c:pt idx="572">
                  <c:v>44403</c:v>
                </c:pt>
                <c:pt idx="573">
                  <c:v>44404</c:v>
                </c:pt>
                <c:pt idx="574">
                  <c:v>44405</c:v>
                </c:pt>
                <c:pt idx="575">
                  <c:v>44406</c:v>
                </c:pt>
                <c:pt idx="576">
                  <c:v>44407</c:v>
                </c:pt>
                <c:pt idx="577">
                  <c:v>44408</c:v>
                </c:pt>
                <c:pt idx="578">
                  <c:v>44409</c:v>
                </c:pt>
                <c:pt idx="579">
                  <c:v>44410</c:v>
                </c:pt>
                <c:pt idx="580">
                  <c:v>44411</c:v>
                </c:pt>
                <c:pt idx="581">
                  <c:v>44412</c:v>
                </c:pt>
                <c:pt idx="582">
                  <c:v>44413</c:v>
                </c:pt>
                <c:pt idx="583">
                  <c:v>44414</c:v>
                </c:pt>
                <c:pt idx="584">
                  <c:v>44415</c:v>
                </c:pt>
                <c:pt idx="585">
                  <c:v>44416</c:v>
                </c:pt>
                <c:pt idx="586">
                  <c:v>44417</c:v>
                </c:pt>
                <c:pt idx="587">
                  <c:v>44418</c:v>
                </c:pt>
                <c:pt idx="588">
                  <c:v>44419</c:v>
                </c:pt>
                <c:pt idx="589">
                  <c:v>44420</c:v>
                </c:pt>
                <c:pt idx="590">
                  <c:v>44421</c:v>
                </c:pt>
                <c:pt idx="591">
                  <c:v>44422</c:v>
                </c:pt>
                <c:pt idx="592">
                  <c:v>44423</c:v>
                </c:pt>
                <c:pt idx="593">
                  <c:v>44424</c:v>
                </c:pt>
                <c:pt idx="594">
                  <c:v>44425</c:v>
                </c:pt>
                <c:pt idx="595">
                  <c:v>44426</c:v>
                </c:pt>
                <c:pt idx="596">
                  <c:v>44427</c:v>
                </c:pt>
                <c:pt idx="597">
                  <c:v>44428</c:v>
                </c:pt>
                <c:pt idx="598">
                  <c:v>44429</c:v>
                </c:pt>
                <c:pt idx="599">
                  <c:v>44430</c:v>
                </c:pt>
                <c:pt idx="600">
                  <c:v>44431</c:v>
                </c:pt>
                <c:pt idx="601">
                  <c:v>44432</c:v>
                </c:pt>
                <c:pt idx="602">
                  <c:v>44433</c:v>
                </c:pt>
                <c:pt idx="603">
                  <c:v>44434</c:v>
                </c:pt>
                <c:pt idx="604">
                  <c:v>44435</c:v>
                </c:pt>
                <c:pt idx="605">
                  <c:v>44436</c:v>
                </c:pt>
                <c:pt idx="606">
                  <c:v>44437</c:v>
                </c:pt>
                <c:pt idx="607">
                  <c:v>44438</c:v>
                </c:pt>
                <c:pt idx="608">
                  <c:v>44439</c:v>
                </c:pt>
                <c:pt idx="609">
                  <c:v>44440</c:v>
                </c:pt>
                <c:pt idx="610">
                  <c:v>44441</c:v>
                </c:pt>
                <c:pt idx="611">
                  <c:v>44442</c:v>
                </c:pt>
                <c:pt idx="612">
                  <c:v>44443</c:v>
                </c:pt>
                <c:pt idx="613">
                  <c:v>44444</c:v>
                </c:pt>
                <c:pt idx="614">
                  <c:v>44445</c:v>
                </c:pt>
                <c:pt idx="615">
                  <c:v>44446</c:v>
                </c:pt>
                <c:pt idx="616">
                  <c:v>44447</c:v>
                </c:pt>
                <c:pt idx="617">
                  <c:v>44448</c:v>
                </c:pt>
                <c:pt idx="618">
                  <c:v>44449</c:v>
                </c:pt>
                <c:pt idx="619">
                  <c:v>44450</c:v>
                </c:pt>
                <c:pt idx="620">
                  <c:v>44451</c:v>
                </c:pt>
                <c:pt idx="621">
                  <c:v>44452</c:v>
                </c:pt>
                <c:pt idx="622">
                  <c:v>44453</c:v>
                </c:pt>
                <c:pt idx="623">
                  <c:v>44454</c:v>
                </c:pt>
                <c:pt idx="624">
                  <c:v>44455</c:v>
                </c:pt>
                <c:pt idx="625">
                  <c:v>44456</c:v>
                </c:pt>
                <c:pt idx="626">
                  <c:v>44457</c:v>
                </c:pt>
                <c:pt idx="627">
                  <c:v>44458</c:v>
                </c:pt>
                <c:pt idx="628">
                  <c:v>44459</c:v>
                </c:pt>
                <c:pt idx="629">
                  <c:v>44460</c:v>
                </c:pt>
                <c:pt idx="630">
                  <c:v>44461</c:v>
                </c:pt>
                <c:pt idx="631">
                  <c:v>44462</c:v>
                </c:pt>
                <c:pt idx="632">
                  <c:v>44463</c:v>
                </c:pt>
                <c:pt idx="633">
                  <c:v>44464</c:v>
                </c:pt>
                <c:pt idx="634">
                  <c:v>44465</c:v>
                </c:pt>
                <c:pt idx="635">
                  <c:v>44466</c:v>
                </c:pt>
                <c:pt idx="636">
                  <c:v>44467</c:v>
                </c:pt>
                <c:pt idx="637">
                  <c:v>44468</c:v>
                </c:pt>
                <c:pt idx="638">
                  <c:v>44469</c:v>
                </c:pt>
                <c:pt idx="639">
                  <c:v>44470</c:v>
                </c:pt>
                <c:pt idx="640">
                  <c:v>44471</c:v>
                </c:pt>
                <c:pt idx="641">
                  <c:v>44472</c:v>
                </c:pt>
                <c:pt idx="642">
                  <c:v>44473</c:v>
                </c:pt>
                <c:pt idx="643">
                  <c:v>44474</c:v>
                </c:pt>
                <c:pt idx="644">
                  <c:v>44475</c:v>
                </c:pt>
                <c:pt idx="645">
                  <c:v>44476</c:v>
                </c:pt>
                <c:pt idx="646">
                  <c:v>44477</c:v>
                </c:pt>
                <c:pt idx="647">
                  <c:v>44478</c:v>
                </c:pt>
                <c:pt idx="648">
                  <c:v>44479</c:v>
                </c:pt>
                <c:pt idx="649">
                  <c:v>44480</c:v>
                </c:pt>
                <c:pt idx="650">
                  <c:v>44481</c:v>
                </c:pt>
                <c:pt idx="651">
                  <c:v>44482</c:v>
                </c:pt>
                <c:pt idx="652">
                  <c:v>44483</c:v>
                </c:pt>
                <c:pt idx="653">
                  <c:v>44484</c:v>
                </c:pt>
                <c:pt idx="654">
                  <c:v>44485</c:v>
                </c:pt>
                <c:pt idx="655">
                  <c:v>44486</c:v>
                </c:pt>
                <c:pt idx="656">
                  <c:v>44487</c:v>
                </c:pt>
                <c:pt idx="657">
                  <c:v>44488</c:v>
                </c:pt>
                <c:pt idx="658">
                  <c:v>44489</c:v>
                </c:pt>
                <c:pt idx="659">
                  <c:v>44490</c:v>
                </c:pt>
                <c:pt idx="660">
                  <c:v>44491</c:v>
                </c:pt>
                <c:pt idx="661">
                  <c:v>44492</c:v>
                </c:pt>
                <c:pt idx="662">
                  <c:v>44493</c:v>
                </c:pt>
                <c:pt idx="663">
                  <c:v>44494</c:v>
                </c:pt>
                <c:pt idx="664">
                  <c:v>44495</c:v>
                </c:pt>
                <c:pt idx="665">
                  <c:v>44496</c:v>
                </c:pt>
                <c:pt idx="666">
                  <c:v>44497</c:v>
                </c:pt>
                <c:pt idx="667">
                  <c:v>44498</c:v>
                </c:pt>
                <c:pt idx="668">
                  <c:v>44499</c:v>
                </c:pt>
                <c:pt idx="669">
                  <c:v>44500</c:v>
                </c:pt>
                <c:pt idx="670">
                  <c:v>44501</c:v>
                </c:pt>
                <c:pt idx="671">
                  <c:v>44502</c:v>
                </c:pt>
                <c:pt idx="672">
                  <c:v>44503</c:v>
                </c:pt>
                <c:pt idx="673">
                  <c:v>44504</c:v>
                </c:pt>
                <c:pt idx="674">
                  <c:v>44505</c:v>
                </c:pt>
                <c:pt idx="675">
                  <c:v>44506</c:v>
                </c:pt>
                <c:pt idx="676">
                  <c:v>44507</c:v>
                </c:pt>
                <c:pt idx="677">
                  <c:v>44508</c:v>
                </c:pt>
                <c:pt idx="678">
                  <c:v>44509</c:v>
                </c:pt>
                <c:pt idx="679">
                  <c:v>44510</c:v>
                </c:pt>
                <c:pt idx="680">
                  <c:v>44511</c:v>
                </c:pt>
                <c:pt idx="681">
                  <c:v>44512</c:v>
                </c:pt>
                <c:pt idx="682">
                  <c:v>44513</c:v>
                </c:pt>
                <c:pt idx="683">
                  <c:v>44514</c:v>
                </c:pt>
                <c:pt idx="684">
                  <c:v>44515</c:v>
                </c:pt>
                <c:pt idx="685">
                  <c:v>44516</c:v>
                </c:pt>
                <c:pt idx="686">
                  <c:v>44517</c:v>
                </c:pt>
                <c:pt idx="687">
                  <c:v>44518</c:v>
                </c:pt>
                <c:pt idx="688">
                  <c:v>44519</c:v>
                </c:pt>
                <c:pt idx="689">
                  <c:v>44520</c:v>
                </c:pt>
                <c:pt idx="690">
                  <c:v>44521</c:v>
                </c:pt>
                <c:pt idx="691">
                  <c:v>44522</c:v>
                </c:pt>
                <c:pt idx="692">
                  <c:v>44523</c:v>
                </c:pt>
                <c:pt idx="693">
                  <c:v>44524</c:v>
                </c:pt>
                <c:pt idx="694">
                  <c:v>44525</c:v>
                </c:pt>
                <c:pt idx="695">
                  <c:v>44526</c:v>
                </c:pt>
                <c:pt idx="696">
                  <c:v>44527</c:v>
                </c:pt>
                <c:pt idx="697">
                  <c:v>44528</c:v>
                </c:pt>
                <c:pt idx="698">
                  <c:v>44529</c:v>
                </c:pt>
                <c:pt idx="699">
                  <c:v>44530</c:v>
                </c:pt>
                <c:pt idx="700">
                  <c:v>44531</c:v>
                </c:pt>
                <c:pt idx="701">
                  <c:v>44532</c:v>
                </c:pt>
                <c:pt idx="702">
                  <c:v>44533</c:v>
                </c:pt>
                <c:pt idx="703">
                  <c:v>44534</c:v>
                </c:pt>
                <c:pt idx="704">
                  <c:v>44535</c:v>
                </c:pt>
                <c:pt idx="705">
                  <c:v>44536</c:v>
                </c:pt>
                <c:pt idx="706">
                  <c:v>44537</c:v>
                </c:pt>
                <c:pt idx="707">
                  <c:v>44538</c:v>
                </c:pt>
                <c:pt idx="708">
                  <c:v>44539</c:v>
                </c:pt>
                <c:pt idx="709">
                  <c:v>44540</c:v>
                </c:pt>
                <c:pt idx="710">
                  <c:v>44541</c:v>
                </c:pt>
                <c:pt idx="711">
                  <c:v>44542</c:v>
                </c:pt>
                <c:pt idx="712">
                  <c:v>44543</c:v>
                </c:pt>
                <c:pt idx="713">
                  <c:v>44544</c:v>
                </c:pt>
                <c:pt idx="714">
                  <c:v>44545</c:v>
                </c:pt>
                <c:pt idx="715">
                  <c:v>44546</c:v>
                </c:pt>
                <c:pt idx="716">
                  <c:v>44547</c:v>
                </c:pt>
                <c:pt idx="717">
                  <c:v>44548</c:v>
                </c:pt>
                <c:pt idx="718">
                  <c:v>44549</c:v>
                </c:pt>
                <c:pt idx="719">
                  <c:v>44550</c:v>
                </c:pt>
                <c:pt idx="720">
                  <c:v>44551</c:v>
                </c:pt>
                <c:pt idx="721">
                  <c:v>44552</c:v>
                </c:pt>
                <c:pt idx="722">
                  <c:v>44553</c:v>
                </c:pt>
                <c:pt idx="723">
                  <c:v>44554</c:v>
                </c:pt>
                <c:pt idx="724">
                  <c:v>44555</c:v>
                </c:pt>
                <c:pt idx="725">
                  <c:v>44556</c:v>
                </c:pt>
                <c:pt idx="726">
                  <c:v>44557</c:v>
                </c:pt>
                <c:pt idx="727">
                  <c:v>44558</c:v>
                </c:pt>
                <c:pt idx="728">
                  <c:v>44559</c:v>
                </c:pt>
                <c:pt idx="729">
                  <c:v>44560</c:v>
                </c:pt>
                <c:pt idx="730">
                  <c:v>44561</c:v>
                </c:pt>
                <c:pt idx="731">
                  <c:v>44562</c:v>
                </c:pt>
                <c:pt idx="732">
                  <c:v>44563</c:v>
                </c:pt>
                <c:pt idx="733">
                  <c:v>44564</c:v>
                </c:pt>
                <c:pt idx="734">
                  <c:v>44565</c:v>
                </c:pt>
                <c:pt idx="735">
                  <c:v>44566</c:v>
                </c:pt>
                <c:pt idx="736">
                  <c:v>44567</c:v>
                </c:pt>
                <c:pt idx="737">
                  <c:v>44568</c:v>
                </c:pt>
                <c:pt idx="738">
                  <c:v>44569</c:v>
                </c:pt>
                <c:pt idx="739">
                  <c:v>44570</c:v>
                </c:pt>
                <c:pt idx="740">
                  <c:v>44571</c:v>
                </c:pt>
                <c:pt idx="741">
                  <c:v>44572</c:v>
                </c:pt>
                <c:pt idx="742">
                  <c:v>44573</c:v>
                </c:pt>
                <c:pt idx="743">
                  <c:v>44574</c:v>
                </c:pt>
                <c:pt idx="744">
                  <c:v>44575</c:v>
                </c:pt>
                <c:pt idx="745">
                  <c:v>44576</c:v>
                </c:pt>
                <c:pt idx="746">
                  <c:v>44577</c:v>
                </c:pt>
                <c:pt idx="747">
                  <c:v>44578</c:v>
                </c:pt>
                <c:pt idx="748">
                  <c:v>44579</c:v>
                </c:pt>
                <c:pt idx="749">
                  <c:v>44580</c:v>
                </c:pt>
                <c:pt idx="750">
                  <c:v>44581</c:v>
                </c:pt>
                <c:pt idx="751">
                  <c:v>44582</c:v>
                </c:pt>
                <c:pt idx="752">
                  <c:v>44583</c:v>
                </c:pt>
                <c:pt idx="753">
                  <c:v>44584</c:v>
                </c:pt>
                <c:pt idx="754">
                  <c:v>44585</c:v>
                </c:pt>
                <c:pt idx="755">
                  <c:v>44586</c:v>
                </c:pt>
                <c:pt idx="756">
                  <c:v>44587</c:v>
                </c:pt>
                <c:pt idx="757">
                  <c:v>44588</c:v>
                </c:pt>
                <c:pt idx="758">
                  <c:v>44589</c:v>
                </c:pt>
                <c:pt idx="759">
                  <c:v>44590</c:v>
                </c:pt>
                <c:pt idx="760">
                  <c:v>44591</c:v>
                </c:pt>
                <c:pt idx="761">
                  <c:v>44592</c:v>
                </c:pt>
                <c:pt idx="762">
                  <c:v>44593</c:v>
                </c:pt>
                <c:pt idx="763">
                  <c:v>44594</c:v>
                </c:pt>
                <c:pt idx="764">
                  <c:v>44595</c:v>
                </c:pt>
                <c:pt idx="765">
                  <c:v>44596</c:v>
                </c:pt>
                <c:pt idx="766">
                  <c:v>44597</c:v>
                </c:pt>
                <c:pt idx="767">
                  <c:v>44598</c:v>
                </c:pt>
                <c:pt idx="768">
                  <c:v>44599</c:v>
                </c:pt>
                <c:pt idx="769">
                  <c:v>44600</c:v>
                </c:pt>
                <c:pt idx="770">
                  <c:v>44601</c:v>
                </c:pt>
                <c:pt idx="771">
                  <c:v>44602</c:v>
                </c:pt>
                <c:pt idx="772">
                  <c:v>44603</c:v>
                </c:pt>
                <c:pt idx="773">
                  <c:v>44604</c:v>
                </c:pt>
                <c:pt idx="774">
                  <c:v>44605</c:v>
                </c:pt>
                <c:pt idx="775">
                  <c:v>44606</c:v>
                </c:pt>
                <c:pt idx="776">
                  <c:v>44607</c:v>
                </c:pt>
                <c:pt idx="777">
                  <c:v>44608</c:v>
                </c:pt>
                <c:pt idx="778">
                  <c:v>44609</c:v>
                </c:pt>
                <c:pt idx="779">
                  <c:v>44610</c:v>
                </c:pt>
                <c:pt idx="780">
                  <c:v>44611</c:v>
                </c:pt>
                <c:pt idx="781">
                  <c:v>44612</c:v>
                </c:pt>
                <c:pt idx="782">
                  <c:v>44613</c:v>
                </c:pt>
                <c:pt idx="783">
                  <c:v>44614</c:v>
                </c:pt>
                <c:pt idx="784">
                  <c:v>44615</c:v>
                </c:pt>
                <c:pt idx="785">
                  <c:v>44616</c:v>
                </c:pt>
                <c:pt idx="786">
                  <c:v>44617</c:v>
                </c:pt>
                <c:pt idx="787">
                  <c:v>44618</c:v>
                </c:pt>
                <c:pt idx="788">
                  <c:v>44619</c:v>
                </c:pt>
                <c:pt idx="789">
                  <c:v>44620</c:v>
                </c:pt>
                <c:pt idx="790">
                  <c:v>44621</c:v>
                </c:pt>
                <c:pt idx="791">
                  <c:v>44622</c:v>
                </c:pt>
                <c:pt idx="792">
                  <c:v>44623</c:v>
                </c:pt>
                <c:pt idx="793">
                  <c:v>44624</c:v>
                </c:pt>
                <c:pt idx="794">
                  <c:v>44625</c:v>
                </c:pt>
                <c:pt idx="795">
                  <c:v>44626</c:v>
                </c:pt>
                <c:pt idx="796">
                  <c:v>44627</c:v>
                </c:pt>
                <c:pt idx="797">
                  <c:v>44628</c:v>
                </c:pt>
                <c:pt idx="798">
                  <c:v>44629</c:v>
                </c:pt>
                <c:pt idx="799">
                  <c:v>44630</c:v>
                </c:pt>
                <c:pt idx="800">
                  <c:v>44631</c:v>
                </c:pt>
                <c:pt idx="801">
                  <c:v>44632</c:v>
                </c:pt>
                <c:pt idx="802">
                  <c:v>44633</c:v>
                </c:pt>
                <c:pt idx="803">
                  <c:v>44634</c:v>
                </c:pt>
                <c:pt idx="804">
                  <c:v>44635</c:v>
                </c:pt>
                <c:pt idx="805">
                  <c:v>44636</c:v>
                </c:pt>
                <c:pt idx="806">
                  <c:v>44637</c:v>
                </c:pt>
                <c:pt idx="807">
                  <c:v>44638</c:v>
                </c:pt>
                <c:pt idx="808">
                  <c:v>44639</c:v>
                </c:pt>
                <c:pt idx="809">
                  <c:v>44640</c:v>
                </c:pt>
                <c:pt idx="810">
                  <c:v>44641</c:v>
                </c:pt>
                <c:pt idx="811">
                  <c:v>44642</c:v>
                </c:pt>
                <c:pt idx="812">
                  <c:v>44643</c:v>
                </c:pt>
                <c:pt idx="813">
                  <c:v>44644</c:v>
                </c:pt>
                <c:pt idx="814">
                  <c:v>44645</c:v>
                </c:pt>
                <c:pt idx="815">
                  <c:v>44646</c:v>
                </c:pt>
                <c:pt idx="816">
                  <c:v>44647</c:v>
                </c:pt>
                <c:pt idx="817">
                  <c:v>44648</c:v>
                </c:pt>
                <c:pt idx="818">
                  <c:v>44649</c:v>
                </c:pt>
                <c:pt idx="819">
                  <c:v>44650</c:v>
                </c:pt>
                <c:pt idx="820">
                  <c:v>44651</c:v>
                </c:pt>
                <c:pt idx="821">
                  <c:v>44652</c:v>
                </c:pt>
                <c:pt idx="822">
                  <c:v>44653</c:v>
                </c:pt>
                <c:pt idx="823">
                  <c:v>44654</c:v>
                </c:pt>
                <c:pt idx="824">
                  <c:v>44655</c:v>
                </c:pt>
                <c:pt idx="825">
                  <c:v>44656</c:v>
                </c:pt>
                <c:pt idx="826">
                  <c:v>44657</c:v>
                </c:pt>
                <c:pt idx="827">
                  <c:v>44658</c:v>
                </c:pt>
                <c:pt idx="828">
                  <c:v>44659</c:v>
                </c:pt>
                <c:pt idx="829">
                  <c:v>44660</c:v>
                </c:pt>
                <c:pt idx="830">
                  <c:v>44661</c:v>
                </c:pt>
                <c:pt idx="831">
                  <c:v>44662</c:v>
                </c:pt>
                <c:pt idx="832">
                  <c:v>44663</c:v>
                </c:pt>
                <c:pt idx="833">
                  <c:v>44664</c:v>
                </c:pt>
                <c:pt idx="834">
                  <c:v>44665</c:v>
                </c:pt>
                <c:pt idx="835">
                  <c:v>44666</c:v>
                </c:pt>
                <c:pt idx="836">
                  <c:v>44667</c:v>
                </c:pt>
                <c:pt idx="837">
                  <c:v>44668</c:v>
                </c:pt>
                <c:pt idx="838">
                  <c:v>44669</c:v>
                </c:pt>
                <c:pt idx="839">
                  <c:v>44670</c:v>
                </c:pt>
                <c:pt idx="840">
                  <c:v>44671</c:v>
                </c:pt>
                <c:pt idx="841">
                  <c:v>44672</c:v>
                </c:pt>
                <c:pt idx="842">
                  <c:v>44673</c:v>
                </c:pt>
                <c:pt idx="843">
                  <c:v>44674</c:v>
                </c:pt>
                <c:pt idx="844">
                  <c:v>44675</c:v>
                </c:pt>
                <c:pt idx="845">
                  <c:v>44676</c:v>
                </c:pt>
                <c:pt idx="846">
                  <c:v>44677</c:v>
                </c:pt>
                <c:pt idx="847">
                  <c:v>44678</c:v>
                </c:pt>
                <c:pt idx="848">
                  <c:v>44679</c:v>
                </c:pt>
                <c:pt idx="849">
                  <c:v>44680</c:v>
                </c:pt>
                <c:pt idx="850">
                  <c:v>44681</c:v>
                </c:pt>
                <c:pt idx="851">
                  <c:v>44682</c:v>
                </c:pt>
                <c:pt idx="852">
                  <c:v>44683</c:v>
                </c:pt>
                <c:pt idx="853">
                  <c:v>44684</c:v>
                </c:pt>
                <c:pt idx="854">
                  <c:v>44685</c:v>
                </c:pt>
                <c:pt idx="855">
                  <c:v>44686</c:v>
                </c:pt>
                <c:pt idx="856">
                  <c:v>44687</c:v>
                </c:pt>
                <c:pt idx="857">
                  <c:v>44688</c:v>
                </c:pt>
                <c:pt idx="858">
                  <c:v>44689</c:v>
                </c:pt>
                <c:pt idx="859">
                  <c:v>44690</c:v>
                </c:pt>
                <c:pt idx="860">
                  <c:v>44691</c:v>
                </c:pt>
                <c:pt idx="861">
                  <c:v>44692</c:v>
                </c:pt>
                <c:pt idx="862">
                  <c:v>44693</c:v>
                </c:pt>
                <c:pt idx="863">
                  <c:v>44694</c:v>
                </c:pt>
                <c:pt idx="864">
                  <c:v>44695</c:v>
                </c:pt>
                <c:pt idx="865">
                  <c:v>44696</c:v>
                </c:pt>
                <c:pt idx="866">
                  <c:v>44697</c:v>
                </c:pt>
                <c:pt idx="867">
                  <c:v>44698</c:v>
                </c:pt>
                <c:pt idx="868">
                  <c:v>44699</c:v>
                </c:pt>
                <c:pt idx="869">
                  <c:v>44700</c:v>
                </c:pt>
                <c:pt idx="870">
                  <c:v>44701</c:v>
                </c:pt>
                <c:pt idx="871">
                  <c:v>44702</c:v>
                </c:pt>
                <c:pt idx="872">
                  <c:v>44703</c:v>
                </c:pt>
                <c:pt idx="873">
                  <c:v>44704</c:v>
                </c:pt>
                <c:pt idx="874">
                  <c:v>44705</c:v>
                </c:pt>
                <c:pt idx="875">
                  <c:v>44706</c:v>
                </c:pt>
                <c:pt idx="876">
                  <c:v>44707</c:v>
                </c:pt>
                <c:pt idx="877">
                  <c:v>44708</c:v>
                </c:pt>
                <c:pt idx="878">
                  <c:v>44709</c:v>
                </c:pt>
                <c:pt idx="879">
                  <c:v>44710</c:v>
                </c:pt>
                <c:pt idx="880">
                  <c:v>44711</c:v>
                </c:pt>
                <c:pt idx="881">
                  <c:v>44712</c:v>
                </c:pt>
                <c:pt idx="882">
                  <c:v>44713</c:v>
                </c:pt>
                <c:pt idx="883">
                  <c:v>44714</c:v>
                </c:pt>
                <c:pt idx="884">
                  <c:v>44715</c:v>
                </c:pt>
                <c:pt idx="885">
                  <c:v>44716</c:v>
                </c:pt>
                <c:pt idx="886">
                  <c:v>44717</c:v>
                </c:pt>
                <c:pt idx="887">
                  <c:v>44718</c:v>
                </c:pt>
                <c:pt idx="888">
                  <c:v>44719</c:v>
                </c:pt>
                <c:pt idx="889">
                  <c:v>44720</c:v>
                </c:pt>
                <c:pt idx="890">
                  <c:v>44721</c:v>
                </c:pt>
                <c:pt idx="891">
                  <c:v>44722</c:v>
                </c:pt>
                <c:pt idx="892">
                  <c:v>44723</c:v>
                </c:pt>
                <c:pt idx="893">
                  <c:v>44724</c:v>
                </c:pt>
                <c:pt idx="894">
                  <c:v>44725</c:v>
                </c:pt>
                <c:pt idx="895">
                  <c:v>44726</c:v>
                </c:pt>
                <c:pt idx="896">
                  <c:v>44727</c:v>
                </c:pt>
                <c:pt idx="897">
                  <c:v>44728</c:v>
                </c:pt>
                <c:pt idx="898">
                  <c:v>44729</c:v>
                </c:pt>
                <c:pt idx="899">
                  <c:v>44730</c:v>
                </c:pt>
                <c:pt idx="900">
                  <c:v>44731</c:v>
                </c:pt>
                <c:pt idx="901">
                  <c:v>44732</c:v>
                </c:pt>
                <c:pt idx="902">
                  <c:v>44733</c:v>
                </c:pt>
                <c:pt idx="903">
                  <c:v>44734</c:v>
                </c:pt>
                <c:pt idx="904">
                  <c:v>44735</c:v>
                </c:pt>
                <c:pt idx="905">
                  <c:v>44736</c:v>
                </c:pt>
                <c:pt idx="906">
                  <c:v>44737</c:v>
                </c:pt>
                <c:pt idx="907">
                  <c:v>44738</c:v>
                </c:pt>
                <c:pt idx="908">
                  <c:v>44739</c:v>
                </c:pt>
                <c:pt idx="909">
                  <c:v>44740</c:v>
                </c:pt>
                <c:pt idx="910">
                  <c:v>44741</c:v>
                </c:pt>
                <c:pt idx="911">
                  <c:v>44742</c:v>
                </c:pt>
                <c:pt idx="912">
                  <c:v>44743</c:v>
                </c:pt>
                <c:pt idx="913">
                  <c:v>44744</c:v>
                </c:pt>
                <c:pt idx="914">
                  <c:v>44745</c:v>
                </c:pt>
                <c:pt idx="915">
                  <c:v>44746</c:v>
                </c:pt>
                <c:pt idx="916">
                  <c:v>44747</c:v>
                </c:pt>
                <c:pt idx="917">
                  <c:v>44748</c:v>
                </c:pt>
                <c:pt idx="918">
                  <c:v>44749</c:v>
                </c:pt>
                <c:pt idx="919">
                  <c:v>44750</c:v>
                </c:pt>
                <c:pt idx="920">
                  <c:v>44751</c:v>
                </c:pt>
                <c:pt idx="921">
                  <c:v>44752</c:v>
                </c:pt>
                <c:pt idx="922">
                  <c:v>44753</c:v>
                </c:pt>
                <c:pt idx="923">
                  <c:v>44754</c:v>
                </c:pt>
                <c:pt idx="924">
                  <c:v>44755</c:v>
                </c:pt>
                <c:pt idx="925">
                  <c:v>44756</c:v>
                </c:pt>
                <c:pt idx="926">
                  <c:v>44757</c:v>
                </c:pt>
                <c:pt idx="927">
                  <c:v>44758</c:v>
                </c:pt>
                <c:pt idx="928">
                  <c:v>44759</c:v>
                </c:pt>
                <c:pt idx="929">
                  <c:v>44760</c:v>
                </c:pt>
                <c:pt idx="930">
                  <c:v>44761</c:v>
                </c:pt>
                <c:pt idx="931">
                  <c:v>44762</c:v>
                </c:pt>
                <c:pt idx="932">
                  <c:v>44763</c:v>
                </c:pt>
                <c:pt idx="933">
                  <c:v>44764</c:v>
                </c:pt>
                <c:pt idx="934">
                  <c:v>44765</c:v>
                </c:pt>
                <c:pt idx="935">
                  <c:v>44766</c:v>
                </c:pt>
                <c:pt idx="936">
                  <c:v>44767</c:v>
                </c:pt>
                <c:pt idx="937">
                  <c:v>44768</c:v>
                </c:pt>
                <c:pt idx="938">
                  <c:v>44769</c:v>
                </c:pt>
                <c:pt idx="939">
                  <c:v>44770</c:v>
                </c:pt>
                <c:pt idx="940">
                  <c:v>44771</c:v>
                </c:pt>
                <c:pt idx="941">
                  <c:v>44772</c:v>
                </c:pt>
                <c:pt idx="942">
                  <c:v>44773</c:v>
                </c:pt>
                <c:pt idx="943">
                  <c:v>44774</c:v>
                </c:pt>
                <c:pt idx="944">
                  <c:v>44775</c:v>
                </c:pt>
                <c:pt idx="945">
                  <c:v>44776</c:v>
                </c:pt>
                <c:pt idx="946">
                  <c:v>44777</c:v>
                </c:pt>
                <c:pt idx="947">
                  <c:v>44778</c:v>
                </c:pt>
                <c:pt idx="948">
                  <c:v>44779</c:v>
                </c:pt>
                <c:pt idx="949">
                  <c:v>44780</c:v>
                </c:pt>
                <c:pt idx="950">
                  <c:v>44781</c:v>
                </c:pt>
                <c:pt idx="951">
                  <c:v>44782</c:v>
                </c:pt>
                <c:pt idx="952">
                  <c:v>44783</c:v>
                </c:pt>
                <c:pt idx="953">
                  <c:v>44784</c:v>
                </c:pt>
                <c:pt idx="954">
                  <c:v>44785</c:v>
                </c:pt>
                <c:pt idx="955">
                  <c:v>44786</c:v>
                </c:pt>
                <c:pt idx="956">
                  <c:v>44787</c:v>
                </c:pt>
                <c:pt idx="957">
                  <c:v>44788</c:v>
                </c:pt>
                <c:pt idx="958">
                  <c:v>44789</c:v>
                </c:pt>
                <c:pt idx="959">
                  <c:v>44790</c:v>
                </c:pt>
                <c:pt idx="960">
                  <c:v>44791</c:v>
                </c:pt>
                <c:pt idx="961">
                  <c:v>44792</c:v>
                </c:pt>
                <c:pt idx="962">
                  <c:v>44793</c:v>
                </c:pt>
                <c:pt idx="963">
                  <c:v>44794</c:v>
                </c:pt>
                <c:pt idx="964">
                  <c:v>44795</c:v>
                </c:pt>
                <c:pt idx="965">
                  <c:v>44796</c:v>
                </c:pt>
                <c:pt idx="966">
                  <c:v>44797</c:v>
                </c:pt>
                <c:pt idx="967">
                  <c:v>44798</c:v>
                </c:pt>
                <c:pt idx="968">
                  <c:v>44799</c:v>
                </c:pt>
                <c:pt idx="969">
                  <c:v>44800</c:v>
                </c:pt>
                <c:pt idx="970">
                  <c:v>44801</c:v>
                </c:pt>
                <c:pt idx="971">
                  <c:v>44802</c:v>
                </c:pt>
                <c:pt idx="972">
                  <c:v>44803</c:v>
                </c:pt>
                <c:pt idx="973">
                  <c:v>44804</c:v>
                </c:pt>
                <c:pt idx="974">
                  <c:v>44805</c:v>
                </c:pt>
                <c:pt idx="975">
                  <c:v>44806</c:v>
                </c:pt>
                <c:pt idx="976">
                  <c:v>44807</c:v>
                </c:pt>
                <c:pt idx="977">
                  <c:v>44808</c:v>
                </c:pt>
                <c:pt idx="978">
                  <c:v>44809</c:v>
                </c:pt>
                <c:pt idx="979">
                  <c:v>44810</c:v>
                </c:pt>
                <c:pt idx="980">
                  <c:v>44811</c:v>
                </c:pt>
                <c:pt idx="981">
                  <c:v>44812</c:v>
                </c:pt>
                <c:pt idx="982">
                  <c:v>44813</c:v>
                </c:pt>
                <c:pt idx="983">
                  <c:v>44814</c:v>
                </c:pt>
                <c:pt idx="984">
                  <c:v>44815</c:v>
                </c:pt>
                <c:pt idx="985">
                  <c:v>44816</c:v>
                </c:pt>
                <c:pt idx="986">
                  <c:v>44817</c:v>
                </c:pt>
                <c:pt idx="987">
                  <c:v>44818</c:v>
                </c:pt>
                <c:pt idx="988">
                  <c:v>44819</c:v>
                </c:pt>
                <c:pt idx="989">
                  <c:v>44820</c:v>
                </c:pt>
                <c:pt idx="990">
                  <c:v>44821</c:v>
                </c:pt>
                <c:pt idx="991">
                  <c:v>44822</c:v>
                </c:pt>
                <c:pt idx="992">
                  <c:v>44823</c:v>
                </c:pt>
                <c:pt idx="993">
                  <c:v>44824</c:v>
                </c:pt>
                <c:pt idx="994">
                  <c:v>44825</c:v>
                </c:pt>
                <c:pt idx="995">
                  <c:v>44826</c:v>
                </c:pt>
                <c:pt idx="996">
                  <c:v>44827</c:v>
                </c:pt>
                <c:pt idx="997">
                  <c:v>44828</c:v>
                </c:pt>
                <c:pt idx="998">
                  <c:v>44829</c:v>
                </c:pt>
                <c:pt idx="999">
                  <c:v>44830</c:v>
                </c:pt>
                <c:pt idx="1000">
                  <c:v>44831</c:v>
                </c:pt>
                <c:pt idx="1001">
                  <c:v>44832</c:v>
                </c:pt>
                <c:pt idx="1002">
                  <c:v>44833</c:v>
                </c:pt>
                <c:pt idx="1003">
                  <c:v>44834</c:v>
                </c:pt>
                <c:pt idx="1004">
                  <c:v>44835</c:v>
                </c:pt>
                <c:pt idx="1005">
                  <c:v>44836</c:v>
                </c:pt>
                <c:pt idx="1006">
                  <c:v>44837</c:v>
                </c:pt>
                <c:pt idx="1007">
                  <c:v>44838</c:v>
                </c:pt>
                <c:pt idx="1008">
                  <c:v>44839</c:v>
                </c:pt>
                <c:pt idx="1009">
                  <c:v>44840</c:v>
                </c:pt>
                <c:pt idx="1010">
                  <c:v>44841</c:v>
                </c:pt>
                <c:pt idx="1011">
                  <c:v>44842</c:v>
                </c:pt>
                <c:pt idx="1012">
                  <c:v>44843</c:v>
                </c:pt>
                <c:pt idx="1013">
                  <c:v>44844</c:v>
                </c:pt>
                <c:pt idx="1014">
                  <c:v>44845</c:v>
                </c:pt>
                <c:pt idx="1015">
                  <c:v>44846</c:v>
                </c:pt>
                <c:pt idx="1016">
                  <c:v>44847</c:v>
                </c:pt>
                <c:pt idx="1017">
                  <c:v>44848</c:v>
                </c:pt>
                <c:pt idx="1018">
                  <c:v>44849</c:v>
                </c:pt>
                <c:pt idx="1019">
                  <c:v>44850</c:v>
                </c:pt>
                <c:pt idx="1020">
                  <c:v>44851</c:v>
                </c:pt>
                <c:pt idx="1021">
                  <c:v>44852</c:v>
                </c:pt>
                <c:pt idx="1022">
                  <c:v>44853</c:v>
                </c:pt>
                <c:pt idx="1023">
                  <c:v>44854</c:v>
                </c:pt>
                <c:pt idx="1024">
                  <c:v>44855</c:v>
                </c:pt>
                <c:pt idx="1025">
                  <c:v>44856</c:v>
                </c:pt>
                <c:pt idx="1026">
                  <c:v>44857</c:v>
                </c:pt>
                <c:pt idx="1027">
                  <c:v>44858</c:v>
                </c:pt>
                <c:pt idx="1028">
                  <c:v>44859</c:v>
                </c:pt>
                <c:pt idx="1029">
                  <c:v>44860</c:v>
                </c:pt>
                <c:pt idx="1030">
                  <c:v>44861</c:v>
                </c:pt>
                <c:pt idx="1031">
                  <c:v>44862</c:v>
                </c:pt>
                <c:pt idx="1032">
                  <c:v>44863</c:v>
                </c:pt>
                <c:pt idx="1033">
                  <c:v>44864</c:v>
                </c:pt>
                <c:pt idx="1034">
                  <c:v>44865</c:v>
                </c:pt>
                <c:pt idx="1035">
                  <c:v>44866</c:v>
                </c:pt>
                <c:pt idx="1036">
                  <c:v>44867</c:v>
                </c:pt>
                <c:pt idx="1037">
                  <c:v>44868</c:v>
                </c:pt>
                <c:pt idx="1038">
                  <c:v>44869</c:v>
                </c:pt>
                <c:pt idx="1039">
                  <c:v>44870</c:v>
                </c:pt>
                <c:pt idx="1040">
                  <c:v>44871</c:v>
                </c:pt>
                <c:pt idx="1041">
                  <c:v>44872</c:v>
                </c:pt>
                <c:pt idx="1042">
                  <c:v>44873</c:v>
                </c:pt>
                <c:pt idx="1043">
                  <c:v>44874</c:v>
                </c:pt>
                <c:pt idx="1044">
                  <c:v>44875</c:v>
                </c:pt>
                <c:pt idx="1045">
                  <c:v>44876</c:v>
                </c:pt>
                <c:pt idx="1046">
                  <c:v>44877</c:v>
                </c:pt>
                <c:pt idx="1047">
                  <c:v>44878</c:v>
                </c:pt>
                <c:pt idx="1048">
                  <c:v>44879</c:v>
                </c:pt>
                <c:pt idx="1049">
                  <c:v>44880</c:v>
                </c:pt>
                <c:pt idx="1050">
                  <c:v>44881</c:v>
                </c:pt>
                <c:pt idx="1051">
                  <c:v>44882</c:v>
                </c:pt>
                <c:pt idx="1052">
                  <c:v>44883</c:v>
                </c:pt>
                <c:pt idx="1053">
                  <c:v>44884</c:v>
                </c:pt>
                <c:pt idx="1054">
                  <c:v>44885</c:v>
                </c:pt>
                <c:pt idx="1055">
                  <c:v>44886</c:v>
                </c:pt>
                <c:pt idx="1056">
                  <c:v>44887</c:v>
                </c:pt>
                <c:pt idx="1057">
                  <c:v>44888</c:v>
                </c:pt>
                <c:pt idx="1058">
                  <c:v>44889</c:v>
                </c:pt>
                <c:pt idx="1059">
                  <c:v>44890</c:v>
                </c:pt>
                <c:pt idx="1060">
                  <c:v>44891</c:v>
                </c:pt>
                <c:pt idx="1061">
                  <c:v>44892</c:v>
                </c:pt>
                <c:pt idx="1062">
                  <c:v>44893</c:v>
                </c:pt>
                <c:pt idx="1063">
                  <c:v>44894</c:v>
                </c:pt>
                <c:pt idx="1064">
                  <c:v>44895</c:v>
                </c:pt>
                <c:pt idx="1065">
                  <c:v>44896</c:v>
                </c:pt>
                <c:pt idx="1066">
                  <c:v>44897</c:v>
                </c:pt>
                <c:pt idx="1067">
                  <c:v>44898</c:v>
                </c:pt>
                <c:pt idx="1068">
                  <c:v>44899</c:v>
                </c:pt>
                <c:pt idx="1069">
                  <c:v>44900</c:v>
                </c:pt>
                <c:pt idx="1070">
                  <c:v>44901</c:v>
                </c:pt>
                <c:pt idx="1071">
                  <c:v>44902</c:v>
                </c:pt>
                <c:pt idx="1072">
                  <c:v>44903</c:v>
                </c:pt>
                <c:pt idx="1073">
                  <c:v>44904</c:v>
                </c:pt>
                <c:pt idx="1074">
                  <c:v>44905</c:v>
                </c:pt>
                <c:pt idx="1075">
                  <c:v>44906</c:v>
                </c:pt>
                <c:pt idx="1076">
                  <c:v>44907</c:v>
                </c:pt>
                <c:pt idx="1077">
                  <c:v>44908</c:v>
                </c:pt>
                <c:pt idx="1078">
                  <c:v>44909</c:v>
                </c:pt>
                <c:pt idx="1079">
                  <c:v>44910</c:v>
                </c:pt>
                <c:pt idx="1080">
                  <c:v>44911</c:v>
                </c:pt>
                <c:pt idx="1081">
                  <c:v>44912</c:v>
                </c:pt>
                <c:pt idx="1082">
                  <c:v>44913</c:v>
                </c:pt>
                <c:pt idx="1083">
                  <c:v>44914</c:v>
                </c:pt>
                <c:pt idx="1084">
                  <c:v>44915</c:v>
                </c:pt>
                <c:pt idx="1085">
                  <c:v>44916</c:v>
                </c:pt>
                <c:pt idx="1086">
                  <c:v>44917</c:v>
                </c:pt>
                <c:pt idx="1087">
                  <c:v>44918</c:v>
                </c:pt>
                <c:pt idx="1088">
                  <c:v>44919</c:v>
                </c:pt>
                <c:pt idx="1089">
                  <c:v>44920</c:v>
                </c:pt>
                <c:pt idx="1090">
                  <c:v>44921</c:v>
                </c:pt>
                <c:pt idx="1091">
                  <c:v>44922</c:v>
                </c:pt>
                <c:pt idx="1092">
                  <c:v>44923</c:v>
                </c:pt>
                <c:pt idx="1093">
                  <c:v>44924</c:v>
                </c:pt>
                <c:pt idx="1094">
                  <c:v>44925</c:v>
                </c:pt>
                <c:pt idx="1095">
                  <c:v>44926</c:v>
                </c:pt>
                <c:pt idx="1096">
                  <c:v>44927</c:v>
                </c:pt>
                <c:pt idx="1097">
                  <c:v>44928</c:v>
                </c:pt>
                <c:pt idx="1098">
                  <c:v>44929</c:v>
                </c:pt>
                <c:pt idx="1099">
                  <c:v>44930</c:v>
                </c:pt>
                <c:pt idx="1100">
                  <c:v>44931</c:v>
                </c:pt>
                <c:pt idx="1101">
                  <c:v>44932</c:v>
                </c:pt>
                <c:pt idx="1102">
                  <c:v>44933</c:v>
                </c:pt>
                <c:pt idx="1103">
                  <c:v>44934</c:v>
                </c:pt>
                <c:pt idx="1104">
                  <c:v>44935</c:v>
                </c:pt>
                <c:pt idx="1105">
                  <c:v>44936</c:v>
                </c:pt>
                <c:pt idx="1106">
                  <c:v>44937</c:v>
                </c:pt>
                <c:pt idx="1107">
                  <c:v>44938</c:v>
                </c:pt>
                <c:pt idx="1108">
                  <c:v>44939</c:v>
                </c:pt>
                <c:pt idx="1109">
                  <c:v>44940</c:v>
                </c:pt>
                <c:pt idx="1110">
                  <c:v>44941</c:v>
                </c:pt>
                <c:pt idx="1111">
                  <c:v>44942</c:v>
                </c:pt>
                <c:pt idx="1112">
                  <c:v>44943</c:v>
                </c:pt>
                <c:pt idx="1113">
                  <c:v>44944</c:v>
                </c:pt>
                <c:pt idx="1114">
                  <c:v>44945</c:v>
                </c:pt>
                <c:pt idx="1115">
                  <c:v>44946</c:v>
                </c:pt>
                <c:pt idx="1116">
                  <c:v>44947</c:v>
                </c:pt>
                <c:pt idx="1117">
                  <c:v>44948</c:v>
                </c:pt>
                <c:pt idx="1118">
                  <c:v>44949</c:v>
                </c:pt>
                <c:pt idx="1119">
                  <c:v>44950</c:v>
                </c:pt>
                <c:pt idx="1120">
                  <c:v>44951</c:v>
                </c:pt>
                <c:pt idx="1121">
                  <c:v>44952</c:v>
                </c:pt>
                <c:pt idx="1122">
                  <c:v>44953</c:v>
                </c:pt>
                <c:pt idx="1123">
                  <c:v>44954</c:v>
                </c:pt>
                <c:pt idx="1124">
                  <c:v>44955</c:v>
                </c:pt>
                <c:pt idx="1125">
                  <c:v>44956</c:v>
                </c:pt>
                <c:pt idx="1126">
                  <c:v>44957</c:v>
                </c:pt>
                <c:pt idx="1127">
                  <c:v>44958</c:v>
                </c:pt>
                <c:pt idx="1128">
                  <c:v>44959</c:v>
                </c:pt>
                <c:pt idx="1129">
                  <c:v>44960</c:v>
                </c:pt>
                <c:pt idx="1130">
                  <c:v>44961</c:v>
                </c:pt>
                <c:pt idx="1131">
                  <c:v>44962</c:v>
                </c:pt>
                <c:pt idx="1132">
                  <c:v>44963</c:v>
                </c:pt>
                <c:pt idx="1133">
                  <c:v>44964</c:v>
                </c:pt>
                <c:pt idx="1134">
                  <c:v>44965</c:v>
                </c:pt>
                <c:pt idx="1135">
                  <c:v>44966</c:v>
                </c:pt>
                <c:pt idx="1136">
                  <c:v>44967</c:v>
                </c:pt>
                <c:pt idx="1137">
                  <c:v>44968</c:v>
                </c:pt>
                <c:pt idx="1138">
                  <c:v>44969</c:v>
                </c:pt>
                <c:pt idx="1139">
                  <c:v>44970</c:v>
                </c:pt>
                <c:pt idx="1140">
                  <c:v>44971</c:v>
                </c:pt>
                <c:pt idx="1141">
                  <c:v>44972</c:v>
                </c:pt>
                <c:pt idx="1142">
                  <c:v>44973</c:v>
                </c:pt>
                <c:pt idx="1143">
                  <c:v>44974</c:v>
                </c:pt>
                <c:pt idx="1144">
                  <c:v>44975</c:v>
                </c:pt>
                <c:pt idx="1145">
                  <c:v>44976</c:v>
                </c:pt>
                <c:pt idx="1146">
                  <c:v>44977</c:v>
                </c:pt>
                <c:pt idx="1147">
                  <c:v>44978</c:v>
                </c:pt>
                <c:pt idx="1148">
                  <c:v>44979</c:v>
                </c:pt>
                <c:pt idx="1149">
                  <c:v>44980</c:v>
                </c:pt>
                <c:pt idx="1150">
                  <c:v>44981</c:v>
                </c:pt>
                <c:pt idx="1151">
                  <c:v>44982</c:v>
                </c:pt>
                <c:pt idx="1152">
                  <c:v>44983</c:v>
                </c:pt>
                <c:pt idx="1153">
                  <c:v>44984</c:v>
                </c:pt>
                <c:pt idx="1154">
                  <c:v>44985</c:v>
                </c:pt>
                <c:pt idx="1155">
                  <c:v>44986</c:v>
                </c:pt>
                <c:pt idx="1156">
                  <c:v>44987</c:v>
                </c:pt>
                <c:pt idx="1157">
                  <c:v>44988</c:v>
                </c:pt>
                <c:pt idx="1158">
                  <c:v>44989</c:v>
                </c:pt>
                <c:pt idx="1159">
                  <c:v>44990</c:v>
                </c:pt>
                <c:pt idx="1160">
                  <c:v>44991</c:v>
                </c:pt>
                <c:pt idx="1161">
                  <c:v>44992</c:v>
                </c:pt>
                <c:pt idx="1162">
                  <c:v>44993</c:v>
                </c:pt>
                <c:pt idx="1163">
                  <c:v>44994</c:v>
                </c:pt>
                <c:pt idx="1164">
                  <c:v>44995</c:v>
                </c:pt>
                <c:pt idx="1165">
                  <c:v>44996</c:v>
                </c:pt>
                <c:pt idx="1166">
                  <c:v>44997</c:v>
                </c:pt>
                <c:pt idx="1167">
                  <c:v>44998</c:v>
                </c:pt>
                <c:pt idx="1168">
                  <c:v>44999</c:v>
                </c:pt>
                <c:pt idx="1169">
                  <c:v>45000</c:v>
                </c:pt>
                <c:pt idx="1170">
                  <c:v>45001</c:v>
                </c:pt>
                <c:pt idx="1171">
                  <c:v>45002</c:v>
                </c:pt>
                <c:pt idx="1172">
                  <c:v>45003</c:v>
                </c:pt>
                <c:pt idx="1173">
                  <c:v>45004</c:v>
                </c:pt>
                <c:pt idx="1174">
                  <c:v>45005</c:v>
                </c:pt>
                <c:pt idx="1175">
                  <c:v>45006</c:v>
                </c:pt>
                <c:pt idx="1176">
                  <c:v>45007</c:v>
                </c:pt>
                <c:pt idx="1177">
                  <c:v>45008</c:v>
                </c:pt>
                <c:pt idx="1178">
                  <c:v>45009</c:v>
                </c:pt>
                <c:pt idx="1179">
                  <c:v>45010</c:v>
                </c:pt>
                <c:pt idx="1180">
                  <c:v>45011</c:v>
                </c:pt>
                <c:pt idx="1181">
                  <c:v>45012</c:v>
                </c:pt>
                <c:pt idx="1182">
                  <c:v>45013</c:v>
                </c:pt>
                <c:pt idx="1183">
                  <c:v>45014</c:v>
                </c:pt>
                <c:pt idx="1184">
                  <c:v>45015</c:v>
                </c:pt>
                <c:pt idx="1185">
                  <c:v>45016</c:v>
                </c:pt>
                <c:pt idx="1186">
                  <c:v>45017</c:v>
                </c:pt>
                <c:pt idx="1187">
                  <c:v>45018</c:v>
                </c:pt>
                <c:pt idx="1188">
                  <c:v>45019</c:v>
                </c:pt>
                <c:pt idx="1189">
                  <c:v>45020</c:v>
                </c:pt>
                <c:pt idx="1190">
                  <c:v>45021</c:v>
                </c:pt>
                <c:pt idx="1191">
                  <c:v>45022</c:v>
                </c:pt>
                <c:pt idx="1192">
                  <c:v>45023</c:v>
                </c:pt>
                <c:pt idx="1193">
                  <c:v>45024</c:v>
                </c:pt>
                <c:pt idx="1194">
                  <c:v>45025</c:v>
                </c:pt>
                <c:pt idx="1195">
                  <c:v>45026</c:v>
                </c:pt>
                <c:pt idx="1196">
                  <c:v>45027</c:v>
                </c:pt>
                <c:pt idx="1197">
                  <c:v>45028</c:v>
                </c:pt>
                <c:pt idx="1198">
                  <c:v>45029</c:v>
                </c:pt>
                <c:pt idx="1199">
                  <c:v>45030</c:v>
                </c:pt>
                <c:pt idx="1200">
                  <c:v>45031</c:v>
                </c:pt>
                <c:pt idx="1201">
                  <c:v>45032</c:v>
                </c:pt>
                <c:pt idx="1202">
                  <c:v>45033</c:v>
                </c:pt>
                <c:pt idx="1203">
                  <c:v>45034</c:v>
                </c:pt>
                <c:pt idx="1204">
                  <c:v>45035</c:v>
                </c:pt>
                <c:pt idx="1205">
                  <c:v>45036</c:v>
                </c:pt>
                <c:pt idx="1206">
                  <c:v>45037</c:v>
                </c:pt>
                <c:pt idx="1207">
                  <c:v>45038</c:v>
                </c:pt>
                <c:pt idx="1208">
                  <c:v>45039</c:v>
                </c:pt>
                <c:pt idx="1209">
                  <c:v>45040</c:v>
                </c:pt>
                <c:pt idx="1210">
                  <c:v>45041</c:v>
                </c:pt>
                <c:pt idx="1211">
                  <c:v>45042</c:v>
                </c:pt>
                <c:pt idx="1212">
                  <c:v>45043</c:v>
                </c:pt>
                <c:pt idx="1213">
                  <c:v>45044</c:v>
                </c:pt>
                <c:pt idx="1214">
                  <c:v>45045</c:v>
                </c:pt>
                <c:pt idx="1215">
                  <c:v>45046</c:v>
                </c:pt>
                <c:pt idx="1216">
                  <c:v>45047</c:v>
                </c:pt>
                <c:pt idx="1217">
                  <c:v>45048</c:v>
                </c:pt>
                <c:pt idx="1218">
                  <c:v>45049</c:v>
                </c:pt>
                <c:pt idx="1219">
                  <c:v>45050</c:v>
                </c:pt>
                <c:pt idx="1220">
                  <c:v>45051</c:v>
                </c:pt>
                <c:pt idx="1221">
                  <c:v>45052</c:v>
                </c:pt>
                <c:pt idx="1222">
                  <c:v>45053</c:v>
                </c:pt>
                <c:pt idx="1223">
                  <c:v>45054</c:v>
                </c:pt>
                <c:pt idx="1224">
                  <c:v>45055</c:v>
                </c:pt>
                <c:pt idx="1225">
                  <c:v>45056</c:v>
                </c:pt>
                <c:pt idx="1226">
                  <c:v>45057</c:v>
                </c:pt>
                <c:pt idx="1227">
                  <c:v>45058</c:v>
                </c:pt>
                <c:pt idx="1228">
                  <c:v>45059</c:v>
                </c:pt>
                <c:pt idx="1229">
                  <c:v>45060</c:v>
                </c:pt>
                <c:pt idx="1230">
                  <c:v>45061</c:v>
                </c:pt>
                <c:pt idx="1231">
                  <c:v>45062</c:v>
                </c:pt>
                <c:pt idx="1232">
                  <c:v>45063</c:v>
                </c:pt>
                <c:pt idx="1233">
                  <c:v>45064</c:v>
                </c:pt>
                <c:pt idx="1234">
                  <c:v>45065</c:v>
                </c:pt>
                <c:pt idx="1235">
                  <c:v>45066</c:v>
                </c:pt>
                <c:pt idx="1236">
                  <c:v>45067</c:v>
                </c:pt>
                <c:pt idx="1237">
                  <c:v>45068</c:v>
                </c:pt>
                <c:pt idx="1238">
                  <c:v>45069</c:v>
                </c:pt>
                <c:pt idx="1239">
                  <c:v>45070</c:v>
                </c:pt>
                <c:pt idx="1240">
                  <c:v>45071</c:v>
                </c:pt>
                <c:pt idx="1241">
                  <c:v>45072</c:v>
                </c:pt>
                <c:pt idx="1242">
                  <c:v>45073</c:v>
                </c:pt>
                <c:pt idx="1243">
                  <c:v>45074</c:v>
                </c:pt>
                <c:pt idx="1244">
                  <c:v>45075</c:v>
                </c:pt>
                <c:pt idx="1245">
                  <c:v>45076</c:v>
                </c:pt>
                <c:pt idx="1246">
                  <c:v>45077</c:v>
                </c:pt>
                <c:pt idx="1247">
                  <c:v>45078</c:v>
                </c:pt>
                <c:pt idx="1248">
                  <c:v>45079</c:v>
                </c:pt>
                <c:pt idx="1249">
                  <c:v>45080</c:v>
                </c:pt>
                <c:pt idx="1250">
                  <c:v>45081</c:v>
                </c:pt>
                <c:pt idx="1251">
                  <c:v>45082</c:v>
                </c:pt>
              </c:numCache>
            </c:numRef>
          </c:cat>
          <c:val>
            <c:numRef>
              <c:f>'DK udtræk og injicering'!$H$4641:$H$5892</c:f>
              <c:numCache>
                <c:formatCode>_ * #,##0_ ;_ * \-#,##0_ ;_ * "-"??_ ;_ @_ </c:formatCode>
                <c:ptCount val="1252"/>
                <c:pt idx="0">
                  <c:v>-20.594999999999999</c:v>
                </c:pt>
                <c:pt idx="1">
                  <c:v>-34.506</c:v>
                </c:pt>
                <c:pt idx="2">
                  <c:v>-33.819000000000003</c:v>
                </c:pt>
                <c:pt idx="3">
                  <c:v>-40.863</c:v>
                </c:pt>
                <c:pt idx="4">
                  <c:v>-35.81</c:v>
                </c:pt>
                <c:pt idx="5">
                  <c:v>-38.631999999999998</c:v>
                </c:pt>
                <c:pt idx="6">
                  <c:v>-39.119999999999997</c:v>
                </c:pt>
                <c:pt idx="7">
                  <c:v>-46.975000000000001</c:v>
                </c:pt>
                <c:pt idx="8">
                  <c:v>-49.460999999999999</c:v>
                </c:pt>
                <c:pt idx="9">
                  <c:v>-56.889000000000003</c:v>
                </c:pt>
                <c:pt idx="10">
                  <c:v>-35.651000000000003</c:v>
                </c:pt>
                <c:pt idx="11">
                  <c:v>-28.623000000000001</c:v>
                </c:pt>
                <c:pt idx="12">
                  <c:v>-57.868000000000002</c:v>
                </c:pt>
                <c:pt idx="13">
                  <c:v>-63.743000000000002</c:v>
                </c:pt>
                <c:pt idx="14">
                  <c:v>-44.27</c:v>
                </c:pt>
                <c:pt idx="15">
                  <c:v>-48.082000000000001</c:v>
                </c:pt>
                <c:pt idx="16">
                  <c:v>-37.192999999999998</c:v>
                </c:pt>
                <c:pt idx="17">
                  <c:v>-42.5</c:v>
                </c:pt>
                <c:pt idx="18">
                  <c:v>-42.167999999999999</c:v>
                </c:pt>
                <c:pt idx="19">
                  <c:v>-51.622999999999998</c:v>
                </c:pt>
                <c:pt idx="20">
                  <c:v>-45.302999999999997</c:v>
                </c:pt>
                <c:pt idx="21">
                  <c:v>-67.167000000000002</c:v>
                </c:pt>
                <c:pt idx="22">
                  <c:v>-66.600999999999999</c:v>
                </c:pt>
                <c:pt idx="23">
                  <c:v>-60.835999999999999</c:v>
                </c:pt>
                <c:pt idx="24">
                  <c:v>-49.366</c:v>
                </c:pt>
                <c:pt idx="25">
                  <c:v>-52.829000000000001</c:v>
                </c:pt>
                <c:pt idx="26">
                  <c:v>-64.23</c:v>
                </c:pt>
                <c:pt idx="27">
                  <c:v>-58.99</c:v>
                </c:pt>
                <c:pt idx="28">
                  <c:v>-62.834000000000003</c:v>
                </c:pt>
                <c:pt idx="29">
                  <c:v>-56.529000000000003</c:v>
                </c:pt>
                <c:pt idx="30">
                  <c:v>-54.533000000000001</c:v>
                </c:pt>
                <c:pt idx="31">
                  <c:v>-42.177999999999997</c:v>
                </c:pt>
                <c:pt idx="32">
                  <c:v>-45.966999999999999</c:v>
                </c:pt>
                <c:pt idx="33">
                  <c:v>-59.302</c:v>
                </c:pt>
                <c:pt idx="34">
                  <c:v>-65.234999999999999</c:v>
                </c:pt>
                <c:pt idx="35">
                  <c:v>-76.644999999999996</c:v>
                </c:pt>
                <c:pt idx="36">
                  <c:v>-72.433999999999997</c:v>
                </c:pt>
                <c:pt idx="37">
                  <c:v>-54.58</c:v>
                </c:pt>
                <c:pt idx="38">
                  <c:v>-51.9</c:v>
                </c:pt>
                <c:pt idx="39">
                  <c:v>-45.124000000000002</c:v>
                </c:pt>
                <c:pt idx="40">
                  <c:v>-51.603999999999999</c:v>
                </c:pt>
                <c:pt idx="41">
                  <c:v>-57.421999999999997</c:v>
                </c:pt>
                <c:pt idx="42">
                  <c:v>-60.47</c:v>
                </c:pt>
                <c:pt idx="43">
                  <c:v>-69.283000000000001</c:v>
                </c:pt>
                <c:pt idx="44">
                  <c:v>-61.734000000000002</c:v>
                </c:pt>
                <c:pt idx="45">
                  <c:v>-28.981999999999999</c:v>
                </c:pt>
                <c:pt idx="46">
                  <c:v>-19.423999999999999</c:v>
                </c:pt>
                <c:pt idx="47">
                  <c:v>-33.305999999999997</c:v>
                </c:pt>
                <c:pt idx="48">
                  <c:v>-38.780999999999999</c:v>
                </c:pt>
                <c:pt idx="49">
                  <c:v>-48.988</c:v>
                </c:pt>
                <c:pt idx="50">
                  <c:v>-47.98</c:v>
                </c:pt>
                <c:pt idx="51">
                  <c:v>-57.848999999999997</c:v>
                </c:pt>
                <c:pt idx="52">
                  <c:v>-39.880000000000003</c:v>
                </c:pt>
                <c:pt idx="53">
                  <c:v>-44.652000000000001</c:v>
                </c:pt>
                <c:pt idx="54">
                  <c:v>-57.963000000000001</c:v>
                </c:pt>
                <c:pt idx="55">
                  <c:v>-61.012999999999998</c:v>
                </c:pt>
                <c:pt idx="56">
                  <c:v>-69.933999999999997</c:v>
                </c:pt>
                <c:pt idx="57">
                  <c:v>-75.882000000000005</c:v>
                </c:pt>
                <c:pt idx="58">
                  <c:v>-61.265000000000001</c:v>
                </c:pt>
                <c:pt idx="59">
                  <c:v>-38.46</c:v>
                </c:pt>
                <c:pt idx="60">
                  <c:v>-15.523</c:v>
                </c:pt>
                <c:pt idx="61">
                  <c:v>-29.074000000000002</c:v>
                </c:pt>
                <c:pt idx="62">
                  <c:v>-19.07</c:v>
                </c:pt>
                <c:pt idx="63">
                  <c:v>-32.313000000000002</c:v>
                </c:pt>
                <c:pt idx="64">
                  <c:v>-29.696000000000002</c:v>
                </c:pt>
                <c:pt idx="65">
                  <c:v>-34.368000000000002</c:v>
                </c:pt>
                <c:pt idx="66">
                  <c:v>-14.926</c:v>
                </c:pt>
                <c:pt idx="67">
                  <c:v>-12.430999999999999</c:v>
                </c:pt>
                <c:pt idx="68">
                  <c:v>-29.289000000000001</c:v>
                </c:pt>
                <c:pt idx="69">
                  <c:v>-28.53</c:v>
                </c:pt>
                <c:pt idx="70">
                  <c:v>-26.454000000000001</c:v>
                </c:pt>
                <c:pt idx="71">
                  <c:v>-20.942</c:v>
                </c:pt>
                <c:pt idx="72">
                  <c:v>-32.826999999999998</c:v>
                </c:pt>
                <c:pt idx="73">
                  <c:v>-18.067</c:v>
                </c:pt>
                <c:pt idx="74">
                  <c:v>-11.169</c:v>
                </c:pt>
                <c:pt idx="75">
                  <c:v>-23.405999999999999</c:v>
                </c:pt>
                <c:pt idx="76">
                  <c:v>-27.305</c:v>
                </c:pt>
                <c:pt idx="77">
                  <c:v>-15.362</c:v>
                </c:pt>
                <c:pt idx="78">
                  <c:v>-25.846</c:v>
                </c:pt>
                <c:pt idx="79">
                  <c:v>-28.076000000000001</c:v>
                </c:pt>
                <c:pt idx="80">
                  <c:v>-25.643999999999998</c:v>
                </c:pt>
                <c:pt idx="81">
                  <c:v>-28.564</c:v>
                </c:pt>
                <c:pt idx="82">
                  <c:v>-45.19</c:v>
                </c:pt>
                <c:pt idx="83">
                  <c:v>-31.696999999999999</c:v>
                </c:pt>
                <c:pt idx="84">
                  <c:v>-31.265999999999998</c:v>
                </c:pt>
                <c:pt idx="85">
                  <c:v>-42.031999999999996</c:v>
                </c:pt>
                <c:pt idx="86">
                  <c:v>-32.683999999999997</c:v>
                </c:pt>
                <c:pt idx="87">
                  <c:v>-16.61</c:v>
                </c:pt>
                <c:pt idx="88">
                  <c:v>-20.591999999999999</c:v>
                </c:pt>
                <c:pt idx="89">
                  <c:v>-31.803000000000001</c:v>
                </c:pt>
                <c:pt idx="90">
                  <c:v>-40.597999999999999</c:v>
                </c:pt>
                <c:pt idx="91">
                  <c:v>-43.173000000000002</c:v>
                </c:pt>
                <c:pt idx="92">
                  <c:v>-33.944000000000003</c:v>
                </c:pt>
                <c:pt idx="93">
                  <c:v>-40.473999999999997</c:v>
                </c:pt>
                <c:pt idx="94">
                  <c:v>-22.353999999999999</c:v>
                </c:pt>
                <c:pt idx="95">
                  <c:v>-8.9149999999999991</c:v>
                </c:pt>
                <c:pt idx="96">
                  <c:v>-8.9149999999999991</c:v>
                </c:pt>
                <c:pt idx="97">
                  <c:v>-13.239000000000001</c:v>
                </c:pt>
                <c:pt idx="98">
                  <c:v>-14.143000000000001</c:v>
                </c:pt>
                <c:pt idx="99">
                  <c:v>-1.762</c:v>
                </c:pt>
                <c:pt idx="100">
                  <c:v>-5.8999999999999997E-2</c:v>
                </c:pt>
                <c:pt idx="101">
                  <c:v>-5.8999999999999997E-2</c:v>
                </c:pt>
                <c:pt idx="102">
                  <c:v>-0.28299999999999997</c:v>
                </c:pt>
                <c:pt idx="103">
                  <c:v>-6.6000000000000003E-2</c:v>
                </c:pt>
                <c:pt idx="104">
                  <c:v>-23.036999999999999</c:v>
                </c:pt>
                <c:pt idx="105">
                  <c:v>-22.838999999999999</c:v>
                </c:pt>
                <c:pt idx="106">
                  <c:v>-7.0910000000000002</c:v>
                </c:pt>
                <c:pt idx="107">
                  <c:v>-8.1989999999999998</c:v>
                </c:pt>
                <c:pt idx="108">
                  <c:v>-6.0590000000000002</c:v>
                </c:pt>
                <c:pt idx="109">
                  <c:v>-6.0590000000000002</c:v>
                </c:pt>
                <c:pt idx="110">
                  <c:v>-8.4009999999999998</c:v>
                </c:pt>
                <c:pt idx="111">
                  <c:v>-2.9369999999999998</c:v>
                </c:pt>
                <c:pt idx="112">
                  <c:v>-10.618</c:v>
                </c:pt>
                <c:pt idx="113">
                  <c:v>-9.1890000000000001</c:v>
                </c:pt>
                <c:pt idx="114">
                  <c:v>-3.2029999999999998</c:v>
                </c:pt>
                <c:pt idx="115">
                  <c:v>-5.8999999999999997E-2</c:v>
                </c:pt>
                <c:pt idx="116">
                  <c:v>-5.8999999999999997E-2</c:v>
                </c:pt>
                <c:pt idx="117">
                  <c:v>-5.8999999999999997E-2</c:v>
                </c:pt>
                <c:pt idx="118">
                  <c:v>-1.2649999999999999</c:v>
                </c:pt>
                <c:pt idx="119">
                  <c:v>-12.696</c:v>
                </c:pt>
                <c:pt idx="120">
                  <c:v>-11.964</c:v>
                </c:pt>
                <c:pt idx="121">
                  <c:v>-2.2370000000000001</c:v>
                </c:pt>
                <c:pt idx="122">
                  <c:v>-5.8999999999999997E-2</c:v>
                </c:pt>
                <c:pt idx="123">
                  <c:v>-5.8999999999999997E-2</c:v>
                </c:pt>
                <c:pt idx="124">
                  <c:v>-10.265000000000001</c:v>
                </c:pt>
                <c:pt idx="125">
                  <c:v>-1.873</c:v>
                </c:pt>
                <c:pt idx="126">
                  <c:v>-3.5289999999999999</c:v>
                </c:pt>
                <c:pt idx="127">
                  <c:v>0</c:v>
                </c:pt>
                <c:pt idx="128">
                  <c:v>-0.72</c:v>
                </c:pt>
                <c:pt idx="129">
                  <c:v>-0.38</c:v>
                </c:pt>
                <c:pt idx="130">
                  <c:v>-0.45600000000000002</c:v>
                </c:pt>
                <c:pt idx="131">
                  <c:v>-1.8</c:v>
                </c:pt>
                <c:pt idx="132">
                  <c:v>-1.8240000000000001</c:v>
                </c:pt>
                <c:pt idx="133">
                  <c:v>-7.2720000000000002</c:v>
                </c:pt>
                <c:pt idx="134">
                  <c:v>-2.0939999999999999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-0.54300000000000004</c:v>
                </c:pt>
                <c:pt idx="139">
                  <c:v>0</c:v>
                </c:pt>
                <c:pt idx="140">
                  <c:v>-0.751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-0.76600000000000001</c:v>
                </c:pt>
                <c:pt idx="145">
                  <c:v>-12.243</c:v>
                </c:pt>
                <c:pt idx="146">
                  <c:v>-2.38</c:v>
                </c:pt>
                <c:pt idx="147">
                  <c:v>-5.367</c:v>
                </c:pt>
                <c:pt idx="148">
                  <c:v>-1.145</c:v>
                </c:pt>
                <c:pt idx="149">
                  <c:v>-5.5750000000000002</c:v>
                </c:pt>
                <c:pt idx="150">
                  <c:v>0</c:v>
                </c:pt>
                <c:pt idx="151">
                  <c:v>0</c:v>
                </c:pt>
                <c:pt idx="152">
                  <c:v>-2.585</c:v>
                </c:pt>
                <c:pt idx="153">
                  <c:v>-0.95199999999999996</c:v>
                </c:pt>
                <c:pt idx="154">
                  <c:v>-2.2919999999999998</c:v>
                </c:pt>
                <c:pt idx="155">
                  <c:v>-8.7119999999999997</c:v>
                </c:pt>
                <c:pt idx="156">
                  <c:v>-8.7119999999999997</c:v>
                </c:pt>
                <c:pt idx="157">
                  <c:v>-1.3740000000000001</c:v>
                </c:pt>
                <c:pt idx="158">
                  <c:v>0</c:v>
                </c:pt>
                <c:pt idx="159">
                  <c:v>-2.7839999999999998</c:v>
                </c:pt>
                <c:pt idx="160">
                  <c:v>-8.0489999999999995</c:v>
                </c:pt>
                <c:pt idx="161">
                  <c:v>-0.17299999999999999</c:v>
                </c:pt>
                <c:pt idx="162">
                  <c:v>-3.496</c:v>
                </c:pt>
                <c:pt idx="163">
                  <c:v>-0.93600000000000005</c:v>
                </c:pt>
                <c:pt idx="164">
                  <c:v>-3.4409999999999998</c:v>
                </c:pt>
                <c:pt idx="165">
                  <c:v>-7.3440000000000003</c:v>
                </c:pt>
                <c:pt idx="166">
                  <c:v>-19.501999999999999</c:v>
                </c:pt>
                <c:pt idx="167">
                  <c:v>-8.0809999999999995</c:v>
                </c:pt>
                <c:pt idx="168">
                  <c:v>-4.8</c:v>
                </c:pt>
                <c:pt idx="169">
                  <c:v>-0.58399999999999996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-6.343</c:v>
                </c:pt>
                <c:pt idx="174">
                  <c:v>-0.66300000000000003</c:v>
                </c:pt>
                <c:pt idx="175">
                  <c:v>0</c:v>
                </c:pt>
                <c:pt idx="176">
                  <c:v>-7.0650000000000004</c:v>
                </c:pt>
                <c:pt idx="177">
                  <c:v>-2.1459999999999999</c:v>
                </c:pt>
                <c:pt idx="178">
                  <c:v>-0.24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-1.284</c:v>
                </c:pt>
                <c:pt idx="183">
                  <c:v>-5.4960000000000004</c:v>
                </c:pt>
                <c:pt idx="184">
                  <c:v>-0.876</c:v>
                </c:pt>
                <c:pt idx="185">
                  <c:v>-0.39600000000000002</c:v>
                </c:pt>
                <c:pt idx="186">
                  <c:v>-0.39600000000000002</c:v>
                </c:pt>
                <c:pt idx="187">
                  <c:v>-5.1959999999999997</c:v>
                </c:pt>
                <c:pt idx="188">
                  <c:v>-1.643</c:v>
                </c:pt>
                <c:pt idx="189">
                  <c:v>-3.2269999999999999</c:v>
                </c:pt>
                <c:pt idx="190">
                  <c:v>-3.9220000000000002</c:v>
                </c:pt>
                <c:pt idx="191">
                  <c:v>-2.2850000000000001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-0.91200000000000003</c:v>
                </c:pt>
                <c:pt idx="197">
                  <c:v>0</c:v>
                </c:pt>
                <c:pt idx="198">
                  <c:v>-3.5000000000000003E-2</c:v>
                </c:pt>
                <c:pt idx="199">
                  <c:v>-2.387</c:v>
                </c:pt>
                <c:pt idx="200">
                  <c:v>-2.29</c:v>
                </c:pt>
                <c:pt idx="201">
                  <c:v>-2.5920000000000001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-4.5599999999999996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-5.4960000000000004</c:v>
                </c:pt>
                <c:pt idx="212">
                  <c:v>-6.4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-8.2970000000000006</c:v>
                </c:pt>
                <c:pt idx="218">
                  <c:v>-1.377</c:v>
                </c:pt>
                <c:pt idx="219">
                  <c:v>-11.263</c:v>
                </c:pt>
                <c:pt idx="220">
                  <c:v>-1.022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-1.708</c:v>
                </c:pt>
                <c:pt idx="231">
                  <c:v>-0.56999999999999995</c:v>
                </c:pt>
                <c:pt idx="232">
                  <c:v>-0.72</c:v>
                </c:pt>
                <c:pt idx="233">
                  <c:v>-1.145</c:v>
                </c:pt>
                <c:pt idx="234">
                  <c:v>0</c:v>
                </c:pt>
                <c:pt idx="235">
                  <c:v>0</c:v>
                </c:pt>
                <c:pt idx="236">
                  <c:v>-1.44</c:v>
                </c:pt>
                <c:pt idx="237">
                  <c:v>-5.7359999999999998</c:v>
                </c:pt>
                <c:pt idx="238">
                  <c:v>-2.5259999999999998</c:v>
                </c:pt>
                <c:pt idx="239">
                  <c:v>-6.3460000000000001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-6.2229999999999999</c:v>
                </c:pt>
                <c:pt idx="244">
                  <c:v>0</c:v>
                </c:pt>
                <c:pt idx="245">
                  <c:v>-10.587999999999999</c:v>
                </c:pt>
                <c:pt idx="246">
                  <c:v>-4.399</c:v>
                </c:pt>
                <c:pt idx="247">
                  <c:v>-2.7730000000000001</c:v>
                </c:pt>
                <c:pt idx="248">
                  <c:v>-1.218</c:v>
                </c:pt>
                <c:pt idx="249">
                  <c:v>-1.764</c:v>
                </c:pt>
                <c:pt idx="250">
                  <c:v>-11.093999999999999</c:v>
                </c:pt>
                <c:pt idx="251">
                  <c:v>-5.7110000000000003</c:v>
                </c:pt>
                <c:pt idx="252">
                  <c:v>0</c:v>
                </c:pt>
                <c:pt idx="253">
                  <c:v>-1.8580000000000001</c:v>
                </c:pt>
                <c:pt idx="254">
                  <c:v>-8.7490000000000006</c:v>
                </c:pt>
                <c:pt idx="255">
                  <c:v>-1.792</c:v>
                </c:pt>
                <c:pt idx="256">
                  <c:v>0</c:v>
                </c:pt>
                <c:pt idx="257">
                  <c:v>-2</c:v>
                </c:pt>
                <c:pt idx="258">
                  <c:v>-3.7440000000000002</c:v>
                </c:pt>
                <c:pt idx="259">
                  <c:v>-0.8</c:v>
                </c:pt>
                <c:pt idx="260">
                  <c:v>-6.6589999999999998</c:v>
                </c:pt>
                <c:pt idx="261">
                  <c:v>-4.4909999999999997</c:v>
                </c:pt>
                <c:pt idx="262">
                  <c:v>-3.1749999999999998</c:v>
                </c:pt>
                <c:pt idx="263">
                  <c:v>-0.97</c:v>
                </c:pt>
                <c:pt idx="264">
                  <c:v>-9.18</c:v>
                </c:pt>
                <c:pt idx="265">
                  <c:v>-0.52900000000000003</c:v>
                </c:pt>
                <c:pt idx="266">
                  <c:v>0</c:v>
                </c:pt>
                <c:pt idx="267">
                  <c:v>-3.21</c:v>
                </c:pt>
                <c:pt idx="268">
                  <c:v>-2.0590000000000002</c:v>
                </c:pt>
                <c:pt idx="269">
                  <c:v>0</c:v>
                </c:pt>
                <c:pt idx="270">
                  <c:v>0</c:v>
                </c:pt>
                <c:pt idx="271">
                  <c:v>-9.3640000000000008</c:v>
                </c:pt>
                <c:pt idx="272">
                  <c:v>-6.8019999999999996</c:v>
                </c:pt>
                <c:pt idx="273">
                  <c:v>-17.989999999999998</c:v>
                </c:pt>
                <c:pt idx="274">
                  <c:v>-16.486000000000001</c:v>
                </c:pt>
                <c:pt idx="275">
                  <c:v>-3.2480000000000002</c:v>
                </c:pt>
                <c:pt idx="276">
                  <c:v>0</c:v>
                </c:pt>
                <c:pt idx="277">
                  <c:v>0</c:v>
                </c:pt>
                <c:pt idx="278">
                  <c:v>-8.1910000000000007</c:v>
                </c:pt>
                <c:pt idx="279">
                  <c:v>-8.5459999999999994</c:v>
                </c:pt>
                <c:pt idx="280">
                  <c:v>-12.018000000000001</c:v>
                </c:pt>
                <c:pt idx="281">
                  <c:v>-3.77</c:v>
                </c:pt>
                <c:pt idx="282">
                  <c:v>-10.834</c:v>
                </c:pt>
                <c:pt idx="283">
                  <c:v>0</c:v>
                </c:pt>
                <c:pt idx="284">
                  <c:v>0</c:v>
                </c:pt>
                <c:pt idx="285">
                  <c:v>-11.031000000000001</c:v>
                </c:pt>
                <c:pt idx="286">
                  <c:v>-0.72099999999999997</c:v>
                </c:pt>
                <c:pt idx="287">
                  <c:v>-3.0070000000000001</c:v>
                </c:pt>
                <c:pt idx="288">
                  <c:v>-11.903</c:v>
                </c:pt>
                <c:pt idx="289">
                  <c:v>-11.942</c:v>
                </c:pt>
                <c:pt idx="290">
                  <c:v>-3.4780000000000002</c:v>
                </c:pt>
                <c:pt idx="291">
                  <c:v>-3.42</c:v>
                </c:pt>
                <c:pt idx="292">
                  <c:v>-19.213000000000001</c:v>
                </c:pt>
                <c:pt idx="293">
                  <c:v>-15.736000000000001</c:v>
                </c:pt>
                <c:pt idx="294">
                  <c:v>-12.993</c:v>
                </c:pt>
                <c:pt idx="295">
                  <c:v>-4.077</c:v>
                </c:pt>
                <c:pt idx="296">
                  <c:v>-15.97</c:v>
                </c:pt>
                <c:pt idx="297">
                  <c:v>0</c:v>
                </c:pt>
                <c:pt idx="298">
                  <c:v>0</c:v>
                </c:pt>
                <c:pt idx="299">
                  <c:v>-21.827999999999999</c:v>
                </c:pt>
                <c:pt idx="300">
                  <c:v>-7.2190000000000003</c:v>
                </c:pt>
                <c:pt idx="301">
                  <c:v>-2.1440000000000001</c:v>
                </c:pt>
                <c:pt idx="302">
                  <c:v>-14.885</c:v>
                </c:pt>
                <c:pt idx="303">
                  <c:v>-12.768000000000001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-2.1720000000000002</c:v>
                </c:pt>
                <c:pt idx="308">
                  <c:v>-5.0199999999999996</c:v>
                </c:pt>
                <c:pt idx="309">
                  <c:v>-4.3899999999999997</c:v>
                </c:pt>
                <c:pt idx="310">
                  <c:v>-18.085999999999999</c:v>
                </c:pt>
                <c:pt idx="311">
                  <c:v>0</c:v>
                </c:pt>
                <c:pt idx="312">
                  <c:v>-5.2060000000000004</c:v>
                </c:pt>
                <c:pt idx="313">
                  <c:v>-22.22</c:v>
                </c:pt>
                <c:pt idx="314">
                  <c:v>-20.295000000000002</c:v>
                </c:pt>
                <c:pt idx="315">
                  <c:v>-40.612000000000002</c:v>
                </c:pt>
                <c:pt idx="316">
                  <c:v>-22.260999999999999</c:v>
                </c:pt>
                <c:pt idx="317">
                  <c:v>-18.878</c:v>
                </c:pt>
                <c:pt idx="318">
                  <c:v>-8.2970000000000006</c:v>
                </c:pt>
                <c:pt idx="319">
                  <c:v>-4.1479999999999997</c:v>
                </c:pt>
                <c:pt idx="320">
                  <c:v>-17.242000000000001</c:v>
                </c:pt>
                <c:pt idx="321">
                  <c:v>-13.725</c:v>
                </c:pt>
                <c:pt idx="322">
                  <c:v>0</c:v>
                </c:pt>
                <c:pt idx="323">
                  <c:v>-16.225999999999999</c:v>
                </c:pt>
                <c:pt idx="324">
                  <c:v>-34.399000000000001</c:v>
                </c:pt>
                <c:pt idx="325">
                  <c:v>-6.0949999999999998</c:v>
                </c:pt>
                <c:pt idx="326">
                  <c:v>-4.7839999999999998</c:v>
                </c:pt>
                <c:pt idx="327">
                  <c:v>-14.904</c:v>
                </c:pt>
                <c:pt idx="328">
                  <c:v>-10.042999999999999</c:v>
                </c:pt>
                <c:pt idx="329">
                  <c:v>-19.492000000000001</c:v>
                </c:pt>
                <c:pt idx="330">
                  <c:v>-25.385000000000002</c:v>
                </c:pt>
                <c:pt idx="331">
                  <c:v>-41.161999999999999</c:v>
                </c:pt>
                <c:pt idx="332">
                  <c:v>-43.734999999999999</c:v>
                </c:pt>
                <c:pt idx="333">
                  <c:v>-47.703000000000003</c:v>
                </c:pt>
                <c:pt idx="334">
                  <c:v>-62.149000000000001</c:v>
                </c:pt>
                <c:pt idx="335">
                  <c:v>-49.575000000000003</c:v>
                </c:pt>
                <c:pt idx="336">
                  <c:v>-55.466000000000001</c:v>
                </c:pt>
                <c:pt idx="337">
                  <c:v>-54.094000000000001</c:v>
                </c:pt>
                <c:pt idx="338">
                  <c:v>-45.332999999999998</c:v>
                </c:pt>
                <c:pt idx="339">
                  <c:v>-16.972000000000001</c:v>
                </c:pt>
                <c:pt idx="340">
                  <c:v>-9.1319999999999997</c:v>
                </c:pt>
                <c:pt idx="341">
                  <c:v>-13.832000000000001</c:v>
                </c:pt>
                <c:pt idx="342">
                  <c:v>-14.718999999999999</c:v>
                </c:pt>
                <c:pt idx="343">
                  <c:v>-22.425999999999998</c:v>
                </c:pt>
                <c:pt idx="344">
                  <c:v>-67.02</c:v>
                </c:pt>
                <c:pt idx="345">
                  <c:v>-62.149000000000001</c:v>
                </c:pt>
                <c:pt idx="346">
                  <c:v>-23.597999999999999</c:v>
                </c:pt>
                <c:pt idx="347">
                  <c:v>-32.706000000000003</c:v>
                </c:pt>
                <c:pt idx="348">
                  <c:v>-23.966999999999999</c:v>
                </c:pt>
                <c:pt idx="349">
                  <c:v>-27.24</c:v>
                </c:pt>
                <c:pt idx="350">
                  <c:v>-29.042000000000002</c:v>
                </c:pt>
                <c:pt idx="351">
                  <c:v>-27.946999999999999</c:v>
                </c:pt>
                <c:pt idx="352">
                  <c:v>-14.291</c:v>
                </c:pt>
                <c:pt idx="353">
                  <c:v>-1.599</c:v>
                </c:pt>
                <c:pt idx="354">
                  <c:v>-1.3819999999999999</c:v>
                </c:pt>
                <c:pt idx="355">
                  <c:v>-2.5590000000000002</c:v>
                </c:pt>
                <c:pt idx="356">
                  <c:v>-9.4890000000000008</c:v>
                </c:pt>
                <c:pt idx="357">
                  <c:v>-13.894</c:v>
                </c:pt>
                <c:pt idx="358">
                  <c:v>-10.407</c:v>
                </c:pt>
                <c:pt idx="359">
                  <c:v>-15.991</c:v>
                </c:pt>
                <c:pt idx="360">
                  <c:v>-14.653</c:v>
                </c:pt>
                <c:pt idx="361">
                  <c:v>-16.513000000000002</c:v>
                </c:pt>
                <c:pt idx="362">
                  <c:v>-18.428000000000001</c:v>
                </c:pt>
                <c:pt idx="363">
                  <c:v>-29.143999999999998</c:v>
                </c:pt>
                <c:pt idx="364">
                  <c:v>-59.411000000000001</c:v>
                </c:pt>
                <c:pt idx="365">
                  <c:v>-35.904000000000003</c:v>
                </c:pt>
                <c:pt idx="366">
                  <c:v>-35.200000000000003</c:v>
                </c:pt>
                <c:pt idx="367">
                  <c:v>-49.96</c:v>
                </c:pt>
                <c:pt idx="368">
                  <c:v>-46.222999999999999</c:v>
                </c:pt>
                <c:pt idx="369">
                  <c:v>-64.290999999999997</c:v>
                </c:pt>
                <c:pt idx="370">
                  <c:v>-67.605999999999995</c:v>
                </c:pt>
                <c:pt idx="371">
                  <c:v>-67.494</c:v>
                </c:pt>
                <c:pt idx="372">
                  <c:v>-70.569999999999993</c:v>
                </c:pt>
                <c:pt idx="373">
                  <c:v>-93.962999999999994</c:v>
                </c:pt>
                <c:pt idx="374">
                  <c:v>-69.611999999999995</c:v>
                </c:pt>
                <c:pt idx="375">
                  <c:v>-69.301000000000002</c:v>
                </c:pt>
                <c:pt idx="376">
                  <c:v>-79.552999999999997</c:v>
                </c:pt>
                <c:pt idx="377">
                  <c:v>-82.891999999999996</c:v>
                </c:pt>
                <c:pt idx="378">
                  <c:v>-94.13</c:v>
                </c:pt>
                <c:pt idx="379">
                  <c:v>-100.753</c:v>
                </c:pt>
                <c:pt idx="380">
                  <c:v>-109.642</c:v>
                </c:pt>
                <c:pt idx="381">
                  <c:v>-102.345</c:v>
                </c:pt>
                <c:pt idx="382">
                  <c:v>-93.29</c:v>
                </c:pt>
                <c:pt idx="383">
                  <c:v>-99.944999999999993</c:v>
                </c:pt>
                <c:pt idx="384">
                  <c:v>-79.16</c:v>
                </c:pt>
                <c:pt idx="385">
                  <c:v>-55.905999999999999</c:v>
                </c:pt>
                <c:pt idx="386">
                  <c:v>-50.381</c:v>
                </c:pt>
                <c:pt idx="387">
                  <c:v>-54.076999999999998</c:v>
                </c:pt>
                <c:pt idx="388">
                  <c:v>-54.509</c:v>
                </c:pt>
                <c:pt idx="389">
                  <c:v>-60.731999999999999</c:v>
                </c:pt>
                <c:pt idx="390">
                  <c:v>-95.343000000000004</c:v>
                </c:pt>
                <c:pt idx="391">
                  <c:v>-95.209000000000003</c:v>
                </c:pt>
                <c:pt idx="392">
                  <c:v>-104.456</c:v>
                </c:pt>
                <c:pt idx="393">
                  <c:v>-88.573999999999998</c:v>
                </c:pt>
                <c:pt idx="394">
                  <c:v>-104.652</c:v>
                </c:pt>
                <c:pt idx="395">
                  <c:v>-91.402000000000001</c:v>
                </c:pt>
                <c:pt idx="396">
                  <c:v>-85.106999999999999</c:v>
                </c:pt>
                <c:pt idx="397">
                  <c:v>-88.135999999999996</c:v>
                </c:pt>
                <c:pt idx="398">
                  <c:v>-92.367000000000004</c:v>
                </c:pt>
                <c:pt idx="399">
                  <c:v>-113.203</c:v>
                </c:pt>
                <c:pt idx="400">
                  <c:v>-100.09099999999999</c:v>
                </c:pt>
                <c:pt idx="401">
                  <c:v>-100.21</c:v>
                </c:pt>
                <c:pt idx="402">
                  <c:v>-67.966999999999999</c:v>
                </c:pt>
                <c:pt idx="403">
                  <c:v>-69.951999999999998</c:v>
                </c:pt>
                <c:pt idx="404">
                  <c:v>-103.733</c:v>
                </c:pt>
                <c:pt idx="405">
                  <c:v>-103.821</c:v>
                </c:pt>
                <c:pt idx="406">
                  <c:v>-112.44799999999999</c:v>
                </c:pt>
                <c:pt idx="407">
                  <c:v>-111.00700000000001</c:v>
                </c:pt>
                <c:pt idx="408">
                  <c:v>-115.187</c:v>
                </c:pt>
                <c:pt idx="409">
                  <c:v>-98.486999999999995</c:v>
                </c:pt>
                <c:pt idx="410">
                  <c:v>-79.873000000000005</c:v>
                </c:pt>
                <c:pt idx="411">
                  <c:v>-59.694000000000003</c:v>
                </c:pt>
                <c:pt idx="412">
                  <c:v>-87.396000000000001</c:v>
                </c:pt>
                <c:pt idx="413">
                  <c:v>-80.872</c:v>
                </c:pt>
                <c:pt idx="414">
                  <c:v>-59.722000000000001</c:v>
                </c:pt>
                <c:pt idx="415">
                  <c:v>-72.438000000000002</c:v>
                </c:pt>
                <c:pt idx="416">
                  <c:v>-50.215000000000003</c:v>
                </c:pt>
                <c:pt idx="417">
                  <c:v>-33.481999999999999</c:v>
                </c:pt>
                <c:pt idx="418">
                  <c:v>-63.23</c:v>
                </c:pt>
                <c:pt idx="419">
                  <c:v>-49.965000000000003</c:v>
                </c:pt>
                <c:pt idx="420">
                  <c:v>-41.716000000000001</c:v>
                </c:pt>
                <c:pt idx="421">
                  <c:v>-44.719000000000001</c:v>
                </c:pt>
                <c:pt idx="422">
                  <c:v>-36.209000000000003</c:v>
                </c:pt>
                <c:pt idx="423">
                  <c:v>-43.323999999999998</c:v>
                </c:pt>
                <c:pt idx="424">
                  <c:v>-43.476999999999997</c:v>
                </c:pt>
                <c:pt idx="425">
                  <c:v>-67.882000000000005</c:v>
                </c:pt>
                <c:pt idx="426">
                  <c:v>-62.16</c:v>
                </c:pt>
                <c:pt idx="427">
                  <c:v>-63.709000000000003</c:v>
                </c:pt>
                <c:pt idx="428">
                  <c:v>-66.856999999999999</c:v>
                </c:pt>
                <c:pt idx="429">
                  <c:v>-70.631</c:v>
                </c:pt>
                <c:pt idx="430">
                  <c:v>-42.843000000000004</c:v>
                </c:pt>
                <c:pt idx="431">
                  <c:v>-48.512999999999998</c:v>
                </c:pt>
                <c:pt idx="432">
                  <c:v>-97.873000000000005</c:v>
                </c:pt>
                <c:pt idx="433">
                  <c:v>-72.625</c:v>
                </c:pt>
                <c:pt idx="434">
                  <c:v>-58.697000000000003</c:v>
                </c:pt>
                <c:pt idx="435">
                  <c:v>-46.231000000000002</c:v>
                </c:pt>
                <c:pt idx="436">
                  <c:v>-32.143999999999998</c:v>
                </c:pt>
                <c:pt idx="437">
                  <c:v>-14.731999999999999</c:v>
                </c:pt>
                <c:pt idx="438">
                  <c:v>-15.586</c:v>
                </c:pt>
                <c:pt idx="439">
                  <c:v>-41.795999999999999</c:v>
                </c:pt>
                <c:pt idx="440">
                  <c:v>-44.348999999999997</c:v>
                </c:pt>
                <c:pt idx="441">
                  <c:v>-46.701999999999998</c:v>
                </c:pt>
                <c:pt idx="442">
                  <c:v>-54.814999999999998</c:v>
                </c:pt>
                <c:pt idx="443">
                  <c:v>-57.095999999999997</c:v>
                </c:pt>
                <c:pt idx="444">
                  <c:v>-41.994999999999997</c:v>
                </c:pt>
                <c:pt idx="445">
                  <c:v>-35.536000000000001</c:v>
                </c:pt>
                <c:pt idx="446">
                  <c:v>-43.177</c:v>
                </c:pt>
                <c:pt idx="447">
                  <c:v>-41.527000000000001</c:v>
                </c:pt>
                <c:pt idx="448">
                  <c:v>-25.814</c:v>
                </c:pt>
                <c:pt idx="449">
                  <c:v>-28.532</c:v>
                </c:pt>
                <c:pt idx="450">
                  <c:v>-15.866</c:v>
                </c:pt>
                <c:pt idx="451">
                  <c:v>-8.1820000000000004</c:v>
                </c:pt>
                <c:pt idx="452">
                  <c:v>-13.641999999999999</c:v>
                </c:pt>
                <c:pt idx="453">
                  <c:v>-13.039</c:v>
                </c:pt>
                <c:pt idx="454">
                  <c:v>-7.9660000000000002</c:v>
                </c:pt>
                <c:pt idx="455">
                  <c:v>-9.0609999999999999</c:v>
                </c:pt>
                <c:pt idx="456">
                  <c:v>-9.5150000000000006</c:v>
                </c:pt>
                <c:pt idx="457">
                  <c:v>-3.6619999999999999</c:v>
                </c:pt>
                <c:pt idx="458">
                  <c:v>-3.222</c:v>
                </c:pt>
                <c:pt idx="459">
                  <c:v>-2.722</c:v>
                </c:pt>
                <c:pt idx="460">
                  <c:v>-21.724</c:v>
                </c:pt>
                <c:pt idx="461">
                  <c:v>-29.763999999999999</c:v>
                </c:pt>
                <c:pt idx="462">
                  <c:v>-46.436</c:v>
                </c:pt>
                <c:pt idx="463">
                  <c:v>-44.970999999999997</c:v>
                </c:pt>
                <c:pt idx="464">
                  <c:v>-28.904</c:v>
                </c:pt>
                <c:pt idx="465">
                  <c:v>-8.6880000000000006</c:v>
                </c:pt>
                <c:pt idx="466">
                  <c:v>-21.207000000000001</c:v>
                </c:pt>
                <c:pt idx="467">
                  <c:v>-37.807000000000002</c:v>
                </c:pt>
                <c:pt idx="468">
                  <c:v>-49.451000000000001</c:v>
                </c:pt>
                <c:pt idx="469">
                  <c:v>-36.228000000000002</c:v>
                </c:pt>
                <c:pt idx="470">
                  <c:v>-35.57</c:v>
                </c:pt>
                <c:pt idx="471">
                  <c:v>-43.095999999999997</c:v>
                </c:pt>
                <c:pt idx="472">
                  <c:v>-18.172999999999998</c:v>
                </c:pt>
                <c:pt idx="473">
                  <c:v>-14.103999999999999</c:v>
                </c:pt>
                <c:pt idx="474">
                  <c:v>-16.175999999999998</c:v>
                </c:pt>
                <c:pt idx="475">
                  <c:v>-8.0830000000000002</c:v>
                </c:pt>
                <c:pt idx="476">
                  <c:v>-0.12</c:v>
                </c:pt>
                <c:pt idx="477">
                  <c:v>-23.849</c:v>
                </c:pt>
                <c:pt idx="478">
                  <c:v>-22.728999999999999</c:v>
                </c:pt>
                <c:pt idx="479">
                  <c:v>-0.56799999999999995</c:v>
                </c:pt>
                <c:pt idx="480">
                  <c:v>-0.432</c:v>
                </c:pt>
                <c:pt idx="481">
                  <c:v>-25.457000000000001</c:v>
                </c:pt>
                <c:pt idx="482">
                  <c:v>-12.387</c:v>
                </c:pt>
                <c:pt idx="483">
                  <c:v>-27.802</c:v>
                </c:pt>
                <c:pt idx="484">
                  <c:v>-10.846</c:v>
                </c:pt>
                <c:pt idx="485">
                  <c:v>-19.507000000000001</c:v>
                </c:pt>
                <c:pt idx="486">
                  <c:v>-4.5250000000000004</c:v>
                </c:pt>
                <c:pt idx="487">
                  <c:v>-4.3170000000000002</c:v>
                </c:pt>
                <c:pt idx="488">
                  <c:v>-7.468</c:v>
                </c:pt>
                <c:pt idx="489">
                  <c:v>-18.439</c:v>
                </c:pt>
                <c:pt idx="490">
                  <c:v>-21.588000000000001</c:v>
                </c:pt>
                <c:pt idx="491">
                  <c:v>-36.228000000000002</c:v>
                </c:pt>
                <c:pt idx="492">
                  <c:v>-44.276000000000003</c:v>
                </c:pt>
                <c:pt idx="493">
                  <c:v>-4.45</c:v>
                </c:pt>
                <c:pt idx="494">
                  <c:v>-1.758</c:v>
                </c:pt>
                <c:pt idx="495">
                  <c:v>0</c:v>
                </c:pt>
                <c:pt idx="496">
                  <c:v>-1.0249999999999999</c:v>
                </c:pt>
                <c:pt idx="497">
                  <c:v>-13.151999999999999</c:v>
                </c:pt>
                <c:pt idx="498">
                  <c:v>-3.9489999999999998</c:v>
                </c:pt>
                <c:pt idx="499">
                  <c:v>-1.3169999999999999</c:v>
                </c:pt>
                <c:pt idx="500">
                  <c:v>-2.2370000000000001</c:v>
                </c:pt>
                <c:pt idx="501">
                  <c:v>-1.3049999999999999</c:v>
                </c:pt>
                <c:pt idx="502">
                  <c:v>-10.074</c:v>
                </c:pt>
                <c:pt idx="503">
                  <c:v>-19.337</c:v>
                </c:pt>
                <c:pt idx="504">
                  <c:v>-4.7130000000000001</c:v>
                </c:pt>
                <c:pt idx="505">
                  <c:v>0</c:v>
                </c:pt>
                <c:pt idx="506">
                  <c:v>-5.1920000000000002</c:v>
                </c:pt>
                <c:pt idx="507">
                  <c:v>-3.29</c:v>
                </c:pt>
                <c:pt idx="508">
                  <c:v>-1.23</c:v>
                </c:pt>
                <c:pt idx="509">
                  <c:v>-3.5649999999999999</c:v>
                </c:pt>
                <c:pt idx="510">
                  <c:v>-4.2300000000000004</c:v>
                </c:pt>
                <c:pt idx="511">
                  <c:v>-4.5439999999999996</c:v>
                </c:pt>
                <c:pt idx="512">
                  <c:v>-26.266999999999999</c:v>
                </c:pt>
                <c:pt idx="513">
                  <c:v>-0.57899999999999996</c:v>
                </c:pt>
                <c:pt idx="514">
                  <c:v>0</c:v>
                </c:pt>
                <c:pt idx="515">
                  <c:v>0</c:v>
                </c:pt>
                <c:pt idx="516">
                  <c:v>-3.403</c:v>
                </c:pt>
                <c:pt idx="517">
                  <c:v>-0.65300000000000002</c:v>
                </c:pt>
                <c:pt idx="518">
                  <c:v>-1.3049999999999999</c:v>
                </c:pt>
                <c:pt idx="519">
                  <c:v>-0.84499999999999997</c:v>
                </c:pt>
                <c:pt idx="520">
                  <c:v>-1.1399999999999999</c:v>
                </c:pt>
                <c:pt idx="521">
                  <c:v>0</c:v>
                </c:pt>
                <c:pt idx="522">
                  <c:v>0</c:v>
                </c:pt>
                <c:pt idx="523">
                  <c:v>-0.93200000000000005</c:v>
                </c:pt>
                <c:pt idx="524">
                  <c:v>-0.46600000000000003</c:v>
                </c:pt>
                <c:pt idx="525">
                  <c:v>-1.179</c:v>
                </c:pt>
                <c:pt idx="526">
                  <c:v>-0.7</c:v>
                </c:pt>
                <c:pt idx="527">
                  <c:v>-1.897</c:v>
                </c:pt>
                <c:pt idx="528">
                  <c:v>0</c:v>
                </c:pt>
                <c:pt idx="529">
                  <c:v>0</c:v>
                </c:pt>
                <c:pt idx="530">
                  <c:v>0</c:v>
                </c:pt>
                <c:pt idx="531">
                  <c:v>-11.542999999999999</c:v>
                </c:pt>
                <c:pt idx="532">
                  <c:v>0</c:v>
                </c:pt>
                <c:pt idx="533">
                  <c:v>0</c:v>
                </c:pt>
                <c:pt idx="534">
                  <c:v>0</c:v>
                </c:pt>
                <c:pt idx="535">
                  <c:v>-5.3999999999999999E-2</c:v>
                </c:pt>
                <c:pt idx="536">
                  <c:v>0</c:v>
                </c:pt>
                <c:pt idx="537">
                  <c:v>-6.22</c:v>
                </c:pt>
                <c:pt idx="538">
                  <c:v>-0.50700000000000001</c:v>
                </c:pt>
                <c:pt idx="539">
                  <c:v>-7.0910000000000002</c:v>
                </c:pt>
                <c:pt idx="540">
                  <c:v>0</c:v>
                </c:pt>
                <c:pt idx="541">
                  <c:v>0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6">
                  <c:v>-3.3410000000000002</c:v>
                </c:pt>
                <c:pt idx="547">
                  <c:v>-7.3259999999999996</c:v>
                </c:pt>
                <c:pt idx="548">
                  <c:v>0</c:v>
                </c:pt>
                <c:pt idx="549">
                  <c:v>0</c:v>
                </c:pt>
                <c:pt idx="550">
                  <c:v>0</c:v>
                </c:pt>
                <c:pt idx="551">
                  <c:v>0</c:v>
                </c:pt>
                <c:pt idx="552">
                  <c:v>-7.5220000000000002</c:v>
                </c:pt>
                <c:pt idx="553">
                  <c:v>0</c:v>
                </c:pt>
                <c:pt idx="554">
                  <c:v>0</c:v>
                </c:pt>
                <c:pt idx="555">
                  <c:v>0</c:v>
                </c:pt>
                <c:pt idx="556">
                  <c:v>-1.4330000000000001</c:v>
                </c:pt>
                <c:pt idx="557">
                  <c:v>-1.1830000000000001</c:v>
                </c:pt>
                <c:pt idx="558">
                  <c:v>-1.3520000000000001</c:v>
                </c:pt>
                <c:pt idx="559">
                  <c:v>-3.2709999999999999</c:v>
                </c:pt>
                <c:pt idx="560">
                  <c:v>-2.4129999999999998</c:v>
                </c:pt>
                <c:pt idx="561">
                  <c:v>-4.4999999999999998E-2</c:v>
                </c:pt>
                <c:pt idx="562">
                  <c:v>0</c:v>
                </c:pt>
                <c:pt idx="563">
                  <c:v>0</c:v>
                </c:pt>
                <c:pt idx="564">
                  <c:v>0</c:v>
                </c:pt>
                <c:pt idx="565">
                  <c:v>-5.7560000000000002</c:v>
                </c:pt>
                <c:pt idx="566">
                  <c:v>0</c:v>
                </c:pt>
                <c:pt idx="567">
                  <c:v>0</c:v>
                </c:pt>
                <c:pt idx="568">
                  <c:v>0</c:v>
                </c:pt>
                <c:pt idx="569">
                  <c:v>-4.1020000000000003</c:v>
                </c:pt>
                <c:pt idx="570">
                  <c:v>0</c:v>
                </c:pt>
                <c:pt idx="571">
                  <c:v>0</c:v>
                </c:pt>
                <c:pt idx="572">
                  <c:v>0</c:v>
                </c:pt>
                <c:pt idx="573">
                  <c:v>-0.83699999999999997</c:v>
                </c:pt>
                <c:pt idx="574">
                  <c:v>0</c:v>
                </c:pt>
                <c:pt idx="575">
                  <c:v>-10.034000000000001</c:v>
                </c:pt>
                <c:pt idx="576">
                  <c:v>-8.2690000000000001</c:v>
                </c:pt>
                <c:pt idx="577">
                  <c:v>-0.45</c:v>
                </c:pt>
                <c:pt idx="578">
                  <c:v>0</c:v>
                </c:pt>
                <c:pt idx="579">
                  <c:v>-1.6E-2</c:v>
                </c:pt>
                <c:pt idx="580">
                  <c:v>-0.46600000000000003</c:v>
                </c:pt>
                <c:pt idx="581">
                  <c:v>0</c:v>
                </c:pt>
                <c:pt idx="582">
                  <c:v>-1.5720000000000001</c:v>
                </c:pt>
                <c:pt idx="583">
                  <c:v>0</c:v>
                </c:pt>
                <c:pt idx="584">
                  <c:v>0</c:v>
                </c:pt>
                <c:pt idx="585">
                  <c:v>0</c:v>
                </c:pt>
                <c:pt idx="586">
                  <c:v>-1.663</c:v>
                </c:pt>
                <c:pt idx="587">
                  <c:v>-1.94</c:v>
                </c:pt>
                <c:pt idx="588">
                  <c:v>0</c:v>
                </c:pt>
                <c:pt idx="589">
                  <c:v>-5.2409999999999997</c:v>
                </c:pt>
                <c:pt idx="590">
                  <c:v>-2.484</c:v>
                </c:pt>
                <c:pt idx="591">
                  <c:v>-0.51500000000000001</c:v>
                </c:pt>
                <c:pt idx="592">
                  <c:v>0</c:v>
                </c:pt>
                <c:pt idx="593">
                  <c:v>0</c:v>
                </c:pt>
                <c:pt idx="594">
                  <c:v>-2.5169999999999999</c:v>
                </c:pt>
                <c:pt idx="595">
                  <c:v>-3.6139999999999999</c:v>
                </c:pt>
                <c:pt idx="596">
                  <c:v>-2.0579999999999998</c:v>
                </c:pt>
                <c:pt idx="597">
                  <c:v>-0.75</c:v>
                </c:pt>
                <c:pt idx="598">
                  <c:v>0</c:v>
                </c:pt>
                <c:pt idx="599">
                  <c:v>0</c:v>
                </c:pt>
                <c:pt idx="600">
                  <c:v>-0.14000000000000001</c:v>
                </c:pt>
                <c:pt idx="601">
                  <c:v>-2.16</c:v>
                </c:pt>
                <c:pt idx="602">
                  <c:v>-0.16</c:v>
                </c:pt>
                <c:pt idx="603">
                  <c:v>0</c:v>
                </c:pt>
                <c:pt idx="604">
                  <c:v>0</c:v>
                </c:pt>
                <c:pt idx="605">
                  <c:v>-2.0960000000000001</c:v>
                </c:pt>
                <c:pt idx="606">
                  <c:v>-0.4</c:v>
                </c:pt>
                <c:pt idx="607">
                  <c:v>-1.256</c:v>
                </c:pt>
                <c:pt idx="608">
                  <c:v>-0.29399999999999998</c:v>
                </c:pt>
                <c:pt idx="609">
                  <c:v>-10.206</c:v>
                </c:pt>
                <c:pt idx="610">
                  <c:v>-1.66</c:v>
                </c:pt>
                <c:pt idx="611">
                  <c:v>0</c:v>
                </c:pt>
                <c:pt idx="612">
                  <c:v>0</c:v>
                </c:pt>
                <c:pt idx="613">
                  <c:v>0</c:v>
                </c:pt>
                <c:pt idx="614">
                  <c:v>-1.29</c:v>
                </c:pt>
                <c:pt idx="615">
                  <c:v>0</c:v>
                </c:pt>
                <c:pt idx="616">
                  <c:v>0</c:v>
                </c:pt>
                <c:pt idx="617">
                  <c:v>0</c:v>
                </c:pt>
                <c:pt idx="618">
                  <c:v>-2.93</c:v>
                </c:pt>
                <c:pt idx="619">
                  <c:v>0</c:v>
                </c:pt>
                <c:pt idx="620">
                  <c:v>0</c:v>
                </c:pt>
                <c:pt idx="621">
                  <c:v>-0.69799999999999995</c:v>
                </c:pt>
                <c:pt idx="622">
                  <c:v>-9.1479999999999997</c:v>
                </c:pt>
                <c:pt idx="623">
                  <c:v>-0.56599999999999995</c:v>
                </c:pt>
                <c:pt idx="624">
                  <c:v>-17.43</c:v>
                </c:pt>
                <c:pt idx="625">
                  <c:v>-6.4080000000000004</c:v>
                </c:pt>
                <c:pt idx="626">
                  <c:v>-0.41899999999999998</c:v>
                </c:pt>
                <c:pt idx="627">
                  <c:v>-0.97699999999999998</c:v>
                </c:pt>
                <c:pt idx="628">
                  <c:v>-12.218999999999999</c:v>
                </c:pt>
                <c:pt idx="629">
                  <c:v>-16.632000000000001</c:v>
                </c:pt>
                <c:pt idx="630">
                  <c:v>-3.4380000000000002</c:v>
                </c:pt>
                <c:pt idx="631">
                  <c:v>-3.7490000000000001</c:v>
                </c:pt>
                <c:pt idx="632">
                  <c:v>0</c:v>
                </c:pt>
                <c:pt idx="633">
                  <c:v>0</c:v>
                </c:pt>
                <c:pt idx="634">
                  <c:v>-1</c:v>
                </c:pt>
                <c:pt idx="635">
                  <c:v>-4.5970000000000004</c:v>
                </c:pt>
                <c:pt idx="636">
                  <c:v>-16.966999999999999</c:v>
                </c:pt>
                <c:pt idx="637">
                  <c:v>-1.8</c:v>
                </c:pt>
                <c:pt idx="638">
                  <c:v>-11.686</c:v>
                </c:pt>
                <c:pt idx="639">
                  <c:v>-7.1340000000000003</c:v>
                </c:pt>
                <c:pt idx="640">
                  <c:v>-2.0960000000000001</c:v>
                </c:pt>
                <c:pt idx="641">
                  <c:v>-2.0960000000000001</c:v>
                </c:pt>
                <c:pt idx="642">
                  <c:v>-12.683</c:v>
                </c:pt>
                <c:pt idx="643">
                  <c:v>-36.277000000000001</c:v>
                </c:pt>
                <c:pt idx="644">
                  <c:v>-40.667999999999999</c:v>
                </c:pt>
                <c:pt idx="645">
                  <c:v>-16.241</c:v>
                </c:pt>
                <c:pt idx="646">
                  <c:v>-37.270000000000003</c:v>
                </c:pt>
                <c:pt idx="647">
                  <c:v>-5.8049999999999997</c:v>
                </c:pt>
                <c:pt idx="648">
                  <c:v>-10.162000000000001</c:v>
                </c:pt>
                <c:pt idx="649">
                  <c:v>-16.247</c:v>
                </c:pt>
                <c:pt idx="650">
                  <c:v>-22.800999999999998</c:v>
                </c:pt>
                <c:pt idx="651">
                  <c:v>-22.800999999999998</c:v>
                </c:pt>
                <c:pt idx="652">
                  <c:v>-12.882</c:v>
                </c:pt>
                <c:pt idx="653">
                  <c:v>-8.9890000000000008</c:v>
                </c:pt>
                <c:pt idx="654">
                  <c:v>-7.524</c:v>
                </c:pt>
                <c:pt idx="655">
                  <c:v>-3.88</c:v>
                </c:pt>
                <c:pt idx="656">
                  <c:v>-13.516999999999999</c:v>
                </c:pt>
                <c:pt idx="657">
                  <c:v>-1.911</c:v>
                </c:pt>
                <c:pt idx="658">
                  <c:v>0</c:v>
                </c:pt>
                <c:pt idx="659">
                  <c:v>-17.786999999999999</c:v>
                </c:pt>
                <c:pt idx="660">
                  <c:v>-6.4050000000000002</c:v>
                </c:pt>
                <c:pt idx="661">
                  <c:v>-10.061</c:v>
                </c:pt>
                <c:pt idx="662">
                  <c:v>-3.4460000000000002</c:v>
                </c:pt>
                <c:pt idx="663">
                  <c:v>-12.414999999999999</c:v>
                </c:pt>
                <c:pt idx="664">
                  <c:v>-15.818</c:v>
                </c:pt>
                <c:pt idx="665">
                  <c:v>-17.401</c:v>
                </c:pt>
                <c:pt idx="666">
                  <c:v>-8.33</c:v>
                </c:pt>
                <c:pt idx="667">
                  <c:v>-6.4640000000000004</c:v>
                </c:pt>
                <c:pt idx="668">
                  <c:v>-12.868</c:v>
                </c:pt>
                <c:pt idx="669">
                  <c:v>-12.314</c:v>
                </c:pt>
                <c:pt idx="670">
                  <c:v>-8.6229999999999993</c:v>
                </c:pt>
                <c:pt idx="671">
                  <c:v>-24.123000000000001</c:v>
                </c:pt>
                <c:pt idx="672">
                  <c:v>-39.889000000000003</c:v>
                </c:pt>
                <c:pt idx="673">
                  <c:v>-33.414999999999999</c:v>
                </c:pt>
                <c:pt idx="674">
                  <c:v>-7.6449999999999996</c:v>
                </c:pt>
                <c:pt idx="675">
                  <c:v>-0.93600000000000005</c:v>
                </c:pt>
                <c:pt idx="676">
                  <c:v>-1.246</c:v>
                </c:pt>
                <c:pt idx="677">
                  <c:v>-24.381</c:v>
                </c:pt>
                <c:pt idx="678">
                  <c:v>-19.908999999999999</c:v>
                </c:pt>
                <c:pt idx="679">
                  <c:v>-18.93</c:v>
                </c:pt>
                <c:pt idx="680">
                  <c:v>-41.398000000000003</c:v>
                </c:pt>
                <c:pt idx="681">
                  <c:v>-40.929000000000002</c:v>
                </c:pt>
                <c:pt idx="682">
                  <c:v>-19.28</c:v>
                </c:pt>
                <c:pt idx="683">
                  <c:v>-19.698</c:v>
                </c:pt>
                <c:pt idx="684">
                  <c:v>-29.193999999999999</c:v>
                </c:pt>
                <c:pt idx="685">
                  <c:v>-31.067</c:v>
                </c:pt>
                <c:pt idx="686">
                  <c:v>-29.140999999999998</c:v>
                </c:pt>
                <c:pt idx="687">
                  <c:v>-19.489999999999998</c:v>
                </c:pt>
                <c:pt idx="688">
                  <c:v>-10.404999999999999</c:v>
                </c:pt>
                <c:pt idx="689">
                  <c:v>-1.895</c:v>
                </c:pt>
                <c:pt idx="690">
                  <c:v>-5.1909999999999998</c:v>
                </c:pt>
                <c:pt idx="691">
                  <c:v>-49.375</c:v>
                </c:pt>
                <c:pt idx="692">
                  <c:v>-18.678000000000001</c:v>
                </c:pt>
                <c:pt idx="693">
                  <c:v>-19.803999999999998</c:v>
                </c:pt>
                <c:pt idx="694">
                  <c:v>-19.114999999999998</c:v>
                </c:pt>
                <c:pt idx="695">
                  <c:v>-22.974</c:v>
                </c:pt>
                <c:pt idx="696">
                  <c:v>-14.420999999999999</c:v>
                </c:pt>
                <c:pt idx="697">
                  <c:v>-17.277000000000001</c:v>
                </c:pt>
                <c:pt idx="698">
                  <c:v>-36.021000000000001</c:v>
                </c:pt>
                <c:pt idx="699">
                  <c:v>-49.993000000000002</c:v>
                </c:pt>
                <c:pt idx="700">
                  <c:v>-21.003</c:v>
                </c:pt>
                <c:pt idx="701">
                  <c:v>-33.609000000000002</c:v>
                </c:pt>
                <c:pt idx="702">
                  <c:v>-31.280999999999999</c:v>
                </c:pt>
                <c:pt idx="703">
                  <c:v>-14.231999999999999</c:v>
                </c:pt>
                <c:pt idx="704">
                  <c:v>-18.678000000000001</c:v>
                </c:pt>
                <c:pt idx="705">
                  <c:v>-21.861999999999998</c:v>
                </c:pt>
                <c:pt idx="706">
                  <c:v>-29.664999999999999</c:v>
                </c:pt>
                <c:pt idx="707">
                  <c:v>-16.754000000000001</c:v>
                </c:pt>
                <c:pt idx="708">
                  <c:v>-41.164999999999999</c:v>
                </c:pt>
                <c:pt idx="709">
                  <c:v>-40.942999999999998</c:v>
                </c:pt>
                <c:pt idx="710">
                  <c:v>-32.161999999999999</c:v>
                </c:pt>
                <c:pt idx="711">
                  <c:v>-31.928000000000001</c:v>
                </c:pt>
                <c:pt idx="712">
                  <c:v>-21.198</c:v>
                </c:pt>
                <c:pt idx="713">
                  <c:v>-27.283999999999999</c:v>
                </c:pt>
                <c:pt idx="714">
                  <c:v>-28.628</c:v>
                </c:pt>
                <c:pt idx="715">
                  <c:v>-9.5039999999999996</c:v>
                </c:pt>
                <c:pt idx="716">
                  <c:v>-30.890999999999998</c:v>
                </c:pt>
                <c:pt idx="717">
                  <c:v>-8.2449999999999992</c:v>
                </c:pt>
                <c:pt idx="718">
                  <c:v>-13.651999999999999</c:v>
                </c:pt>
                <c:pt idx="719">
                  <c:v>-33.5</c:v>
                </c:pt>
                <c:pt idx="720">
                  <c:v>-53.286999999999999</c:v>
                </c:pt>
                <c:pt idx="721">
                  <c:v>-39.256999999999998</c:v>
                </c:pt>
                <c:pt idx="722">
                  <c:v>-39.104999999999997</c:v>
                </c:pt>
                <c:pt idx="723">
                  <c:v>-26.388999999999999</c:v>
                </c:pt>
                <c:pt idx="724">
                  <c:v>-15.516</c:v>
                </c:pt>
                <c:pt idx="725">
                  <c:v>-19.248000000000001</c:v>
                </c:pt>
                <c:pt idx="726">
                  <c:v>-26.42</c:v>
                </c:pt>
                <c:pt idx="727">
                  <c:v>-20.048999999999999</c:v>
                </c:pt>
                <c:pt idx="728">
                  <c:v>-8.1300000000000008</c:v>
                </c:pt>
                <c:pt idx="729">
                  <c:v>-9.3030000000000008</c:v>
                </c:pt>
                <c:pt idx="730">
                  <c:v>-1.4950000000000001</c:v>
                </c:pt>
                <c:pt idx="731">
                  <c:v>-9.1929999999999996</c:v>
                </c:pt>
                <c:pt idx="732">
                  <c:v>-19.28</c:v>
                </c:pt>
                <c:pt idx="733">
                  <c:v>-34.103999999999999</c:v>
                </c:pt>
                <c:pt idx="734">
                  <c:v>-64.341999999999999</c:v>
                </c:pt>
                <c:pt idx="735">
                  <c:v>-34.454999999999998</c:v>
                </c:pt>
                <c:pt idx="736">
                  <c:v>-43.194000000000003</c:v>
                </c:pt>
                <c:pt idx="737">
                  <c:v>-48.695999999999998</c:v>
                </c:pt>
                <c:pt idx="738">
                  <c:v>-20.417999999999999</c:v>
                </c:pt>
                <c:pt idx="739">
                  <c:v>-17.577999999999999</c:v>
                </c:pt>
                <c:pt idx="740">
                  <c:v>-55.780999999999999</c:v>
                </c:pt>
                <c:pt idx="741">
                  <c:v>-42.167999999999999</c:v>
                </c:pt>
                <c:pt idx="742">
                  <c:v>-21.777999999999999</c:v>
                </c:pt>
                <c:pt idx="743">
                  <c:v>-16.901</c:v>
                </c:pt>
                <c:pt idx="744">
                  <c:v>-46.835000000000001</c:v>
                </c:pt>
                <c:pt idx="745">
                  <c:v>-47.048000000000002</c:v>
                </c:pt>
                <c:pt idx="746">
                  <c:v>-17.911000000000001</c:v>
                </c:pt>
                <c:pt idx="747">
                  <c:v>-32.188000000000002</c:v>
                </c:pt>
                <c:pt idx="748">
                  <c:v>-38.036000000000001</c:v>
                </c:pt>
                <c:pt idx="749">
                  <c:v>-45.131999999999998</c:v>
                </c:pt>
                <c:pt idx="750">
                  <c:v>-33.338000000000001</c:v>
                </c:pt>
                <c:pt idx="751">
                  <c:v>-49.567</c:v>
                </c:pt>
                <c:pt idx="752">
                  <c:v>-32.094000000000001</c:v>
                </c:pt>
                <c:pt idx="753">
                  <c:v>-25.677</c:v>
                </c:pt>
                <c:pt idx="754">
                  <c:v>-47.283999999999999</c:v>
                </c:pt>
                <c:pt idx="755">
                  <c:v>-64.787999999999997</c:v>
                </c:pt>
                <c:pt idx="756">
                  <c:v>-50.652999999999999</c:v>
                </c:pt>
                <c:pt idx="757">
                  <c:v>-20.084</c:v>
                </c:pt>
                <c:pt idx="758">
                  <c:v>-47.802</c:v>
                </c:pt>
                <c:pt idx="759">
                  <c:v>-30.882000000000001</c:v>
                </c:pt>
                <c:pt idx="760">
                  <c:v>-33.993000000000002</c:v>
                </c:pt>
                <c:pt idx="761">
                  <c:v>-55.055</c:v>
                </c:pt>
                <c:pt idx="762">
                  <c:v>-46.948</c:v>
                </c:pt>
                <c:pt idx="763">
                  <c:v>-45.613999999999997</c:v>
                </c:pt>
                <c:pt idx="764">
                  <c:v>-41.335000000000001</c:v>
                </c:pt>
                <c:pt idx="765">
                  <c:v>-44.48</c:v>
                </c:pt>
                <c:pt idx="766">
                  <c:v>-36.747</c:v>
                </c:pt>
                <c:pt idx="767">
                  <c:v>-36.957999999999998</c:v>
                </c:pt>
                <c:pt idx="768">
                  <c:v>-48.933</c:v>
                </c:pt>
                <c:pt idx="769">
                  <c:v>-41.68</c:v>
                </c:pt>
                <c:pt idx="770">
                  <c:v>-48.73</c:v>
                </c:pt>
                <c:pt idx="771">
                  <c:v>-58.866999999999997</c:v>
                </c:pt>
                <c:pt idx="772">
                  <c:v>-57.896000000000001</c:v>
                </c:pt>
                <c:pt idx="773">
                  <c:v>-63.594999999999999</c:v>
                </c:pt>
                <c:pt idx="774">
                  <c:v>-57.164999999999999</c:v>
                </c:pt>
                <c:pt idx="775">
                  <c:v>-55.149000000000001</c:v>
                </c:pt>
                <c:pt idx="776">
                  <c:v>-28.573</c:v>
                </c:pt>
                <c:pt idx="777">
                  <c:v>-42.581000000000003</c:v>
                </c:pt>
                <c:pt idx="778">
                  <c:v>-43.692999999999998</c:v>
                </c:pt>
                <c:pt idx="779">
                  <c:v>-37.023000000000003</c:v>
                </c:pt>
                <c:pt idx="780">
                  <c:v>-42.844000000000001</c:v>
                </c:pt>
                <c:pt idx="781">
                  <c:v>-35.398000000000003</c:v>
                </c:pt>
                <c:pt idx="782">
                  <c:v>-53.783000000000001</c:v>
                </c:pt>
                <c:pt idx="783">
                  <c:v>-52.185000000000002</c:v>
                </c:pt>
                <c:pt idx="784">
                  <c:v>-65.945999999999998</c:v>
                </c:pt>
                <c:pt idx="785">
                  <c:v>-63.404000000000003</c:v>
                </c:pt>
                <c:pt idx="786">
                  <c:v>-44.631999999999998</c:v>
                </c:pt>
                <c:pt idx="787">
                  <c:v>-64.852000000000004</c:v>
                </c:pt>
                <c:pt idx="788">
                  <c:v>-67.367000000000004</c:v>
                </c:pt>
                <c:pt idx="789">
                  <c:v>-75.477000000000004</c:v>
                </c:pt>
                <c:pt idx="790">
                  <c:v>-75.867999999999995</c:v>
                </c:pt>
                <c:pt idx="791">
                  <c:v>-69.87</c:v>
                </c:pt>
                <c:pt idx="792">
                  <c:v>-58.118000000000002</c:v>
                </c:pt>
                <c:pt idx="793">
                  <c:v>-52.52</c:v>
                </c:pt>
                <c:pt idx="794">
                  <c:v>-40.094999999999999</c:v>
                </c:pt>
                <c:pt idx="795">
                  <c:v>-42.015999999999998</c:v>
                </c:pt>
                <c:pt idx="796">
                  <c:v>-64.408000000000001</c:v>
                </c:pt>
                <c:pt idx="797">
                  <c:v>-42.892000000000003</c:v>
                </c:pt>
                <c:pt idx="798">
                  <c:v>-43.585000000000001</c:v>
                </c:pt>
                <c:pt idx="799">
                  <c:v>-37.262</c:v>
                </c:pt>
                <c:pt idx="800">
                  <c:v>-37.953000000000003</c:v>
                </c:pt>
                <c:pt idx="801">
                  <c:v>-30.661000000000001</c:v>
                </c:pt>
                <c:pt idx="802">
                  <c:v>-21.521999999999998</c:v>
                </c:pt>
                <c:pt idx="803">
                  <c:v>-50.88</c:v>
                </c:pt>
                <c:pt idx="804">
                  <c:v>-52.078000000000003</c:v>
                </c:pt>
                <c:pt idx="805">
                  <c:v>-42.5</c:v>
                </c:pt>
                <c:pt idx="806">
                  <c:v>-38.363</c:v>
                </c:pt>
                <c:pt idx="807">
                  <c:v>-33.253</c:v>
                </c:pt>
                <c:pt idx="808">
                  <c:v>-16.321000000000002</c:v>
                </c:pt>
                <c:pt idx="809">
                  <c:v>-11.461</c:v>
                </c:pt>
                <c:pt idx="810">
                  <c:v>-43.470999999999997</c:v>
                </c:pt>
                <c:pt idx="811">
                  <c:v>-43.896000000000001</c:v>
                </c:pt>
                <c:pt idx="812">
                  <c:v>-44.545999999999999</c:v>
                </c:pt>
                <c:pt idx="813">
                  <c:v>-39.927999999999997</c:v>
                </c:pt>
                <c:pt idx="814">
                  <c:v>-29.356000000000002</c:v>
                </c:pt>
                <c:pt idx="815">
                  <c:v>-14.311999999999999</c:v>
                </c:pt>
                <c:pt idx="816">
                  <c:v>-14.167999999999999</c:v>
                </c:pt>
                <c:pt idx="817">
                  <c:v>-37.939</c:v>
                </c:pt>
                <c:pt idx="818">
                  <c:v>-49.081000000000003</c:v>
                </c:pt>
                <c:pt idx="819">
                  <c:v>-46.472999999999999</c:v>
                </c:pt>
                <c:pt idx="820">
                  <c:v>-48.311999999999998</c:v>
                </c:pt>
                <c:pt idx="821">
                  <c:v>-46.048000000000002</c:v>
                </c:pt>
                <c:pt idx="822">
                  <c:v>-20.413</c:v>
                </c:pt>
                <c:pt idx="823">
                  <c:v>-15.888</c:v>
                </c:pt>
                <c:pt idx="824">
                  <c:v>-14.672000000000001</c:v>
                </c:pt>
                <c:pt idx="825">
                  <c:v>-27.105</c:v>
                </c:pt>
                <c:pt idx="826">
                  <c:v>-18.599</c:v>
                </c:pt>
                <c:pt idx="827">
                  <c:v>-10.891</c:v>
                </c:pt>
                <c:pt idx="828">
                  <c:v>-22.36</c:v>
                </c:pt>
                <c:pt idx="829">
                  <c:v>-22.157</c:v>
                </c:pt>
                <c:pt idx="830">
                  <c:v>-20.995000000000001</c:v>
                </c:pt>
                <c:pt idx="831">
                  <c:v>-27.475999999999999</c:v>
                </c:pt>
                <c:pt idx="832">
                  <c:v>-20.279</c:v>
                </c:pt>
                <c:pt idx="833">
                  <c:v>-58.613999999999997</c:v>
                </c:pt>
                <c:pt idx="834">
                  <c:v>-17.91</c:v>
                </c:pt>
                <c:pt idx="835">
                  <c:v>-24.608000000000001</c:v>
                </c:pt>
                <c:pt idx="836">
                  <c:v>-23.120999999999999</c:v>
                </c:pt>
                <c:pt idx="837">
                  <c:v>-14.702999999999999</c:v>
                </c:pt>
                <c:pt idx="838">
                  <c:v>-15.442</c:v>
                </c:pt>
                <c:pt idx="839">
                  <c:v>-25.937999999999999</c:v>
                </c:pt>
                <c:pt idx="840">
                  <c:v>-14.955</c:v>
                </c:pt>
                <c:pt idx="841">
                  <c:v>-16.606999999999999</c:v>
                </c:pt>
                <c:pt idx="842">
                  <c:v>-21.158000000000001</c:v>
                </c:pt>
                <c:pt idx="843">
                  <c:v>-4.8010000000000002</c:v>
                </c:pt>
                <c:pt idx="844">
                  <c:v>-5.4850000000000003</c:v>
                </c:pt>
                <c:pt idx="845">
                  <c:v>-25.91</c:v>
                </c:pt>
                <c:pt idx="846">
                  <c:v>-9.5589999999999993</c:v>
                </c:pt>
                <c:pt idx="847">
                  <c:v>-32.015999999999998</c:v>
                </c:pt>
                <c:pt idx="848">
                  <c:v>-4.5179999999999998</c:v>
                </c:pt>
                <c:pt idx="849">
                  <c:v>-1.8360000000000001</c:v>
                </c:pt>
                <c:pt idx="850">
                  <c:v>-1.048</c:v>
                </c:pt>
                <c:pt idx="851">
                  <c:v>0</c:v>
                </c:pt>
                <c:pt idx="852">
                  <c:v>-1.0580000000000001</c:v>
                </c:pt>
                <c:pt idx="853">
                  <c:v>-0.55400000000000005</c:v>
                </c:pt>
                <c:pt idx="854">
                  <c:v>-69.591999999999999</c:v>
                </c:pt>
                <c:pt idx="855">
                  <c:v>-27.443999999999999</c:v>
                </c:pt>
                <c:pt idx="856">
                  <c:v>-4.0679999999999996</c:v>
                </c:pt>
                <c:pt idx="857">
                  <c:v>0</c:v>
                </c:pt>
                <c:pt idx="858">
                  <c:v>-3.097</c:v>
                </c:pt>
                <c:pt idx="859">
                  <c:v>-11.628</c:v>
                </c:pt>
                <c:pt idx="860">
                  <c:v>-9.625</c:v>
                </c:pt>
                <c:pt idx="861">
                  <c:v>-8.8919999999999995</c:v>
                </c:pt>
                <c:pt idx="862">
                  <c:v>-8.8919999999999995</c:v>
                </c:pt>
                <c:pt idx="863">
                  <c:v>0</c:v>
                </c:pt>
                <c:pt idx="864">
                  <c:v>-0.69099999999999995</c:v>
                </c:pt>
                <c:pt idx="865">
                  <c:v>0</c:v>
                </c:pt>
                <c:pt idx="866">
                  <c:v>-12.8</c:v>
                </c:pt>
                <c:pt idx="867">
                  <c:v>-12.456</c:v>
                </c:pt>
                <c:pt idx="868">
                  <c:v>-7.1719999999999997</c:v>
                </c:pt>
                <c:pt idx="869">
                  <c:v>0</c:v>
                </c:pt>
                <c:pt idx="870">
                  <c:v>-0.32500000000000001</c:v>
                </c:pt>
                <c:pt idx="871">
                  <c:v>0</c:v>
                </c:pt>
                <c:pt idx="872">
                  <c:v>0</c:v>
                </c:pt>
                <c:pt idx="873">
                  <c:v>0</c:v>
                </c:pt>
                <c:pt idx="874">
                  <c:v>-3.1869999999999998</c:v>
                </c:pt>
                <c:pt idx="875">
                  <c:v>0</c:v>
                </c:pt>
                <c:pt idx="876">
                  <c:v>-0.40799999999999997</c:v>
                </c:pt>
                <c:pt idx="877">
                  <c:v>0</c:v>
                </c:pt>
                <c:pt idx="878">
                  <c:v>-1.2</c:v>
                </c:pt>
                <c:pt idx="879">
                  <c:v>-0.75</c:v>
                </c:pt>
                <c:pt idx="880">
                  <c:v>0</c:v>
                </c:pt>
                <c:pt idx="881">
                  <c:v>0</c:v>
                </c:pt>
                <c:pt idx="882">
                  <c:v>0</c:v>
                </c:pt>
                <c:pt idx="883">
                  <c:v>-0.66200000000000003</c:v>
                </c:pt>
                <c:pt idx="884">
                  <c:v>-1.069</c:v>
                </c:pt>
                <c:pt idx="885">
                  <c:v>-4.6059999999999999</c:v>
                </c:pt>
                <c:pt idx="886">
                  <c:v>0</c:v>
                </c:pt>
                <c:pt idx="887">
                  <c:v>-0.5</c:v>
                </c:pt>
                <c:pt idx="888">
                  <c:v>-4.75</c:v>
                </c:pt>
                <c:pt idx="889">
                  <c:v>-5.7839999999999998</c:v>
                </c:pt>
                <c:pt idx="890">
                  <c:v>-17.978999999999999</c:v>
                </c:pt>
                <c:pt idx="891">
                  <c:v>-5.3570000000000002</c:v>
                </c:pt>
                <c:pt idx="892">
                  <c:v>-0.433</c:v>
                </c:pt>
                <c:pt idx="893">
                  <c:v>-0.8</c:v>
                </c:pt>
                <c:pt idx="894">
                  <c:v>-2.76</c:v>
                </c:pt>
                <c:pt idx="895">
                  <c:v>-5.0039999999999996</c:v>
                </c:pt>
                <c:pt idx="896">
                  <c:v>-22.048999999999999</c:v>
                </c:pt>
                <c:pt idx="897">
                  <c:v>-37.658000000000001</c:v>
                </c:pt>
                <c:pt idx="898">
                  <c:v>-7.2</c:v>
                </c:pt>
                <c:pt idx="899">
                  <c:v>-2.76</c:v>
                </c:pt>
                <c:pt idx="900">
                  <c:v>-2.76</c:v>
                </c:pt>
                <c:pt idx="901">
                  <c:v>-5.78</c:v>
                </c:pt>
                <c:pt idx="902">
                  <c:v>-15.193</c:v>
                </c:pt>
                <c:pt idx="903">
                  <c:v>-14.76</c:v>
                </c:pt>
                <c:pt idx="904">
                  <c:v>-6.36</c:v>
                </c:pt>
                <c:pt idx="905">
                  <c:v>-3.28</c:v>
                </c:pt>
                <c:pt idx="906">
                  <c:v>-3.96</c:v>
                </c:pt>
                <c:pt idx="907">
                  <c:v>-3.96</c:v>
                </c:pt>
                <c:pt idx="908">
                  <c:v>-14.222</c:v>
                </c:pt>
                <c:pt idx="909">
                  <c:v>-8.4</c:v>
                </c:pt>
                <c:pt idx="910">
                  <c:v>-12.393000000000001</c:v>
                </c:pt>
                <c:pt idx="911">
                  <c:v>-8.8330000000000002</c:v>
                </c:pt>
                <c:pt idx="912">
                  <c:v>-9.9600000000000009</c:v>
                </c:pt>
                <c:pt idx="913">
                  <c:v>-2.76</c:v>
                </c:pt>
                <c:pt idx="914">
                  <c:v>-5.7910000000000004</c:v>
                </c:pt>
                <c:pt idx="915">
                  <c:v>-7.1239999999999997</c:v>
                </c:pt>
                <c:pt idx="916">
                  <c:v>-6.2110000000000003</c:v>
                </c:pt>
                <c:pt idx="917">
                  <c:v>-10.35</c:v>
                </c:pt>
                <c:pt idx="918">
                  <c:v>-19.975000000000001</c:v>
                </c:pt>
                <c:pt idx="919">
                  <c:v>-10.051</c:v>
                </c:pt>
                <c:pt idx="920">
                  <c:v>-2.2570000000000001</c:v>
                </c:pt>
                <c:pt idx="921">
                  <c:v>-2.2570000000000001</c:v>
                </c:pt>
                <c:pt idx="922">
                  <c:v>-13.96</c:v>
                </c:pt>
                <c:pt idx="923">
                  <c:v>-7.0590000000000002</c:v>
                </c:pt>
                <c:pt idx="924">
                  <c:v>-8.2330000000000005</c:v>
                </c:pt>
                <c:pt idx="925">
                  <c:v>-10.869</c:v>
                </c:pt>
                <c:pt idx="926">
                  <c:v>-3.35</c:v>
                </c:pt>
                <c:pt idx="927">
                  <c:v>-3.9449999999999998</c:v>
                </c:pt>
                <c:pt idx="928">
                  <c:v>-6.8380000000000001</c:v>
                </c:pt>
                <c:pt idx="929">
                  <c:v>-5.8449999999999998</c:v>
                </c:pt>
                <c:pt idx="930">
                  <c:v>-2.407</c:v>
                </c:pt>
                <c:pt idx="931">
                  <c:v>-12.52</c:v>
                </c:pt>
                <c:pt idx="932">
                  <c:v>-15.798</c:v>
                </c:pt>
                <c:pt idx="933">
                  <c:v>-6.415</c:v>
                </c:pt>
                <c:pt idx="934">
                  <c:v>-2.5750000000000002</c:v>
                </c:pt>
                <c:pt idx="935">
                  <c:v>-1.9450000000000001</c:v>
                </c:pt>
                <c:pt idx="936">
                  <c:v>-5.6840000000000002</c:v>
                </c:pt>
                <c:pt idx="937">
                  <c:v>-10.317</c:v>
                </c:pt>
                <c:pt idx="938">
                  <c:v>-13.4</c:v>
                </c:pt>
                <c:pt idx="939">
                  <c:v>-2.41</c:v>
                </c:pt>
                <c:pt idx="940">
                  <c:v>-9.8070000000000004</c:v>
                </c:pt>
                <c:pt idx="941">
                  <c:v>-4.0000000000000001E-3</c:v>
                </c:pt>
                <c:pt idx="942">
                  <c:v>-4.0000000000000001E-3</c:v>
                </c:pt>
                <c:pt idx="943">
                  <c:v>-10.645</c:v>
                </c:pt>
                <c:pt idx="944">
                  <c:v>-1.671</c:v>
                </c:pt>
                <c:pt idx="945">
                  <c:v>-3.6480000000000001</c:v>
                </c:pt>
                <c:pt idx="946">
                  <c:v>-3.0339999999999998</c:v>
                </c:pt>
                <c:pt idx="947">
                  <c:v>-4.0209999999999999</c:v>
                </c:pt>
                <c:pt idx="948">
                  <c:v>-4.3999999999999997E-2</c:v>
                </c:pt>
                <c:pt idx="949">
                  <c:v>-1E-3</c:v>
                </c:pt>
                <c:pt idx="950">
                  <c:v>-1.657</c:v>
                </c:pt>
                <c:pt idx="951">
                  <c:v>-1.321</c:v>
                </c:pt>
                <c:pt idx="952">
                  <c:v>-1.446</c:v>
                </c:pt>
                <c:pt idx="953">
                  <c:v>-16.042000000000002</c:v>
                </c:pt>
                <c:pt idx="954">
                  <c:v>-0.66900000000000004</c:v>
                </c:pt>
                <c:pt idx="955">
                  <c:v>-0.27</c:v>
                </c:pt>
                <c:pt idx="956">
                  <c:v>-1E-3</c:v>
                </c:pt>
                <c:pt idx="957">
                  <c:v>-1.353</c:v>
                </c:pt>
                <c:pt idx="958">
                  <c:v>-17.120999999999999</c:v>
                </c:pt>
                <c:pt idx="959">
                  <c:v>-13.723000000000001</c:v>
                </c:pt>
                <c:pt idx="960">
                  <c:v>-5.101</c:v>
                </c:pt>
                <c:pt idx="961">
                  <c:v>-12.087999999999999</c:v>
                </c:pt>
                <c:pt idx="962">
                  <c:v>-5.4560000000000004</c:v>
                </c:pt>
                <c:pt idx="963">
                  <c:v>-2.5880000000000001</c:v>
                </c:pt>
                <c:pt idx="964">
                  <c:v>-13.451000000000001</c:v>
                </c:pt>
                <c:pt idx="965">
                  <c:v>-5.9349999999999996</c:v>
                </c:pt>
                <c:pt idx="966">
                  <c:v>-9.2439999999999998</c:v>
                </c:pt>
                <c:pt idx="967">
                  <c:v>-24.823</c:v>
                </c:pt>
                <c:pt idx="968">
                  <c:v>-6.617</c:v>
                </c:pt>
                <c:pt idx="969">
                  <c:v>-0.16800000000000001</c:v>
                </c:pt>
                <c:pt idx="970">
                  <c:v>0</c:v>
                </c:pt>
                <c:pt idx="971">
                  <c:v>-31.936</c:v>
                </c:pt>
                <c:pt idx="972">
                  <c:v>-20.763000000000002</c:v>
                </c:pt>
                <c:pt idx="973">
                  <c:v>-16.736999999999998</c:v>
                </c:pt>
                <c:pt idx="974">
                  <c:v>-24.27</c:v>
                </c:pt>
                <c:pt idx="975">
                  <c:v>-21.356000000000002</c:v>
                </c:pt>
                <c:pt idx="976">
                  <c:v>-8.9540000000000006</c:v>
                </c:pt>
                <c:pt idx="977">
                  <c:v>-9.3130000000000006</c:v>
                </c:pt>
                <c:pt idx="978">
                  <c:v>-25.783999999999999</c:v>
                </c:pt>
                <c:pt idx="979">
                  <c:v>-28.992999999999999</c:v>
                </c:pt>
                <c:pt idx="980">
                  <c:v>-52.935000000000002</c:v>
                </c:pt>
                <c:pt idx="981">
                  <c:v>-31.734999999999999</c:v>
                </c:pt>
                <c:pt idx="982">
                  <c:v>-25.890999999999998</c:v>
                </c:pt>
                <c:pt idx="983">
                  <c:v>-13.852</c:v>
                </c:pt>
                <c:pt idx="984">
                  <c:v>-13.505000000000001</c:v>
                </c:pt>
                <c:pt idx="985">
                  <c:v>-27.616</c:v>
                </c:pt>
                <c:pt idx="986">
                  <c:v>-17.599</c:v>
                </c:pt>
                <c:pt idx="987">
                  <c:v>-31.815000000000001</c:v>
                </c:pt>
                <c:pt idx="988">
                  <c:v>-26.683</c:v>
                </c:pt>
                <c:pt idx="989">
                  <c:v>-8.0190000000000001</c:v>
                </c:pt>
                <c:pt idx="990">
                  <c:v>-9.8320000000000007</c:v>
                </c:pt>
                <c:pt idx="991">
                  <c:v>-9.2680000000000007</c:v>
                </c:pt>
                <c:pt idx="992">
                  <c:v>-37.027000000000001</c:v>
                </c:pt>
                <c:pt idx="993">
                  <c:v>-31.149000000000001</c:v>
                </c:pt>
                <c:pt idx="994">
                  <c:v>-32.368000000000002</c:v>
                </c:pt>
                <c:pt idx="995">
                  <c:v>-19.48</c:v>
                </c:pt>
                <c:pt idx="996">
                  <c:v>-18.907</c:v>
                </c:pt>
                <c:pt idx="997">
                  <c:v>-12.747999999999999</c:v>
                </c:pt>
                <c:pt idx="998">
                  <c:v>-12.43</c:v>
                </c:pt>
                <c:pt idx="999">
                  <c:v>-23.614000000000001</c:v>
                </c:pt>
                <c:pt idx="1000">
                  <c:v>-24.922000000000001</c:v>
                </c:pt>
                <c:pt idx="1001">
                  <c:v>-41.261000000000003</c:v>
                </c:pt>
                <c:pt idx="1002">
                  <c:v>-40.192999999999998</c:v>
                </c:pt>
                <c:pt idx="1003">
                  <c:v>-15.878</c:v>
                </c:pt>
                <c:pt idx="1004">
                  <c:v>-2.1</c:v>
                </c:pt>
                <c:pt idx="1005">
                  <c:v>-3.258</c:v>
                </c:pt>
                <c:pt idx="1006">
                  <c:v>-5.6210000000000004</c:v>
                </c:pt>
                <c:pt idx="1007">
                  <c:v>-18.084</c:v>
                </c:pt>
                <c:pt idx="1008">
                  <c:v>-15.769</c:v>
                </c:pt>
                <c:pt idx="1009">
                  <c:v>-22.992000000000001</c:v>
                </c:pt>
                <c:pt idx="1010">
                  <c:v>-11.372999999999999</c:v>
                </c:pt>
                <c:pt idx="1011">
                  <c:v>-3.355</c:v>
                </c:pt>
                <c:pt idx="1012">
                  <c:v>-7.5970000000000004</c:v>
                </c:pt>
                <c:pt idx="1013">
                  <c:v>-17</c:v>
                </c:pt>
                <c:pt idx="1014">
                  <c:v>-17.423999999999999</c:v>
                </c:pt>
                <c:pt idx="1015">
                  <c:v>-16.254999999999999</c:v>
                </c:pt>
                <c:pt idx="1016">
                  <c:v>-7.4279999999999999</c:v>
                </c:pt>
                <c:pt idx="1017">
                  <c:v>-5.016</c:v>
                </c:pt>
                <c:pt idx="1018">
                  <c:v>0</c:v>
                </c:pt>
                <c:pt idx="1019">
                  <c:v>-0.52</c:v>
                </c:pt>
                <c:pt idx="1020">
                  <c:v>-6.1950000000000003</c:v>
                </c:pt>
                <c:pt idx="1021">
                  <c:v>-2.5819999999999999</c:v>
                </c:pt>
                <c:pt idx="1022">
                  <c:v>-7.1520000000000001</c:v>
                </c:pt>
                <c:pt idx="1023">
                  <c:v>-5.9249999999999998</c:v>
                </c:pt>
                <c:pt idx="1024">
                  <c:v>-14.54</c:v>
                </c:pt>
                <c:pt idx="1025">
                  <c:v>-0.56499999999999995</c:v>
                </c:pt>
                <c:pt idx="1026">
                  <c:v>0</c:v>
                </c:pt>
                <c:pt idx="1027">
                  <c:v>-6.9059999999999997</c:v>
                </c:pt>
                <c:pt idx="1028">
                  <c:v>-3.516</c:v>
                </c:pt>
                <c:pt idx="1029">
                  <c:v>-18.359000000000002</c:v>
                </c:pt>
                <c:pt idx="1030">
                  <c:v>-1.2350000000000001</c:v>
                </c:pt>
                <c:pt idx="1031">
                  <c:v>0</c:v>
                </c:pt>
                <c:pt idx="1032">
                  <c:v>-2.11</c:v>
                </c:pt>
                <c:pt idx="1033">
                  <c:v>-1.9830000000000001</c:v>
                </c:pt>
                <c:pt idx="1034">
                  <c:v>-12.907</c:v>
                </c:pt>
                <c:pt idx="1035">
                  <c:v>0</c:v>
                </c:pt>
                <c:pt idx="1036">
                  <c:v>-8.2710000000000008</c:v>
                </c:pt>
                <c:pt idx="1037">
                  <c:v>-19.440000000000001</c:v>
                </c:pt>
                <c:pt idx="1038">
                  <c:v>-2.492</c:v>
                </c:pt>
                <c:pt idx="1039">
                  <c:v>-1.2</c:v>
                </c:pt>
                <c:pt idx="1040">
                  <c:v>0</c:v>
                </c:pt>
                <c:pt idx="1041">
                  <c:v>0</c:v>
                </c:pt>
                <c:pt idx="1042">
                  <c:v>-9.4570000000000007</c:v>
                </c:pt>
                <c:pt idx="1043">
                  <c:v>-10.928000000000001</c:v>
                </c:pt>
                <c:pt idx="1044">
                  <c:v>-3.9350000000000001</c:v>
                </c:pt>
                <c:pt idx="1045">
                  <c:v>0</c:v>
                </c:pt>
                <c:pt idx="1046">
                  <c:v>0</c:v>
                </c:pt>
                <c:pt idx="1047">
                  <c:v>-3.3620000000000001</c:v>
                </c:pt>
                <c:pt idx="1048">
                  <c:v>-14.468</c:v>
                </c:pt>
                <c:pt idx="1049">
                  <c:v>-8.3209999999999997</c:v>
                </c:pt>
                <c:pt idx="1050">
                  <c:v>-5.8769999999999998</c:v>
                </c:pt>
                <c:pt idx="1051">
                  <c:v>-0.84699999999999998</c:v>
                </c:pt>
                <c:pt idx="1052">
                  <c:v>-21.765000000000001</c:v>
                </c:pt>
                <c:pt idx="1053">
                  <c:v>-22.446000000000002</c:v>
                </c:pt>
                <c:pt idx="1054">
                  <c:v>-23.329000000000001</c:v>
                </c:pt>
                <c:pt idx="1055">
                  <c:v>-37.505000000000003</c:v>
                </c:pt>
                <c:pt idx="1056">
                  <c:v>-22.550999999999998</c:v>
                </c:pt>
                <c:pt idx="1057">
                  <c:v>-13.917</c:v>
                </c:pt>
                <c:pt idx="1058">
                  <c:v>-21.59</c:v>
                </c:pt>
                <c:pt idx="1059">
                  <c:v>-8.298</c:v>
                </c:pt>
                <c:pt idx="1060">
                  <c:v>-7.3049999999999997</c:v>
                </c:pt>
                <c:pt idx="1061">
                  <c:v>-4.3460000000000001</c:v>
                </c:pt>
                <c:pt idx="1062">
                  <c:v>-9.41</c:v>
                </c:pt>
                <c:pt idx="1063">
                  <c:v>-22.295000000000002</c:v>
                </c:pt>
                <c:pt idx="1064">
                  <c:v>-22.311</c:v>
                </c:pt>
                <c:pt idx="1065">
                  <c:v>-41.476999999999997</c:v>
                </c:pt>
                <c:pt idx="1066">
                  <c:v>-33.96</c:v>
                </c:pt>
                <c:pt idx="1067">
                  <c:v>-8.9489999999999998</c:v>
                </c:pt>
                <c:pt idx="1068">
                  <c:v>-3.395</c:v>
                </c:pt>
                <c:pt idx="1069">
                  <c:v>-39.033000000000001</c:v>
                </c:pt>
                <c:pt idx="1070">
                  <c:v>-40.429000000000002</c:v>
                </c:pt>
                <c:pt idx="1071">
                  <c:v>-48.664000000000001</c:v>
                </c:pt>
                <c:pt idx="1072">
                  <c:v>-67.114999999999995</c:v>
                </c:pt>
                <c:pt idx="1073">
                  <c:v>-43.014000000000003</c:v>
                </c:pt>
                <c:pt idx="1074">
                  <c:v>-38.170999999999999</c:v>
                </c:pt>
                <c:pt idx="1075">
                  <c:v>-60.72</c:v>
                </c:pt>
                <c:pt idx="1076">
                  <c:v>-95.793000000000006</c:v>
                </c:pt>
                <c:pt idx="1077">
                  <c:v>-107.712</c:v>
                </c:pt>
                <c:pt idx="1078">
                  <c:v>-57.045999999999999</c:v>
                </c:pt>
                <c:pt idx="1079">
                  <c:v>-67.570999999999998</c:v>
                </c:pt>
                <c:pt idx="1080">
                  <c:v>-65.513000000000005</c:v>
                </c:pt>
                <c:pt idx="1081">
                  <c:v>-53.188000000000002</c:v>
                </c:pt>
                <c:pt idx="1082">
                  <c:v>-40.322000000000003</c:v>
                </c:pt>
                <c:pt idx="1083">
                  <c:v>-33.457000000000001</c:v>
                </c:pt>
                <c:pt idx="1084">
                  <c:v>-29.437999999999999</c:v>
                </c:pt>
                <c:pt idx="1085">
                  <c:v>-24.378</c:v>
                </c:pt>
                <c:pt idx="1086">
                  <c:v>-12.61</c:v>
                </c:pt>
                <c:pt idx="1087">
                  <c:v>-12.334</c:v>
                </c:pt>
                <c:pt idx="1088">
                  <c:v>-7.468</c:v>
                </c:pt>
                <c:pt idx="1089">
                  <c:v>-0.4</c:v>
                </c:pt>
                <c:pt idx="1090">
                  <c:v>-4.8000000000000001E-2</c:v>
                </c:pt>
                <c:pt idx="1091">
                  <c:v>-5.2539999999999996</c:v>
                </c:pt>
                <c:pt idx="1092">
                  <c:v>-3.8380000000000001</c:v>
                </c:pt>
                <c:pt idx="1093">
                  <c:v>-10.555</c:v>
                </c:pt>
                <c:pt idx="1094">
                  <c:v>-6.7750000000000004</c:v>
                </c:pt>
                <c:pt idx="1095">
                  <c:v>0</c:v>
                </c:pt>
                <c:pt idx="1096">
                  <c:v>-0.312</c:v>
                </c:pt>
                <c:pt idx="1097">
                  <c:v>-7.891</c:v>
                </c:pt>
                <c:pt idx="1098">
                  <c:v>-25.093</c:v>
                </c:pt>
                <c:pt idx="1099">
                  <c:v>-7.0430000000000001</c:v>
                </c:pt>
                <c:pt idx="1100">
                  <c:v>-16.596</c:v>
                </c:pt>
                <c:pt idx="1101">
                  <c:v>-7.4880000000000004</c:v>
                </c:pt>
                <c:pt idx="1102">
                  <c:v>-6.3079999999999998</c:v>
                </c:pt>
                <c:pt idx="1103">
                  <c:v>-7.7229999999999999</c:v>
                </c:pt>
                <c:pt idx="1104">
                  <c:v>-23.318000000000001</c:v>
                </c:pt>
                <c:pt idx="1105">
                  <c:v>-13.596</c:v>
                </c:pt>
                <c:pt idx="1106">
                  <c:v>-11.04</c:v>
                </c:pt>
                <c:pt idx="1107">
                  <c:v>-20.151</c:v>
                </c:pt>
                <c:pt idx="1108">
                  <c:v>-13.653</c:v>
                </c:pt>
                <c:pt idx="1109">
                  <c:v>-19.283999999999999</c:v>
                </c:pt>
                <c:pt idx="1110">
                  <c:v>-21.484999999999999</c:v>
                </c:pt>
                <c:pt idx="1111">
                  <c:v>-33.119</c:v>
                </c:pt>
                <c:pt idx="1112">
                  <c:v>-33.57</c:v>
                </c:pt>
                <c:pt idx="1113">
                  <c:v>-51.097999999999999</c:v>
                </c:pt>
                <c:pt idx="1114">
                  <c:v>-50.09</c:v>
                </c:pt>
                <c:pt idx="1115">
                  <c:v>-49.674999999999997</c:v>
                </c:pt>
                <c:pt idx="1116">
                  <c:v>-50.899000000000001</c:v>
                </c:pt>
                <c:pt idx="1117">
                  <c:v>-52.058</c:v>
                </c:pt>
                <c:pt idx="1118">
                  <c:v>-80.156000000000006</c:v>
                </c:pt>
                <c:pt idx="1119">
                  <c:v>-46.95</c:v>
                </c:pt>
                <c:pt idx="1120">
                  <c:v>-53.472000000000001</c:v>
                </c:pt>
                <c:pt idx="1121">
                  <c:v>-36.377000000000002</c:v>
                </c:pt>
                <c:pt idx="1122">
                  <c:v>-40.212000000000003</c:v>
                </c:pt>
                <c:pt idx="1123">
                  <c:v>-24.606999999999999</c:v>
                </c:pt>
                <c:pt idx="1124">
                  <c:v>-13.292999999999999</c:v>
                </c:pt>
                <c:pt idx="1125">
                  <c:v>-31.018999999999998</c:v>
                </c:pt>
                <c:pt idx="1126">
                  <c:v>-31.763000000000002</c:v>
                </c:pt>
                <c:pt idx="1127">
                  <c:v>-53.186</c:v>
                </c:pt>
                <c:pt idx="1128">
                  <c:v>-60.167000000000002</c:v>
                </c:pt>
                <c:pt idx="1129">
                  <c:v>-61.62</c:v>
                </c:pt>
                <c:pt idx="1130">
                  <c:v>-61.177</c:v>
                </c:pt>
                <c:pt idx="1131">
                  <c:v>-50.320999999999998</c:v>
                </c:pt>
                <c:pt idx="1132">
                  <c:v>-85.001000000000005</c:v>
                </c:pt>
                <c:pt idx="1133">
                  <c:v>-78.617999999999995</c:v>
                </c:pt>
                <c:pt idx="1134">
                  <c:v>-63.396000000000001</c:v>
                </c:pt>
                <c:pt idx="1135">
                  <c:v>-22.193999999999999</c:v>
                </c:pt>
                <c:pt idx="1136">
                  <c:v>-30.933</c:v>
                </c:pt>
                <c:pt idx="1137">
                  <c:v>-23.606000000000002</c:v>
                </c:pt>
                <c:pt idx="1138">
                  <c:v>-27.155000000000001</c:v>
                </c:pt>
                <c:pt idx="1139">
                  <c:v>-37.372999999999998</c:v>
                </c:pt>
                <c:pt idx="1140">
                  <c:v>-35.008000000000003</c:v>
                </c:pt>
                <c:pt idx="1141">
                  <c:v>-31.734000000000002</c:v>
                </c:pt>
                <c:pt idx="1142">
                  <c:v>-35.673999999999999</c:v>
                </c:pt>
                <c:pt idx="1143">
                  <c:v>-24.053999999999998</c:v>
                </c:pt>
                <c:pt idx="1144">
                  <c:v>-25.062000000000001</c:v>
                </c:pt>
                <c:pt idx="1145">
                  <c:v>-34.515999999999998</c:v>
                </c:pt>
                <c:pt idx="1146">
                  <c:v>-29.091999999999999</c:v>
                </c:pt>
                <c:pt idx="1147">
                  <c:v>-24.774000000000001</c:v>
                </c:pt>
                <c:pt idx="1148">
                  <c:v>-39.408000000000001</c:v>
                </c:pt>
                <c:pt idx="1149">
                  <c:v>-23.664000000000001</c:v>
                </c:pt>
                <c:pt idx="1150">
                  <c:v>-30.363</c:v>
                </c:pt>
                <c:pt idx="1151">
                  <c:v>-17.131</c:v>
                </c:pt>
                <c:pt idx="1152">
                  <c:v>-28.132999999999999</c:v>
                </c:pt>
                <c:pt idx="1153">
                  <c:v>-44.225999999999999</c:v>
                </c:pt>
                <c:pt idx="1154">
                  <c:v>-38.192999999999998</c:v>
                </c:pt>
                <c:pt idx="1155">
                  <c:v>-46.021000000000001</c:v>
                </c:pt>
                <c:pt idx="1156">
                  <c:v>-43.942999999999998</c:v>
                </c:pt>
                <c:pt idx="1157">
                  <c:v>-30.454000000000001</c:v>
                </c:pt>
                <c:pt idx="1158">
                  <c:v>-30.268000000000001</c:v>
                </c:pt>
                <c:pt idx="1159">
                  <c:v>-34.128999999999998</c:v>
                </c:pt>
                <c:pt idx="1160">
                  <c:v>-57.451000000000001</c:v>
                </c:pt>
                <c:pt idx="1161">
                  <c:v>-30.359000000000002</c:v>
                </c:pt>
                <c:pt idx="1162">
                  <c:v>-52.445999999999998</c:v>
                </c:pt>
                <c:pt idx="1163">
                  <c:v>-33.581000000000003</c:v>
                </c:pt>
                <c:pt idx="1164">
                  <c:v>-58.112000000000002</c:v>
                </c:pt>
                <c:pt idx="1165">
                  <c:v>-46.066000000000003</c:v>
                </c:pt>
                <c:pt idx="1166">
                  <c:v>-36.323</c:v>
                </c:pt>
                <c:pt idx="1167">
                  <c:v>-31.084</c:v>
                </c:pt>
                <c:pt idx="1168">
                  <c:v>-35.299999999999997</c:v>
                </c:pt>
                <c:pt idx="1169">
                  <c:v>-32.529000000000003</c:v>
                </c:pt>
                <c:pt idx="1170">
                  <c:v>-43.250999999999998</c:v>
                </c:pt>
                <c:pt idx="1171">
                  <c:v>-27.619</c:v>
                </c:pt>
                <c:pt idx="1172">
                  <c:v>-17.591999999999999</c:v>
                </c:pt>
                <c:pt idx="1173">
                  <c:v>-23.218</c:v>
                </c:pt>
                <c:pt idx="1174">
                  <c:v>-25.675999999999998</c:v>
                </c:pt>
                <c:pt idx="1175">
                  <c:v>-19.983000000000001</c:v>
                </c:pt>
                <c:pt idx="1176">
                  <c:v>-22.152999999999999</c:v>
                </c:pt>
                <c:pt idx="1177">
                  <c:v>-20.367000000000001</c:v>
                </c:pt>
                <c:pt idx="1178">
                  <c:v>-22.937000000000001</c:v>
                </c:pt>
                <c:pt idx="1179">
                  <c:v>-20.053000000000001</c:v>
                </c:pt>
                <c:pt idx="1180">
                  <c:v>-20.925000000000001</c:v>
                </c:pt>
                <c:pt idx="1181">
                  <c:v>-48.262999999999998</c:v>
                </c:pt>
                <c:pt idx="1182">
                  <c:v>-31.417000000000002</c:v>
                </c:pt>
                <c:pt idx="1183">
                  <c:v>-33.158000000000001</c:v>
                </c:pt>
                <c:pt idx="1184">
                  <c:v>-44.46</c:v>
                </c:pt>
                <c:pt idx="1185">
                  <c:v>-3.681</c:v>
                </c:pt>
                <c:pt idx="1186">
                  <c:v>-33.340000000000003</c:v>
                </c:pt>
                <c:pt idx="1187">
                  <c:v>-32.801000000000002</c:v>
                </c:pt>
                <c:pt idx="1188">
                  <c:v>-39.25</c:v>
                </c:pt>
                <c:pt idx="1189">
                  <c:v>-66.176000000000002</c:v>
                </c:pt>
                <c:pt idx="1190">
                  <c:v>-79.338999999999999</c:v>
                </c:pt>
                <c:pt idx="1191">
                  <c:v>-74.287999999999997</c:v>
                </c:pt>
                <c:pt idx="1192">
                  <c:v>-9.8550000000000004</c:v>
                </c:pt>
                <c:pt idx="1193">
                  <c:v>-6.306</c:v>
                </c:pt>
                <c:pt idx="1194">
                  <c:v>-12.304</c:v>
                </c:pt>
                <c:pt idx="1195">
                  <c:v>-4.9050000000000002</c:v>
                </c:pt>
                <c:pt idx="1196">
                  <c:v>-17.741</c:v>
                </c:pt>
                <c:pt idx="1197">
                  <c:v>-3.0470000000000002</c:v>
                </c:pt>
                <c:pt idx="1198">
                  <c:v>-6.0430000000000001</c:v>
                </c:pt>
                <c:pt idx="1199">
                  <c:v>-13.047000000000001</c:v>
                </c:pt>
                <c:pt idx="1200">
                  <c:v>-0.16600000000000001</c:v>
                </c:pt>
                <c:pt idx="1201">
                  <c:v>-2.27</c:v>
                </c:pt>
                <c:pt idx="1202">
                  <c:v>-7.5720000000000001</c:v>
                </c:pt>
                <c:pt idx="1203">
                  <c:v>-2.46</c:v>
                </c:pt>
                <c:pt idx="1204">
                  <c:v>-13.382999999999999</c:v>
                </c:pt>
                <c:pt idx="1205">
                  <c:v>-1.6259999999999999</c:v>
                </c:pt>
                <c:pt idx="1206">
                  <c:v>-6.5449999999999999</c:v>
                </c:pt>
                <c:pt idx="1207">
                  <c:v>-6.0999999999999999E-2</c:v>
                </c:pt>
                <c:pt idx="1208">
                  <c:v>-0.48099999999999998</c:v>
                </c:pt>
                <c:pt idx="1209">
                  <c:v>-6.5629999999999997</c:v>
                </c:pt>
                <c:pt idx="1210">
                  <c:v>-1.23</c:v>
                </c:pt>
                <c:pt idx="1211">
                  <c:v>-11.608000000000001</c:v>
                </c:pt>
                <c:pt idx="1212">
                  <c:v>-24.527999999999999</c:v>
                </c:pt>
                <c:pt idx="1213">
                  <c:v>-5.3540000000000001</c:v>
                </c:pt>
                <c:pt idx="1214">
                  <c:v>-2.8000000000000001E-2</c:v>
                </c:pt>
                <c:pt idx="1215">
                  <c:v>-9.3070000000000004</c:v>
                </c:pt>
                <c:pt idx="1216">
                  <c:v>-1.6519999999999999</c:v>
                </c:pt>
                <c:pt idx="1217">
                  <c:v>-11.307</c:v>
                </c:pt>
                <c:pt idx="1218">
                  <c:v>-3.1320000000000001</c:v>
                </c:pt>
                <c:pt idx="1219">
                  <c:v>-4.7590000000000003</c:v>
                </c:pt>
                <c:pt idx="1220">
                  <c:v>-4.8419999999999996</c:v>
                </c:pt>
                <c:pt idx="1221">
                  <c:v>-19.945</c:v>
                </c:pt>
                <c:pt idx="1222">
                  <c:v>-20.344000000000001</c:v>
                </c:pt>
                <c:pt idx="1223">
                  <c:v>-39.268000000000001</c:v>
                </c:pt>
                <c:pt idx="1224">
                  <c:v>-42.536999999999999</c:v>
                </c:pt>
                <c:pt idx="1225">
                  <c:v>-82.552999999999997</c:v>
                </c:pt>
                <c:pt idx="1226">
                  <c:v>-113.762</c:v>
                </c:pt>
                <c:pt idx="1227">
                  <c:v>-26.957000000000001</c:v>
                </c:pt>
                <c:pt idx="1228">
                  <c:v>0</c:v>
                </c:pt>
                <c:pt idx="1229">
                  <c:v>0</c:v>
                </c:pt>
                <c:pt idx="1230">
                  <c:v>-3.2789999999999999</c:v>
                </c:pt>
                <c:pt idx="1231">
                  <c:v>-10.016999999999999</c:v>
                </c:pt>
                <c:pt idx="1232">
                  <c:v>-11.333</c:v>
                </c:pt>
                <c:pt idx="1233">
                  <c:v>-4.2919999999999998</c:v>
                </c:pt>
                <c:pt idx="1234">
                  <c:v>-1.5229999999999999</c:v>
                </c:pt>
                <c:pt idx="1235">
                  <c:v>-5.7069999999999999</c:v>
                </c:pt>
                <c:pt idx="1236">
                  <c:v>-5.7069999999999999</c:v>
                </c:pt>
                <c:pt idx="1237">
                  <c:v>-1.667</c:v>
                </c:pt>
                <c:pt idx="1238">
                  <c:v>-6.6219999999999999</c:v>
                </c:pt>
                <c:pt idx="1239">
                  <c:v>-4.6390000000000002</c:v>
                </c:pt>
                <c:pt idx="1240">
                  <c:v>-8.6519999999999992</c:v>
                </c:pt>
                <c:pt idx="1241">
                  <c:v>-4.3719999999999999</c:v>
                </c:pt>
                <c:pt idx="1242">
                  <c:v>-0.69499999999999995</c:v>
                </c:pt>
                <c:pt idx="1243">
                  <c:v>-6.9000000000000006E-2</c:v>
                </c:pt>
                <c:pt idx="1244">
                  <c:v>-2.2890000000000001</c:v>
                </c:pt>
                <c:pt idx="1245">
                  <c:v>-5.4189999999999996</c:v>
                </c:pt>
                <c:pt idx="1246">
                  <c:v>-1.845</c:v>
                </c:pt>
                <c:pt idx="1247">
                  <c:v>-0.93899999999999995</c:v>
                </c:pt>
                <c:pt idx="1248">
                  <c:v>-21.045999999999999</c:v>
                </c:pt>
                <c:pt idx="1249">
                  <c:v>-0.58099999999999996</c:v>
                </c:pt>
                <c:pt idx="1250">
                  <c:v>-5.5039999999999996</c:v>
                </c:pt>
                <c:pt idx="1251">
                  <c:v>-8.38000000000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99-43FB-9B00-42D97902B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25164416"/>
        <c:axId val="325170304"/>
      </c:barChar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25164416"/>
        <c:axId val="325170304"/>
        <c:extLst>
          <c:ext xmlns:c15="http://schemas.microsoft.com/office/drawing/2012/chart" uri="{02D57815-91ED-43cb-92C2-25804820EDAC}">
            <c15:filteredLineSeries>
              <c15:ser>
                <c:idx val="4"/>
                <c:order val="3"/>
                <c:tx>
                  <c:v>Withdrawal capacity</c:v>
                </c:tx>
                <c:spPr>
                  <a:ln w="28575">
                    <a:solidFill>
                      <a:schemeClr val="accent5"/>
                    </a:solidFill>
                    <a:prstDash val="sysDash"/>
                  </a:ln>
                </c:spPr>
                <c:marker>
                  <c:symbol val="none"/>
                </c:marker>
                <c:val>
                  <c:numRef>
                    <c:extLst>
                      <c:ext uri="{02D57815-91ED-43cb-92C2-25804820EDAC}">
                        <c15:formulaRef>
                          <c15:sqref>'DK udtræk og injicering'!$K$4641:$K$5892</c15:sqref>
                        </c15:formulaRef>
                      </c:ext>
                    </c:extLst>
                    <c:numCache>
                      <c:formatCode>_ * #,##0_ ;_ * \-#,##0_ ;_ * "-"??_ ;_ @_ </c:formatCode>
                      <c:ptCount val="1252"/>
                      <c:pt idx="0">
                        <c:v>-180</c:v>
                      </c:pt>
                      <c:pt idx="1">
                        <c:v>-180</c:v>
                      </c:pt>
                      <c:pt idx="2">
                        <c:v>-180</c:v>
                      </c:pt>
                      <c:pt idx="3">
                        <c:v>-180</c:v>
                      </c:pt>
                      <c:pt idx="4">
                        <c:v>-180</c:v>
                      </c:pt>
                      <c:pt idx="5">
                        <c:v>-180</c:v>
                      </c:pt>
                      <c:pt idx="6">
                        <c:v>-180</c:v>
                      </c:pt>
                      <c:pt idx="7">
                        <c:v>-180</c:v>
                      </c:pt>
                      <c:pt idx="8">
                        <c:v>-180</c:v>
                      </c:pt>
                      <c:pt idx="9">
                        <c:v>-180</c:v>
                      </c:pt>
                      <c:pt idx="10">
                        <c:v>-180</c:v>
                      </c:pt>
                      <c:pt idx="11">
                        <c:v>-180</c:v>
                      </c:pt>
                      <c:pt idx="12">
                        <c:v>-180</c:v>
                      </c:pt>
                      <c:pt idx="13">
                        <c:v>-180</c:v>
                      </c:pt>
                      <c:pt idx="14">
                        <c:v>-180</c:v>
                      </c:pt>
                      <c:pt idx="15">
                        <c:v>-180</c:v>
                      </c:pt>
                      <c:pt idx="16">
                        <c:v>-180</c:v>
                      </c:pt>
                      <c:pt idx="17">
                        <c:v>-180</c:v>
                      </c:pt>
                      <c:pt idx="18">
                        <c:v>-180</c:v>
                      </c:pt>
                      <c:pt idx="19">
                        <c:v>-180</c:v>
                      </c:pt>
                      <c:pt idx="20">
                        <c:v>-180</c:v>
                      </c:pt>
                      <c:pt idx="21">
                        <c:v>-180</c:v>
                      </c:pt>
                      <c:pt idx="22">
                        <c:v>-180</c:v>
                      </c:pt>
                      <c:pt idx="23">
                        <c:v>-180</c:v>
                      </c:pt>
                      <c:pt idx="24">
                        <c:v>-180</c:v>
                      </c:pt>
                      <c:pt idx="25">
                        <c:v>-180</c:v>
                      </c:pt>
                      <c:pt idx="26">
                        <c:v>-180</c:v>
                      </c:pt>
                      <c:pt idx="27">
                        <c:v>-180</c:v>
                      </c:pt>
                      <c:pt idx="28">
                        <c:v>-180</c:v>
                      </c:pt>
                      <c:pt idx="29">
                        <c:v>-180</c:v>
                      </c:pt>
                      <c:pt idx="30">
                        <c:v>-180</c:v>
                      </c:pt>
                      <c:pt idx="31">
                        <c:v>-180</c:v>
                      </c:pt>
                      <c:pt idx="32">
                        <c:v>-180</c:v>
                      </c:pt>
                      <c:pt idx="33">
                        <c:v>-180</c:v>
                      </c:pt>
                      <c:pt idx="34">
                        <c:v>-180</c:v>
                      </c:pt>
                      <c:pt idx="35">
                        <c:v>-180</c:v>
                      </c:pt>
                      <c:pt idx="36">
                        <c:v>-180</c:v>
                      </c:pt>
                      <c:pt idx="37">
                        <c:v>-180</c:v>
                      </c:pt>
                      <c:pt idx="38">
                        <c:v>-180</c:v>
                      </c:pt>
                      <c:pt idx="39">
                        <c:v>-180</c:v>
                      </c:pt>
                      <c:pt idx="40">
                        <c:v>-180</c:v>
                      </c:pt>
                      <c:pt idx="41">
                        <c:v>-180</c:v>
                      </c:pt>
                      <c:pt idx="42">
                        <c:v>-180</c:v>
                      </c:pt>
                      <c:pt idx="43">
                        <c:v>-180</c:v>
                      </c:pt>
                      <c:pt idx="44">
                        <c:v>-180</c:v>
                      </c:pt>
                      <c:pt idx="45">
                        <c:v>-180</c:v>
                      </c:pt>
                      <c:pt idx="46">
                        <c:v>-180</c:v>
                      </c:pt>
                      <c:pt idx="47">
                        <c:v>-180</c:v>
                      </c:pt>
                      <c:pt idx="48">
                        <c:v>-180</c:v>
                      </c:pt>
                      <c:pt idx="49">
                        <c:v>-180</c:v>
                      </c:pt>
                      <c:pt idx="50">
                        <c:v>-180</c:v>
                      </c:pt>
                      <c:pt idx="51">
                        <c:v>-180</c:v>
                      </c:pt>
                      <c:pt idx="52">
                        <c:v>-180</c:v>
                      </c:pt>
                      <c:pt idx="53">
                        <c:v>-180</c:v>
                      </c:pt>
                      <c:pt idx="54">
                        <c:v>-180</c:v>
                      </c:pt>
                      <c:pt idx="55">
                        <c:v>-180</c:v>
                      </c:pt>
                      <c:pt idx="56">
                        <c:v>-180</c:v>
                      </c:pt>
                      <c:pt idx="57">
                        <c:v>-180</c:v>
                      </c:pt>
                      <c:pt idx="58">
                        <c:v>-180</c:v>
                      </c:pt>
                      <c:pt idx="59">
                        <c:v>-180</c:v>
                      </c:pt>
                      <c:pt idx="60">
                        <c:v>-162</c:v>
                      </c:pt>
                      <c:pt idx="61">
                        <c:v>-162</c:v>
                      </c:pt>
                      <c:pt idx="62">
                        <c:v>-162</c:v>
                      </c:pt>
                      <c:pt idx="63">
                        <c:v>-162</c:v>
                      </c:pt>
                      <c:pt idx="64">
                        <c:v>-162</c:v>
                      </c:pt>
                      <c:pt idx="65">
                        <c:v>-162</c:v>
                      </c:pt>
                      <c:pt idx="66">
                        <c:v>-162</c:v>
                      </c:pt>
                      <c:pt idx="67">
                        <c:v>-162</c:v>
                      </c:pt>
                      <c:pt idx="68">
                        <c:v>-162</c:v>
                      </c:pt>
                      <c:pt idx="69">
                        <c:v>-162</c:v>
                      </c:pt>
                      <c:pt idx="70">
                        <c:v>-162</c:v>
                      </c:pt>
                      <c:pt idx="71">
                        <c:v>-162</c:v>
                      </c:pt>
                      <c:pt idx="72">
                        <c:v>-162</c:v>
                      </c:pt>
                      <c:pt idx="73">
                        <c:v>-162</c:v>
                      </c:pt>
                      <c:pt idx="74">
                        <c:v>-162</c:v>
                      </c:pt>
                      <c:pt idx="75">
                        <c:v>-162</c:v>
                      </c:pt>
                      <c:pt idx="76">
                        <c:v>-162</c:v>
                      </c:pt>
                      <c:pt idx="77">
                        <c:v>-162</c:v>
                      </c:pt>
                      <c:pt idx="78">
                        <c:v>-162</c:v>
                      </c:pt>
                      <c:pt idx="79">
                        <c:v>-162</c:v>
                      </c:pt>
                      <c:pt idx="80">
                        <c:v>-162</c:v>
                      </c:pt>
                      <c:pt idx="81">
                        <c:v>-162</c:v>
                      </c:pt>
                      <c:pt idx="82">
                        <c:v>-162</c:v>
                      </c:pt>
                      <c:pt idx="83">
                        <c:v>-162</c:v>
                      </c:pt>
                      <c:pt idx="84">
                        <c:v>-162</c:v>
                      </c:pt>
                      <c:pt idx="85">
                        <c:v>-162</c:v>
                      </c:pt>
                      <c:pt idx="86">
                        <c:v>-162</c:v>
                      </c:pt>
                      <c:pt idx="87">
                        <c:v>-162</c:v>
                      </c:pt>
                      <c:pt idx="88">
                        <c:v>-162</c:v>
                      </c:pt>
                      <c:pt idx="89">
                        <c:v>-162</c:v>
                      </c:pt>
                      <c:pt idx="90">
                        <c:v>-162</c:v>
                      </c:pt>
                      <c:pt idx="91">
                        <c:v>-162</c:v>
                      </c:pt>
                      <c:pt idx="92">
                        <c:v>-162</c:v>
                      </c:pt>
                      <c:pt idx="93">
                        <c:v>-162</c:v>
                      </c:pt>
                      <c:pt idx="94">
                        <c:v>-162</c:v>
                      </c:pt>
                      <c:pt idx="95">
                        <c:v>-162</c:v>
                      </c:pt>
                      <c:pt idx="96">
                        <c:v>-162</c:v>
                      </c:pt>
                      <c:pt idx="97">
                        <c:v>-162</c:v>
                      </c:pt>
                      <c:pt idx="98">
                        <c:v>-162</c:v>
                      </c:pt>
                      <c:pt idx="99">
                        <c:v>-162</c:v>
                      </c:pt>
                      <c:pt idx="100">
                        <c:v>-162</c:v>
                      </c:pt>
                      <c:pt idx="101">
                        <c:v>-162</c:v>
                      </c:pt>
                      <c:pt idx="102">
                        <c:v>-162</c:v>
                      </c:pt>
                      <c:pt idx="103">
                        <c:v>-162</c:v>
                      </c:pt>
                      <c:pt idx="104">
                        <c:v>-162</c:v>
                      </c:pt>
                      <c:pt idx="105">
                        <c:v>-162</c:v>
                      </c:pt>
                      <c:pt idx="106">
                        <c:v>-162</c:v>
                      </c:pt>
                      <c:pt idx="107">
                        <c:v>-162</c:v>
                      </c:pt>
                      <c:pt idx="108">
                        <c:v>-162</c:v>
                      </c:pt>
                      <c:pt idx="109">
                        <c:v>-162</c:v>
                      </c:pt>
                      <c:pt idx="110">
                        <c:v>-162</c:v>
                      </c:pt>
                      <c:pt idx="111">
                        <c:v>-162</c:v>
                      </c:pt>
                      <c:pt idx="112">
                        <c:v>-162</c:v>
                      </c:pt>
                      <c:pt idx="113">
                        <c:v>-162</c:v>
                      </c:pt>
                      <c:pt idx="114">
                        <c:v>-162</c:v>
                      </c:pt>
                      <c:pt idx="115">
                        <c:v>-162</c:v>
                      </c:pt>
                      <c:pt idx="116">
                        <c:v>-162</c:v>
                      </c:pt>
                      <c:pt idx="117">
                        <c:v>-162</c:v>
                      </c:pt>
                      <c:pt idx="118">
                        <c:v>-162</c:v>
                      </c:pt>
                      <c:pt idx="119">
                        <c:v>-162</c:v>
                      </c:pt>
                      <c:pt idx="120">
                        <c:v>-162</c:v>
                      </c:pt>
                      <c:pt idx="121">
                        <c:v>-180</c:v>
                      </c:pt>
                      <c:pt idx="122">
                        <c:v>-180</c:v>
                      </c:pt>
                      <c:pt idx="123">
                        <c:v>-180</c:v>
                      </c:pt>
                      <c:pt idx="124">
                        <c:v>-180</c:v>
                      </c:pt>
                      <c:pt idx="125">
                        <c:v>-180</c:v>
                      </c:pt>
                      <c:pt idx="126">
                        <c:v>-180</c:v>
                      </c:pt>
                      <c:pt idx="127">
                        <c:v>-180</c:v>
                      </c:pt>
                      <c:pt idx="128">
                        <c:v>-180</c:v>
                      </c:pt>
                      <c:pt idx="129">
                        <c:v>-180</c:v>
                      </c:pt>
                      <c:pt idx="130">
                        <c:v>-180</c:v>
                      </c:pt>
                      <c:pt idx="131">
                        <c:v>-180</c:v>
                      </c:pt>
                      <c:pt idx="132">
                        <c:v>-180</c:v>
                      </c:pt>
                      <c:pt idx="133">
                        <c:v>-180</c:v>
                      </c:pt>
                      <c:pt idx="134">
                        <c:v>-180</c:v>
                      </c:pt>
                      <c:pt idx="135">
                        <c:v>-180</c:v>
                      </c:pt>
                      <c:pt idx="136">
                        <c:v>-180</c:v>
                      </c:pt>
                      <c:pt idx="137">
                        <c:v>-180</c:v>
                      </c:pt>
                      <c:pt idx="138">
                        <c:v>-180</c:v>
                      </c:pt>
                      <c:pt idx="139">
                        <c:v>-180</c:v>
                      </c:pt>
                      <c:pt idx="140">
                        <c:v>-180</c:v>
                      </c:pt>
                      <c:pt idx="141">
                        <c:v>-180</c:v>
                      </c:pt>
                      <c:pt idx="142">
                        <c:v>-180</c:v>
                      </c:pt>
                      <c:pt idx="143">
                        <c:v>-180</c:v>
                      </c:pt>
                      <c:pt idx="144">
                        <c:v>-180</c:v>
                      </c:pt>
                      <c:pt idx="145">
                        <c:v>-180</c:v>
                      </c:pt>
                      <c:pt idx="146">
                        <c:v>-180</c:v>
                      </c:pt>
                      <c:pt idx="147">
                        <c:v>-180</c:v>
                      </c:pt>
                      <c:pt idx="148">
                        <c:v>-180</c:v>
                      </c:pt>
                      <c:pt idx="149">
                        <c:v>-180</c:v>
                      </c:pt>
                      <c:pt idx="150">
                        <c:v>-180</c:v>
                      </c:pt>
                      <c:pt idx="151">
                        <c:v>-180</c:v>
                      </c:pt>
                      <c:pt idx="152">
                        <c:v>-180</c:v>
                      </c:pt>
                      <c:pt idx="153">
                        <c:v>-180</c:v>
                      </c:pt>
                      <c:pt idx="154">
                        <c:v>-180</c:v>
                      </c:pt>
                      <c:pt idx="155">
                        <c:v>-180</c:v>
                      </c:pt>
                      <c:pt idx="156">
                        <c:v>-180</c:v>
                      </c:pt>
                      <c:pt idx="157">
                        <c:v>-180</c:v>
                      </c:pt>
                      <c:pt idx="158">
                        <c:v>-180</c:v>
                      </c:pt>
                      <c:pt idx="159">
                        <c:v>-180</c:v>
                      </c:pt>
                      <c:pt idx="160">
                        <c:v>-180</c:v>
                      </c:pt>
                      <c:pt idx="161">
                        <c:v>-180</c:v>
                      </c:pt>
                      <c:pt idx="162">
                        <c:v>-180</c:v>
                      </c:pt>
                      <c:pt idx="163">
                        <c:v>-180</c:v>
                      </c:pt>
                      <c:pt idx="164">
                        <c:v>-180</c:v>
                      </c:pt>
                      <c:pt idx="165">
                        <c:v>-180</c:v>
                      </c:pt>
                      <c:pt idx="166">
                        <c:v>-180</c:v>
                      </c:pt>
                      <c:pt idx="167">
                        <c:v>-180</c:v>
                      </c:pt>
                      <c:pt idx="168">
                        <c:v>-180</c:v>
                      </c:pt>
                      <c:pt idx="169">
                        <c:v>-180</c:v>
                      </c:pt>
                      <c:pt idx="170">
                        <c:v>-180</c:v>
                      </c:pt>
                      <c:pt idx="171">
                        <c:v>-180</c:v>
                      </c:pt>
                      <c:pt idx="172">
                        <c:v>-180</c:v>
                      </c:pt>
                      <c:pt idx="173">
                        <c:v>-180</c:v>
                      </c:pt>
                      <c:pt idx="174">
                        <c:v>-180</c:v>
                      </c:pt>
                      <c:pt idx="175">
                        <c:v>-180</c:v>
                      </c:pt>
                      <c:pt idx="176">
                        <c:v>-180</c:v>
                      </c:pt>
                      <c:pt idx="177">
                        <c:v>-180</c:v>
                      </c:pt>
                      <c:pt idx="178">
                        <c:v>-180</c:v>
                      </c:pt>
                      <c:pt idx="179">
                        <c:v>-180</c:v>
                      </c:pt>
                      <c:pt idx="180">
                        <c:v>-180</c:v>
                      </c:pt>
                      <c:pt idx="181">
                        <c:v>-180</c:v>
                      </c:pt>
                      <c:pt idx="182">
                        <c:v>-180</c:v>
                      </c:pt>
                      <c:pt idx="183">
                        <c:v>-180</c:v>
                      </c:pt>
                      <c:pt idx="184">
                        <c:v>-180</c:v>
                      </c:pt>
                      <c:pt idx="185">
                        <c:v>-180</c:v>
                      </c:pt>
                      <c:pt idx="186">
                        <c:v>-180</c:v>
                      </c:pt>
                      <c:pt idx="187">
                        <c:v>-180</c:v>
                      </c:pt>
                      <c:pt idx="188">
                        <c:v>-180</c:v>
                      </c:pt>
                      <c:pt idx="189">
                        <c:v>-180</c:v>
                      </c:pt>
                      <c:pt idx="190">
                        <c:v>-180</c:v>
                      </c:pt>
                      <c:pt idx="191">
                        <c:v>-180</c:v>
                      </c:pt>
                      <c:pt idx="192">
                        <c:v>-180</c:v>
                      </c:pt>
                      <c:pt idx="193">
                        <c:v>-180</c:v>
                      </c:pt>
                      <c:pt idx="194">
                        <c:v>-180</c:v>
                      </c:pt>
                      <c:pt idx="195">
                        <c:v>-180</c:v>
                      </c:pt>
                      <c:pt idx="196">
                        <c:v>-180</c:v>
                      </c:pt>
                      <c:pt idx="197">
                        <c:v>-180</c:v>
                      </c:pt>
                      <c:pt idx="198">
                        <c:v>-180</c:v>
                      </c:pt>
                      <c:pt idx="199">
                        <c:v>-180</c:v>
                      </c:pt>
                      <c:pt idx="200">
                        <c:v>-180</c:v>
                      </c:pt>
                      <c:pt idx="201">
                        <c:v>-180</c:v>
                      </c:pt>
                      <c:pt idx="202">
                        <c:v>-180</c:v>
                      </c:pt>
                      <c:pt idx="203">
                        <c:v>-180</c:v>
                      </c:pt>
                      <c:pt idx="204">
                        <c:v>-180</c:v>
                      </c:pt>
                      <c:pt idx="205">
                        <c:v>-180</c:v>
                      </c:pt>
                      <c:pt idx="206">
                        <c:v>-180</c:v>
                      </c:pt>
                      <c:pt idx="207">
                        <c:v>-180</c:v>
                      </c:pt>
                      <c:pt idx="208">
                        <c:v>-180</c:v>
                      </c:pt>
                      <c:pt idx="209">
                        <c:v>-180</c:v>
                      </c:pt>
                      <c:pt idx="210">
                        <c:v>-180</c:v>
                      </c:pt>
                      <c:pt idx="211">
                        <c:v>-180</c:v>
                      </c:pt>
                      <c:pt idx="212">
                        <c:v>-180</c:v>
                      </c:pt>
                      <c:pt idx="213">
                        <c:v>-180</c:v>
                      </c:pt>
                      <c:pt idx="214">
                        <c:v>-180</c:v>
                      </c:pt>
                      <c:pt idx="215">
                        <c:v>-180</c:v>
                      </c:pt>
                      <c:pt idx="216">
                        <c:v>-180</c:v>
                      </c:pt>
                      <c:pt idx="217">
                        <c:v>-180</c:v>
                      </c:pt>
                      <c:pt idx="218">
                        <c:v>-180</c:v>
                      </c:pt>
                      <c:pt idx="219">
                        <c:v>-180</c:v>
                      </c:pt>
                      <c:pt idx="220">
                        <c:v>-180</c:v>
                      </c:pt>
                      <c:pt idx="221">
                        <c:v>-180</c:v>
                      </c:pt>
                      <c:pt idx="222">
                        <c:v>-180</c:v>
                      </c:pt>
                      <c:pt idx="223">
                        <c:v>-180</c:v>
                      </c:pt>
                      <c:pt idx="224">
                        <c:v>-180</c:v>
                      </c:pt>
                      <c:pt idx="225">
                        <c:v>-180</c:v>
                      </c:pt>
                      <c:pt idx="226">
                        <c:v>-180</c:v>
                      </c:pt>
                      <c:pt idx="227">
                        <c:v>-180</c:v>
                      </c:pt>
                      <c:pt idx="228">
                        <c:v>-180</c:v>
                      </c:pt>
                      <c:pt idx="229">
                        <c:v>-180</c:v>
                      </c:pt>
                      <c:pt idx="230">
                        <c:v>-180</c:v>
                      </c:pt>
                      <c:pt idx="231">
                        <c:v>-180</c:v>
                      </c:pt>
                      <c:pt idx="232">
                        <c:v>-180</c:v>
                      </c:pt>
                      <c:pt idx="233">
                        <c:v>-180</c:v>
                      </c:pt>
                      <c:pt idx="234">
                        <c:v>-180</c:v>
                      </c:pt>
                      <c:pt idx="235">
                        <c:v>-180</c:v>
                      </c:pt>
                      <c:pt idx="236">
                        <c:v>-180</c:v>
                      </c:pt>
                      <c:pt idx="237">
                        <c:v>-180</c:v>
                      </c:pt>
                      <c:pt idx="238">
                        <c:v>-180</c:v>
                      </c:pt>
                      <c:pt idx="239">
                        <c:v>-180</c:v>
                      </c:pt>
                      <c:pt idx="240">
                        <c:v>-180</c:v>
                      </c:pt>
                      <c:pt idx="241">
                        <c:v>-180</c:v>
                      </c:pt>
                      <c:pt idx="242">
                        <c:v>-180</c:v>
                      </c:pt>
                      <c:pt idx="243">
                        <c:v>-180</c:v>
                      </c:pt>
                      <c:pt idx="244">
                        <c:v>-180</c:v>
                      </c:pt>
                      <c:pt idx="245">
                        <c:v>-180</c:v>
                      </c:pt>
                      <c:pt idx="246">
                        <c:v>-180</c:v>
                      </c:pt>
                      <c:pt idx="247">
                        <c:v>-180</c:v>
                      </c:pt>
                      <c:pt idx="248">
                        <c:v>-180</c:v>
                      </c:pt>
                      <c:pt idx="249">
                        <c:v>-180</c:v>
                      </c:pt>
                      <c:pt idx="250">
                        <c:v>-180</c:v>
                      </c:pt>
                      <c:pt idx="251">
                        <c:v>-180</c:v>
                      </c:pt>
                      <c:pt idx="252">
                        <c:v>-180</c:v>
                      </c:pt>
                      <c:pt idx="253">
                        <c:v>-180</c:v>
                      </c:pt>
                      <c:pt idx="254">
                        <c:v>-180</c:v>
                      </c:pt>
                      <c:pt idx="255">
                        <c:v>-180</c:v>
                      </c:pt>
                      <c:pt idx="256">
                        <c:v>-180</c:v>
                      </c:pt>
                      <c:pt idx="257">
                        <c:v>-180</c:v>
                      </c:pt>
                      <c:pt idx="258">
                        <c:v>-180</c:v>
                      </c:pt>
                      <c:pt idx="259">
                        <c:v>-180</c:v>
                      </c:pt>
                      <c:pt idx="260">
                        <c:v>-180</c:v>
                      </c:pt>
                      <c:pt idx="261">
                        <c:v>-180</c:v>
                      </c:pt>
                      <c:pt idx="262">
                        <c:v>-180</c:v>
                      </c:pt>
                      <c:pt idx="263">
                        <c:v>-180</c:v>
                      </c:pt>
                      <c:pt idx="264">
                        <c:v>-180</c:v>
                      </c:pt>
                      <c:pt idx="265">
                        <c:v>-180</c:v>
                      </c:pt>
                      <c:pt idx="266">
                        <c:v>-180</c:v>
                      </c:pt>
                      <c:pt idx="267">
                        <c:v>-180</c:v>
                      </c:pt>
                      <c:pt idx="268">
                        <c:v>-180</c:v>
                      </c:pt>
                      <c:pt idx="269">
                        <c:v>-180</c:v>
                      </c:pt>
                      <c:pt idx="270">
                        <c:v>-180</c:v>
                      </c:pt>
                      <c:pt idx="271">
                        <c:v>-180</c:v>
                      </c:pt>
                      <c:pt idx="272">
                        <c:v>-180</c:v>
                      </c:pt>
                      <c:pt idx="273">
                        <c:v>-180</c:v>
                      </c:pt>
                      <c:pt idx="274">
                        <c:v>-180</c:v>
                      </c:pt>
                      <c:pt idx="275">
                        <c:v>-180</c:v>
                      </c:pt>
                      <c:pt idx="276">
                        <c:v>-180</c:v>
                      </c:pt>
                      <c:pt idx="277">
                        <c:v>-180</c:v>
                      </c:pt>
                      <c:pt idx="278">
                        <c:v>-180</c:v>
                      </c:pt>
                      <c:pt idx="279">
                        <c:v>-180</c:v>
                      </c:pt>
                      <c:pt idx="280">
                        <c:v>-180</c:v>
                      </c:pt>
                      <c:pt idx="281">
                        <c:v>-180</c:v>
                      </c:pt>
                      <c:pt idx="282">
                        <c:v>-180</c:v>
                      </c:pt>
                      <c:pt idx="283">
                        <c:v>-180</c:v>
                      </c:pt>
                      <c:pt idx="284">
                        <c:v>-180</c:v>
                      </c:pt>
                      <c:pt idx="285">
                        <c:v>-180</c:v>
                      </c:pt>
                      <c:pt idx="286">
                        <c:v>-180</c:v>
                      </c:pt>
                      <c:pt idx="287">
                        <c:v>-180</c:v>
                      </c:pt>
                      <c:pt idx="288">
                        <c:v>-180</c:v>
                      </c:pt>
                      <c:pt idx="289">
                        <c:v>-180</c:v>
                      </c:pt>
                      <c:pt idx="290">
                        <c:v>-180</c:v>
                      </c:pt>
                      <c:pt idx="291">
                        <c:v>-180</c:v>
                      </c:pt>
                      <c:pt idx="292">
                        <c:v>-180</c:v>
                      </c:pt>
                      <c:pt idx="293">
                        <c:v>-180</c:v>
                      </c:pt>
                      <c:pt idx="294">
                        <c:v>-180</c:v>
                      </c:pt>
                      <c:pt idx="295">
                        <c:v>-180</c:v>
                      </c:pt>
                      <c:pt idx="296">
                        <c:v>-180</c:v>
                      </c:pt>
                      <c:pt idx="297">
                        <c:v>-180</c:v>
                      </c:pt>
                      <c:pt idx="298">
                        <c:v>-180</c:v>
                      </c:pt>
                      <c:pt idx="299">
                        <c:v>-180</c:v>
                      </c:pt>
                      <c:pt idx="300">
                        <c:v>-180</c:v>
                      </c:pt>
                      <c:pt idx="301">
                        <c:v>-180</c:v>
                      </c:pt>
                      <c:pt idx="302">
                        <c:v>-180</c:v>
                      </c:pt>
                      <c:pt idx="303">
                        <c:v>-180</c:v>
                      </c:pt>
                      <c:pt idx="304">
                        <c:v>-180</c:v>
                      </c:pt>
                      <c:pt idx="305">
                        <c:v>-180</c:v>
                      </c:pt>
                      <c:pt idx="306">
                        <c:v>-180</c:v>
                      </c:pt>
                      <c:pt idx="307">
                        <c:v>-180</c:v>
                      </c:pt>
                      <c:pt idx="308">
                        <c:v>-180</c:v>
                      </c:pt>
                      <c:pt idx="309">
                        <c:v>-180</c:v>
                      </c:pt>
                      <c:pt idx="310">
                        <c:v>-180</c:v>
                      </c:pt>
                      <c:pt idx="311">
                        <c:v>-180</c:v>
                      </c:pt>
                      <c:pt idx="312">
                        <c:v>-180</c:v>
                      </c:pt>
                      <c:pt idx="313">
                        <c:v>-180</c:v>
                      </c:pt>
                      <c:pt idx="314">
                        <c:v>-180</c:v>
                      </c:pt>
                      <c:pt idx="315">
                        <c:v>-180</c:v>
                      </c:pt>
                      <c:pt idx="316">
                        <c:v>-180</c:v>
                      </c:pt>
                      <c:pt idx="317">
                        <c:v>-180</c:v>
                      </c:pt>
                      <c:pt idx="318">
                        <c:v>-180</c:v>
                      </c:pt>
                      <c:pt idx="319">
                        <c:v>-180</c:v>
                      </c:pt>
                      <c:pt idx="320">
                        <c:v>-180</c:v>
                      </c:pt>
                      <c:pt idx="321">
                        <c:v>-180</c:v>
                      </c:pt>
                      <c:pt idx="322">
                        <c:v>-180</c:v>
                      </c:pt>
                      <c:pt idx="323">
                        <c:v>-180</c:v>
                      </c:pt>
                      <c:pt idx="324">
                        <c:v>-180</c:v>
                      </c:pt>
                      <c:pt idx="325">
                        <c:v>-180</c:v>
                      </c:pt>
                      <c:pt idx="326">
                        <c:v>-180</c:v>
                      </c:pt>
                      <c:pt idx="327">
                        <c:v>-180</c:v>
                      </c:pt>
                      <c:pt idx="328">
                        <c:v>-180</c:v>
                      </c:pt>
                      <c:pt idx="329">
                        <c:v>-180</c:v>
                      </c:pt>
                      <c:pt idx="330">
                        <c:v>-180</c:v>
                      </c:pt>
                      <c:pt idx="331">
                        <c:v>-180</c:v>
                      </c:pt>
                      <c:pt idx="332">
                        <c:v>-180</c:v>
                      </c:pt>
                      <c:pt idx="333">
                        <c:v>-180</c:v>
                      </c:pt>
                      <c:pt idx="334">
                        <c:v>-180</c:v>
                      </c:pt>
                      <c:pt idx="335">
                        <c:v>-180</c:v>
                      </c:pt>
                      <c:pt idx="336">
                        <c:v>-180</c:v>
                      </c:pt>
                      <c:pt idx="337">
                        <c:v>-180</c:v>
                      </c:pt>
                      <c:pt idx="338">
                        <c:v>-180</c:v>
                      </c:pt>
                      <c:pt idx="339">
                        <c:v>-180</c:v>
                      </c:pt>
                      <c:pt idx="340">
                        <c:v>-180</c:v>
                      </c:pt>
                      <c:pt idx="341">
                        <c:v>-180</c:v>
                      </c:pt>
                      <c:pt idx="342">
                        <c:v>-180</c:v>
                      </c:pt>
                      <c:pt idx="343">
                        <c:v>-180</c:v>
                      </c:pt>
                      <c:pt idx="344">
                        <c:v>-180</c:v>
                      </c:pt>
                      <c:pt idx="345">
                        <c:v>-180</c:v>
                      </c:pt>
                      <c:pt idx="346">
                        <c:v>-180</c:v>
                      </c:pt>
                      <c:pt idx="347">
                        <c:v>-180</c:v>
                      </c:pt>
                      <c:pt idx="348">
                        <c:v>-180</c:v>
                      </c:pt>
                      <c:pt idx="349">
                        <c:v>-180</c:v>
                      </c:pt>
                      <c:pt idx="350">
                        <c:v>-180</c:v>
                      </c:pt>
                      <c:pt idx="351">
                        <c:v>-180</c:v>
                      </c:pt>
                      <c:pt idx="352">
                        <c:v>-180</c:v>
                      </c:pt>
                      <c:pt idx="353">
                        <c:v>-180</c:v>
                      </c:pt>
                      <c:pt idx="354">
                        <c:v>-180</c:v>
                      </c:pt>
                      <c:pt idx="355">
                        <c:v>-180</c:v>
                      </c:pt>
                      <c:pt idx="356">
                        <c:v>-180</c:v>
                      </c:pt>
                      <c:pt idx="357">
                        <c:v>-180</c:v>
                      </c:pt>
                      <c:pt idx="358">
                        <c:v>-180</c:v>
                      </c:pt>
                      <c:pt idx="359">
                        <c:v>-180</c:v>
                      </c:pt>
                      <c:pt idx="360">
                        <c:v>-180</c:v>
                      </c:pt>
                      <c:pt idx="361">
                        <c:v>-180</c:v>
                      </c:pt>
                      <c:pt idx="362">
                        <c:v>-180</c:v>
                      </c:pt>
                      <c:pt idx="363">
                        <c:v>-180</c:v>
                      </c:pt>
                      <c:pt idx="364">
                        <c:v>-180</c:v>
                      </c:pt>
                      <c:pt idx="365">
                        <c:v>-180</c:v>
                      </c:pt>
                      <c:pt idx="366">
                        <c:v>-180</c:v>
                      </c:pt>
                      <c:pt idx="367">
                        <c:v>-180</c:v>
                      </c:pt>
                      <c:pt idx="368">
                        <c:v>-180</c:v>
                      </c:pt>
                      <c:pt idx="369">
                        <c:v>-180</c:v>
                      </c:pt>
                      <c:pt idx="370">
                        <c:v>-180</c:v>
                      </c:pt>
                      <c:pt idx="371">
                        <c:v>-180</c:v>
                      </c:pt>
                      <c:pt idx="372">
                        <c:v>-180</c:v>
                      </c:pt>
                      <c:pt idx="373">
                        <c:v>-180</c:v>
                      </c:pt>
                      <c:pt idx="374">
                        <c:v>-180</c:v>
                      </c:pt>
                      <c:pt idx="375">
                        <c:v>-180</c:v>
                      </c:pt>
                      <c:pt idx="376">
                        <c:v>-180</c:v>
                      </c:pt>
                      <c:pt idx="377">
                        <c:v>-180</c:v>
                      </c:pt>
                      <c:pt idx="378">
                        <c:v>-180</c:v>
                      </c:pt>
                      <c:pt idx="379">
                        <c:v>-180</c:v>
                      </c:pt>
                      <c:pt idx="380">
                        <c:v>-180</c:v>
                      </c:pt>
                      <c:pt idx="381">
                        <c:v>-180</c:v>
                      </c:pt>
                      <c:pt idx="382">
                        <c:v>-180</c:v>
                      </c:pt>
                      <c:pt idx="383">
                        <c:v>-180</c:v>
                      </c:pt>
                      <c:pt idx="384">
                        <c:v>-180</c:v>
                      </c:pt>
                      <c:pt idx="385">
                        <c:v>-180</c:v>
                      </c:pt>
                      <c:pt idx="386">
                        <c:v>-180</c:v>
                      </c:pt>
                      <c:pt idx="387">
                        <c:v>-180</c:v>
                      </c:pt>
                      <c:pt idx="388">
                        <c:v>-180</c:v>
                      </c:pt>
                      <c:pt idx="389">
                        <c:v>-180</c:v>
                      </c:pt>
                      <c:pt idx="390">
                        <c:v>-180</c:v>
                      </c:pt>
                      <c:pt idx="391">
                        <c:v>-180</c:v>
                      </c:pt>
                      <c:pt idx="392">
                        <c:v>-180</c:v>
                      </c:pt>
                      <c:pt idx="393">
                        <c:v>-180</c:v>
                      </c:pt>
                      <c:pt idx="394">
                        <c:v>-180</c:v>
                      </c:pt>
                      <c:pt idx="395">
                        <c:v>-180</c:v>
                      </c:pt>
                      <c:pt idx="396">
                        <c:v>-180</c:v>
                      </c:pt>
                      <c:pt idx="397">
                        <c:v>-180</c:v>
                      </c:pt>
                      <c:pt idx="398">
                        <c:v>-180</c:v>
                      </c:pt>
                      <c:pt idx="399">
                        <c:v>-180</c:v>
                      </c:pt>
                      <c:pt idx="400">
                        <c:v>-180</c:v>
                      </c:pt>
                      <c:pt idx="401">
                        <c:v>-180</c:v>
                      </c:pt>
                      <c:pt idx="402">
                        <c:v>-180</c:v>
                      </c:pt>
                      <c:pt idx="403">
                        <c:v>-180</c:v>
                      </c:pt>
                      <c:pt idx="404">
                        <c:v>-180</c:v>
                      </c:pt>
                      <c:pt idx="405">
                        <c:v>-180</c:v>
                      </c:pt>
                      <c:pt idx="406">
                        <c:v>-180</c:v>
                      </c:pt>
                      <c:pt idx="407">
                        <c:v>-180</c:v>
                      </c:pt>
                      <c:pt idx="408">
                        <c:v>-180</c:v>
                      </c:pt>
                      <c:pt idx="409">
                        <c:v>-180</c:v>
                      </c:pt>
                      <c:pt idx="410">
                        <c:v>-180</c:v>
                      </c:pt>
                      <c:pt idx="411">
                        <c:v>-180</c:v>
                      </c:pt>
                      <c:pt idx="412">
                        <c:v>-180</c:v>
                      </c:pt>
                      <c:pt idx="413">
                        <c:v>-180</c:v>
                      </c:pt>
                      <c:pt idx="414">
                        <c:v>-180</c:v>
                      </c:pt>
                      <c:pt idx="415">
                        <c:v>-180</c:v>
                      </c:pt>
                      <c:pt idx="416">
                        <c:v>-180</c:v>
                      </c:pt>
                      <c:pt idx="417">
                        <c:v>-180</c:v>
                      </c:pt>
                      <c:pt idx="418">
                        <c:v>-180</c:v>
                      </c:pt>
                      <c:pt idx="419">
                        <c:v>-180</c:v>
                      </c:pt>
                      <c:pt idx="420">
                        <c:v>-180</c:v>
                      </c:pt>
                      <c:pt idx="421">
                        <c:v>-180</c:v>
                      </c:pt>
                      <c:pt idx="422">
                        <c:v>-180</c:v>
                      </c:pt>
                      <c:pt idx="423">
                        <c:v>-180</c:v>
                      </c:pt>
                      <c:pt idx="424">
                        <c:v>-180</c:v>
                      </c:pt>
                      <c:pt idx="425">
                        <c:v>-162</c:v>
                      </c:pt>
                      <c:pt idx="426">
                        <c:v>-162</c:v>
                      </c:pt>
                      <c:pt idx="427">
                        <c:v>-162</c:v>
                      </c:pt>
                      <c:pt idx="428">
                        <c:v>-162</c:v>
                      </c:pt>
                      <c:pt idx="429">
                        <c:v>-162</c:v>
                      </c:pt>
                      <c:pt idx="430">
                        <c:v>-162</c:v>
                      </c:pt>
                      <c:pt idx="431">
                        <c:v>-162</c:v>
                      </c:pt>
                      <c:pt idx="432">
                        <c:v>-162</c:v>
                      </c:pt>
                      <c:pt idx="433">
                        <c:v>-162</c:v>
                      </c:pt>
                      <c:pt idx="434">
                        <c:v>-162</c:v>
                      </c:pt>
                      <c:pt idx="435">
                        <c:v>-162</c:v>
                      </c:pt>
                      <c:pt idx="436">
                        <c:v>-162</c:v>
                      </c:pt>
                      <c:pt idx="437">
                        <c:v>-162</c:v>
                      </c:pt>
                      <c:pt idx="438">
                        <c:v>-162</c:v>
                      </c:pt>
                      <c:pt idx="439">
                        <c:v>-162</c:v>
                      </c:pt>
                      <c:pt idx="440">
                        <c:v>-162</c:v>
                      </c:pt>
                      <c:pt idx="441">
                        <c:v>-162</c:v>
                      </c:pt>
                      <c:pt idx="442">
                        <c:v>-162</c:v>
                      </c:pt>
                      <c:pt idx="443">
                        <c:v>-162</c:v>
                      </c:pt>
                      <c:pt idx="444">
                        <c:v>-162</c:v>
                      </c:pt>
                      <c:pt idx="445">
                        <c:v>-162</c:v>
                      </c:pt>
                      <c:pt idx="446">
                        <c:v>-162</c:v>
                      </c:pt>
                      <c:pt idx="447">
                        <c:v>-162</c:v>
                      </c:pt>
                      <c:pt idx="448">
                        <c:v>-162</c:v>
                      </c:pt>
                      <c:pt idx="449">
                        <c:v>-162</c:v>
                      </c:pt>
                      <c:pt idx="450">
                        <c:v>-162</c:v>
                      </c:pt>
                      <c:pt idx="451">
                        <c:v>-162</c:v>
                      </c:pt>
                      <c:pt idx="452">
                        <c:v>-162</c:v>
                      </c:pt>
                      <c:pt idx="453">
                        <c:v>-162</c:v>
                      </c:pt>
                      <c:pt idx="454">
                        <c:v>-162</c:v>
                      </c:pt>
                      <c:pt idx="455">
                        <c:v>-162</c:v>
                      </c:pt>
                      <c:pt idx="456">
                        <c:v>-162</c:v>
                      </c:pt>
                      <c:pt idx="457">
                        <c:v>-162</c:v>
                      </c:pt>
                      <c:pt idx="458">
                        <c:v>-162</c:v>
                      </c:pt>
                      <c:pt idx="459">
                        <c:v>-162</c:v>
                      </c:pt>
                      <c:pt idx="460">
                        <c:v>-162</c:v>
                      </c:pt>
                      <c:pt idx="461">
                        <c:v>-162</c:v>
                      </c:pt>
                      <c:pt idx="462">
                        <c:v>-162</c:v>
                      </c:pt>
                      <c:pt idx="463">
                        <c:v>-162</c:v>
                      </c:pt>
                      <c:pt idx="464">
                        <c:v>-162</c:v>
                      </c:pt>
                      <c:pt idx="465">
                        <c:v>-162</c:v>
                      </c:pt>
                      <c:pt idx="466">
                        <c:v>-162</c:v>
                      </c:pt>
                      <c:pt idx="467">
                        <c:v>-162</c:v>
                      </c:pt>
                      <c:pt idx="468">
                        <c:v>-162</c:v>
                      </c:pt>
                      <c:pt idx="469">
                        <c:v>-162</c:v>
                      </c:pt>
                      <c:pt idx="470">
                        <c:v>-162</c:v>
                      </c:pt>
                      <c:pt idx="471">
                        <c:v>-162</c:v>
                      </c:pt>
                      <c:pt idx="472">
                        <c:v>-162</c:v>
                      </c:pt>
                      <c:pt idx="473">
                        <c:v>-162</c:v>
                      </c:pt>
                      <c:pt idx="474">
                        <c:v>-162</c:v>
                      </c:pt>
                      <c:pt idx="475">
                        <c:v>-162</c:v>
                      </c:pt>
                      <c:pt idx="476">
                        <c:v>-162</c:v>
                      </c:pt>
                      <c:pt idx="477">
                        <c:v>-162</c:v>
                      </c:pt>
                      <c:pt idx="478">
                        <c:v>-162</c:v>
                      </c:pt>
                      <c:pt idx="479">
                        <c:v>-162</c:v>
                      </c:pt>
                      <c:pt idx="480">
                        <c:v>-162</c:v>
                      </c:pt>
                      <c:pt idx="481">
                        <c:v>-162</c:v>
                      </c:pt>
                      <c:pt idx="482">
                        <c:v>-162</c:v>
                      </c:pt>
                      <c:pt idx="483">
                        <c:v>-162</c:v>
                      </c:pt>
                      <c:pt idx="484">
                        <c:v>-162</c:v>
                      </c:pt>
                      <c:pt idx="485">
                        <c:v>-162</c:v>
                      </c:pt>
                      <c:pt idx="486">
                        <c:v>-180</c:v>
                      </c:pt>
                      <c:pt idx="487">
                        <c:v>-180</c:v>
                      </c:pt>
                      <c:pt idx="488">
                        <c:v>-180</c:v>
                      </c:pt>
                      <c:pt idx="489">
                        <c:v>-180</c:v>
                      </c:pt>
                      <c:pt idx="490">
                        <c:v>-180</c:v>
                      </c:pt>
                      <c:pt idx="491">
                        <c:v>-180</c:v>
                      </c:pt>
                      <c:pt idx="492">
                        <c:v>-180</c:v>
                      </c:pt>
                      <c:pt idx="493">
                        <c:v>-180</c:v>
                      </c:pt>
                      <c:pt idx="494">
                        <c:v>-180</c:v>
                      </c:pt>
                      <c:pt idx="495">
                        <c:v>-180</c:v>
                      </c:pt>
                      <c:pt idx="496">
                        <c:v>-180</c:v>
                      </c:pt>
                      <c:pt idx="497">
                        <c:v>-180</c:v>
                      </c:pt>
                      <c:pt idx="498">
                        <c:v>-180</c:v>
                      </c:pt>
                      <c:pt idx="499">
                        <c:v>-180</c:v>
                      </c:pt>
                      <c:pt idx="500">
                        <c:v>-180</c:v>
                      </c:pt>
                      <c:pt idx="501">
                        <c:v>-180</c:v>
                      </c:pt>
                      <c:pt idx="502">
                        <c:v>-180</c:v>
                      </c:pt>
                      <c:pt idx="503">
                        <c:v>-180</c:v>
                      </c:pt>
                      <c:pt idx="504">
                        <c:v>-180</c:v>
                      </c:pt>
                      <c:pt idx="505">
                        <c:v>-180</c:v>
                      </c:pt>
                      <c:pt idx="506">
                        <c:v>-180</c:v>
                      </c:pt>
                      <c:pt idx="507">
                        <c:v>-180</c:v>
                      </c:pt>
                      <c:pt idx="508">
                        <c:v>-180</c:v>
                      </c:pt>
                      <c:pt idx="509">
                        <c:v>-180</c:v>
                      </c:pt>
                      <c:pt idx="510">
                        <c:v>-180</c:v>
                      </c:pt>
                      <c:pt idx="511">
                        <c:v>-180</c:v>
                      </c:pt>
                      <c:pt idx="512">
                        <c:v>-180</c:v>
                      </c:pt>
                      <c:pt idx="513">
                        <c:v>-180</c:v>
                      </c:pt>
                      <c:pt idx="514">
                        <c:v>-180</c:v>
                      </c:pt>
                      <c:pt idx="515">
                        <c:v>-180</c:v>
                      </c:pt>
                      <c:pt idx="516">
                        <c:v>-180</c:v>
                      </c:pt>
                      <c:pt idx="517">
                        <c:v>-180</c:v>
                      </c:pt>
                      <c:pt idx="518">
                        <c:v>-180</c:v>
                      </c:pt>
                      <c:pt idx="519">
                        <c:v>-180</c:v>
                      </c:pt>
                      <c:pt idx="520">
                        <c:v>-180</c:v>
                      </c:pt>
                      <c:pt idx="521">
                        <c:v>-180</c:v>
                      </c:pt>
                      <c:pt idx="522">
                        <c:v>-180</c:v>
                      </c:pt>
                      <c:pt idx="523">
                        <c:v>-180</c:v>
                      </c:pt>
                      <c:pt idx="524">
                        <c:v>-180</c:v>
                      </c:pt>
                      <c:pt idx="525">
                        <c:v>-180</c:v>
                      </c:pt>
                      <c:pt idx="526">
                        <c:v>-180</c:v>
                      </c:pt>
                      <c:pt idx="527">
                        <c:v>-180</c:v>
                      </c:pt>
                      <c:pt idx="528">
                        <c:v>-180</c:v>
                      </c:pt>
                      <c:pt idx="529">
                        <c:v>-180</c:v>
                      </c:pt>
                      <c:pt idx="530">
                        <c:v>-180</c:v>
                      </c:pt>
                      <c:pt idx="531">
                        <c:v>-180</c:v>
                      </c:pt>
                      <c:pt idx="532">
                        <c:v>-180</c:v>
                      </c:pt>
                      <c:pt idx="533">
                        <c:v>-180</c:v>
                      </c:pt>
                      <c:pt idx="534">
                        <c:v>-180</c:v>
                      </c:pt>
                      <c:pt idx="535">
                        <c:v>-180</c:v>
                      </c:pt>
                      <c:pt idx="536">
                        <c:v>-180</c:v>
                      </c:pt>
                      <c:pt idx="537">
                        <c:v>-180</c:v>
                      </c:pt>
                      <c:pt idx="538">
                        <c:v>-180</c:v>
                      </c:pt>
                      <c:pt idx="539">
                        <c:v>-180</c:v>
                      </c:pt>
                      <c:pt idx="540">
                        <c:v>-180</c:v>
                      </c:pt>
                      <c:pt idx="541">
                        <c:v>-180</c:v>
                      </c:pt>
                      <c:pt idx="542">
                        <c:v>-180</c:v>
                      </c:pt>
                      <c:pt idx="543">
                        <c:v>-180</c:v>
                      </c:pt>
                      <c:pt idx="544">
                        <c:v>-180</c:v>
                      </c:pt>
                      <c:pt idx="545">
                        <c:v>-180</c:v>
                      </c:pt>
                      <c:pt idx="546">
                        <c:v>-180</c:v>
                      </c:pt>
                      <c:pt idx="547">
                        <c:v>-180</c:v>
                      </c:pt>
                      <c:pt idx="548">
                        <c:v>-180</c:v>
                      </c:pt>
                      <c:pt idx="549">
                        <c:v>-180</c:v>
                      </c:pt>
                      <c:pt idx="550">
                        <c:v>-180</c:v>
                      </c:pt>
                      <c:pt idx="551">
                        <c:v>-180</c:v>
                      </c:pt>
                      <c:pt idx="552">
                        <c:v>-180</c:v>
                      </c:pt>
                      <c:pt idx="553">
                        <c:v>-180</c:v>
                      </c:pt>
                      <c:pt idx="554">
                        <c:v>-180</c:v>
                      </c:pt>
                      <c:pt idx="555">
                        <c:v>-180</c:v>
                      </c:pt>
                      <c:pt idx="556">
                        <c:v>-180</c:v>
                      </c:pt>
                      <c:pt idx="557">
                        <c:v>-180</c:v>
                      </c:pt>
                      <c:pt idx="558">
                        <c:v>-180</c:v>
                      </c:pt>
                      <c:pt idx="559">
                        <c:v>-180</c:v>
                      </c:pt>
                      <c:pt idx="560">
                        <c:v>-180</c:v>
                      </c:pt>
                      <c:pt idx="561">
                        <c:v>-180</c:v>
                      </c:pt>
                      <c:pt idx="562">
                        <c:v>-180</c:v>
                      </c:pt>
                      <c:pt idx="563">
                        <c:v>-180</c:v>
                      </c:pt>
                      <c:pt idx="564">
                        <c:v>-180</c:v>
                      </c:pt>
                      <c:pt idx="565">
                        <c:v>-180</c:v>
                      </c:pt>
                      <c:pt idx="566">
                        <c:v>-180</c:v>
                      </c:pt>
                      <c:pt idx="567">
                        <c:v>-180</c:v>
                      </c:pt>
                      <c:pt idx="568">
                        <c:v>-180</c:v>
                      </c:pt>
                      <c:pt idx="569">
                        <c:v>-180</c:v>
                      </c:pt>
                      <c:pt idx="570">
                        <c:v>-180</c:v>
                      </c:pt>
                      <c:pt idx="571">
                        <c:v>-180</c:v>
                      </c:pt>
                      <c:pt idx="572">
                        <c:v>-180</c:v>
                      </c:pt>
                      <c:pt idx="573">
                        <c:v>-180</c:v>
                      </c:pt>
                      <c:pt idx="574">
                        <c:v>-180</c:v>
                      </c:pt>
                      <c:pt idx="575">
                        <c:v>-180</c:v>
                      </c:pt>
                      <c:pt idx="576">
                        <c:v>-180</c:v>
                      </c:pt>
                      <c:pt idx="577">
                        <c:v>-180</c:v>
                      </c:pt>
                      <c:pt idx="578">
                        <c:v>-180</c:v>
                      </c:pt>
                      <c:pt idx="579">
                        <c:v>-180</c:v>
                      </c:pt>
                      <c:pt idx="580">
                        <c:v>-180</c:v>
                      </c:pt>
                      <c:pt idx="581">
                        <c:v>-180</c:v>
                      </c:pt>
                      <c:pt idx="582">
                        <c:v>-180</c:v>
                      </c:pt>
                      <c:pt idx="583">
                        <c:v>-180</c:v>
                      </c:pt>
                      <c:pt idx="584">
                        <c:v>-180</c:v>
                      </c:pt>
                      <c:pt idx="585">
                        <c:v>-180</c:v>
                      </c:pt>
                      <c:pt idx="586">
                        <c:v>-180</c:v>
                      </c:pt>
                      <c:pt idx="587">
                        <c:v>-180</c:v>
                      </c:pt>
                      <c:pt idx="588">
                        <c:v>-180</c:v>
                      </c:pt>
                      <c:pt idx="589">
                        <c:v>-180</c:v>
                      </c:pt>
                      <c:pt idx="590">
                        <c:v>-180</c:v>
                      </c:pt>
                      <c:pt idx="591">
                        <c:v>-180</c:v>
                      </c:pt>
                      <c:pt idx="592">
                        <c:v>-180</c:v>
                      </c:pt>
                      <c:pt idx="593">
                        <c:v>-180</c:v>
                      </c:pt>
                      <c:pt idx="594">
                        <c:v>-180</c:v>
                      </c:pt>
                      <c:pt idx="595">
                        <c:v>-180</c:v>
                      </c:pt>
                      <c:pt idx="596">
                        <c:v>-180</c:v>
                      </c:pt>
                      <c:pt idx="597">
                        <c:v>-180</c:v>
                      </c:pt>
                      <c:pt idx="598">
                        <c:v>-180</c:v>
                      </c:pt>
                      <c:pt idx="599">
                        <c:v>-180</c:v>
                      </c:pt>
                      <c:pt idx="600">
                        <c:v>-180</c:v>
                      </c:pt>
                      <c:pt idx="601">
                        <c:v>-180</c:v>
                      </c:pt>
                      <c:pt idx="602">
                        <c:v>-180</c:v>
                      </c:pt>
                      <c:pt idx="603">
                        <c:v>-180</c:v>
                      </c:pt>
                      <c:pt idx="604">
                        <c:v>-180</c:v>
                      </c:pt>
                      <c:pt idx="605">
                        <c:v>-180</c:v>
                      </c:pt>
                      <c:pt idx="606">
                        <c:v>-180</c:v>
                      </c:pt>
                      <c:pt idx="607">
                        <c:v>-180</c:v>
                      </c:pt>
                      <c:pt idx="608">
                        <c:v>-180</c:v>
                      </c:pt>
                      <c:pt idx="609">
                        <c:v>-180</c:v>
                      </c:pt>
                      <c:pt idx="610">
                        <c:v>-180</c:v>
                      </c:pt>
                      <c:pt idx="611">
                        <c:v>-180</c:v>
                      </c:pt>
                      <c:pt idx="612">
                        <c:v>-180</c:v>
                      </c:pt>
                      <c:pt idx="613">
                        <c:v>-180</c:v>
                      </c:pt>
                      <c:pt idx="614">
                        <c:v>-180</c:v>
                      </c:pt>
                      <c:pt idx="615">
                        <c:v>-180</c:v>
                      </c:pt>
                      <c:pt idx="616">
                        <c:v>-180</c:v>
                      </c:pt>
                      <c:pt idx="617">
                        <c:v>-180</c:v>
                      </c:pt>
                      <c:pt idx="618">
                        <c:v>-180</c:v>
                      </c:pt>
                      <c:pt idx="619">
                        <c:v>-180</c:v>
                      </c:pt>
                      <c:pt idx="620">
                        <c:v>-180</c:v>
                      </c:pt>
                      <c:pt idx="621">
                        <c:v>-180</c:v>
                      </c:pt>
                      <c:pt idx="622">
                        <c:v>-180</c:v>
                      </c:pt>
                      <c:pt idx="623">
                        <c:v>-180</c:v>
                      </c:pt>
                      <c:pt idx="624">
                        <c:v>-180</c:v>
                      </c:pt>
                      <c:pt idx="625">
                        <c:v>-180</c:v>
                      </c:pt>
                      <c:pt idx="626">
                        <c:v>-180</c:v>
                      </c:pt>
                      <c:pt idx="627">
                        <c:v>-180</c:v>
                      </c:pt>
                      <c:pt idx="628">
                        <c:v>-180</c:v>
                      </c:pt>
                      <c:pt idx="629">
                        <c:v>-180</c:v>
                      </c:pt>
                      <c:pt idx="630">
                        <c:v>-180</c:v>
                      </c:pt>
                      <c:pt idx="631">
                        <c:v>-180</c:v>
                      </c:pt>
                      <c:pt idx="632">
                        <c:v>-180</c:v>
                      </c:pt>
                      <c:pt idx="633">
                        <c:v>-180</c:v>
                      </c:pt>
                      <c:pt idx="634">
                        <c:v>-180</c:v>
                      </c:pt>
                      <c:pt idx="635">
                        <c:v>-180</c:v>
                      </c:pt>
                      <c:pt idx="636">
                        <c:v>-180</c:v>
                      </c:pt>
                      <c:pt idx="637">
                        <c:v>-180</c:v>
                      </c:pt>
                      <c:pt idx="638">
                        <c:v>-180</c:v>
                      </c:pt>
                      <c:pt idx="639">
                        <c:v>-180</c:v>
                      </c:pt>
                      <c:pt idx="640">
                        <c:v>-180</c:v>
                      </c:pt>
                      <c:pt idx="641">
                        <c:v>-180</c:v>
                      </c:pt>
                      <c:pt idx="642">
                        <c:v>-180</c:v>
                      </c:pt>
                      <c:pt idx="643">
                        <c:v>-180</c:v>
                      </c:pt>
                      <c:pt idx="644">
                        <c:v>-180</c:v>
                      </c:pt>
                      <c:pt idx="645">
                        <c:v>-180</c:v>
                      </c:pt>
                      <c:pt idx="646">
                        <c:v>-180</c:v>
                      </c:pt>
                      <c:pt idx="647">
                        <c:v>-180</c:v>
                      </c:pt>
                      <c:pt idx="648">
                        <c:v>-180</c:v>
                      </c:pt>
                      <c:pt idx="649">
                        <c:v>-180</c:v>
                      </c:pt>
                      <c:pt idx="650">
                        <c:v>-180</c:v>
                      </c:pt>
                      <c:pt idx="651">
                        <c:v>-180</c:v>
                      </c:pt>
                      <c:pt idx="652">
                        <c:v>-180</c:v>
                      </c:pt>
                      <c:pt idx="653">
                        <c:v>-180</c:v>
                      </c:pt>
                      <c:pt idx="654">
                        <c:v>-180</c:v>
                      </c:pt>
                      <c:pt idx="655">
                        <c:v>-180</c:v>
                      </c:pt>
                      <c:pt idx="656">
                        <c:v>-180</c:v>
                      </c:pt>
                      <c:pt idx="657">
                        <c:v>-180</c:v>
                      </c:pt>
                      <c:pt idx="658">
                        <c:v>-180</c:v>
                      </c:pt>
                      <c:pt idx="659">
                        <c:v>-180</c:v>
                      </c:pt>
                      <c:pt idx="660">
                        <c:v>-180</c:v>
                      </c:pt>
                      <c:pt idx="661">
                        <c:v>-180</c:v>
                      </c:pt>
                      <c:pt idx="662">
                        <c:v>-180</c:v>
                      </c:pt>
                      <c:pt idx="663">
                        <c:v>-180</c:v>
                      </c:pt>
                      <c:pt idx="664">
                        <c:v>-180</c:v>
                      </c:pt>
                      <c:pt idx="665">
                        <c:v>-180</c:v>
                      </c:pt>
                      <c:pt idx="666">
                        <c:v>-180</c:v>
                      </c:pt>
                      <c:pt idx="667">
                        <c:v>-180</c:v>
                      </c:pt>
                      <c:pt idx="668">
                        <c:v>-180</c:v>
                      </c:pt>
                      <c:pt idx="669">
                        <c:v>-180</c:v>
                      </c:pt>
                      <c:pt idx="670">
                        <c:v>-180</c:v>
                      </c:pt>
                      <c:pt idx="671">
                        <c:v>-180</c:v>
                      </c:pt>
                      <c:pt idx="672">
                        <c:v>-180</c:v>
                      </c:pt>
                      <c:pt idx="673">
                        <c:v>-180</c:v>
                      </c:pt>
                      <c:pt idx="674">
                        <c:v>-180</c:v>
                      </c:pt>
                      <c:pt idx="675">
                        <c:v>-180</c:v>
                      </c:pt>
                      <c:pt idx="676">
                        <c:v>-180</c:v>
                      </c:pt>
                      <c:pt idx="677">
                        <c:v>-180</c:v>
                      </c:pt>
                      <c:pt idx="678">
                        <c:v>-180</c:v>
                      </c:pt>
                      <c:pt idx="679">
                        <c:v>-180</c:v>
                      </c:pt>
                      <c:pt idx="680">
                        <c:v>-180</c:v>
                      </c:pt>
                      <c:pt idx="681">
                        <c:v>-180</c:v>
                      </c:pt>
                      <c:pt idx="682">
                        <c:v>-180</c:v>
                      </c:pt>
                      <c:pt idx="683">
                        <c:v>-180</c:v>
                      </c:pt>
                      <c:pt idx="684">
                        <c:v>-180</c:v>
                      </c:pt>
                      <c:pt idx="685">
                        <c:v>-180</c:v>
                      </c:pt>
                      <c:pt idx="686">
                        <c:v>-180</c:v>
                      </c:pt>
                      <c:pt idx="687">
                        <c:v>-180</c:v>
                      </c:pt>
                      <c:pt idx="688">
                        <c:v>-180</c:v>
                      </c:pt>
                      <c:pt idx="689">
                        <c:v>-180</c:v>
                      </c:pt>
                      <c:pt idx="690">
                        <c:v>-180</c:v>
                      </c:pt>
                      <c:pt idx="691">
                        <c:v>-180</c:v>
                      </c:pt>
                      <c:pt idx="692">
                        <c:v>-180</c:v>
                      </c:pt>
                      <c:pt idx="693">
                        <c:v>-180</c:v>
                      </c:pt>
                      <c:pt idx="694">
                        <c:v>-180</c:v>
                      </c:pt>
                      <c:pt idx="695">
                        <c:v>-180</c:v>
                      </c:pt>
                      <c:pt idx="696">
                        <c:v>-180</c:v>
                      </c:pt>
                      <c:pt idx="697">
                        <c:v>-180</c:v>
                      </c:pt>
                      <c:pt idx="698">
                        <c:v>-180</c:v>
                      </c:pt>
                      <c:pt idx="699">
                        <c:v>-180</c:v>
                      </c:pt>
                      <c:pt idx="700">
                        <c:v>-180</c:v>
                      </c:pt>
                      <c:pt idx="701">
                        <c:v>-180</c:v>
                      </c:pt>
                      <c:pt idx="702">
                        <c:v>-180</c:v>
                      </c:pt>
                      <c:pt idx="703">
                        <c:v>-180</c:v>
                      </c:pt>
                      <c:pt idx="704">
                        <c:v>-180</c:v>
                      </c:pt>
                      <c:pt idx="705">
                        <c:v>-180</c:v>
                      </c:pt>
                      <c:pt idx="706">
                        <c:v>-180</c:v>
                      </c:pt>
                      <c:pt idx="707">
                        <c:v>-180</c:v>
                      </c:pt>
                      <c:pt idx="708">
                        <c:v>-180</c:v>
                      </c:pt>
                      <c:pt idx="709">
                        <c:v>-180</c:v>
                      </c:pt>
                      <c:pt idx="710">
                        <c:v>-180</c:v>
                      </c:pt>
                      <c:pt idx="711">
                        <c:v>-180</c:v>
                      </c:pt>
                      <c:pt idx="712">
                        <c:v>-180</c:v>
                      </c:pt>
                      <c:pt idx="713">
                        <c:v>-180</c:v>
                      </c:pt>
                      <c:pt idx="714">
                        <c:v>-180</c:v>
                      </c:pt>
                      <c:pt idx="715">
                        <c:v>-180</c:v>
                      </c:pt>
                      <c:pt idx="716">
                        <c:v>-180</c:v>
                      </c:pt>
                      <c:pt idx="717">
                        <c:v>-180</c:v>
                      </c:pt>
                      <c:pt idx="718">
                        <c:v>-180</c:v>
                      </c:pt>
                      <c:pt idx="719">
                        <c:v>-180</c:v>
                      </c:pt>
                      <c:pt idx="720">
                        <c:v>-180</c:v>
                      </c:pt>
                      <c:pt idx="721">
                        <c:v>-180</c:v>
                      </c:pt>
                      <c:pt idx="722">
                        <c:v>-180</c:v>
                      </c:pt>
                      <c:pt idx="723">
                        <c:v>-180</c:v>
                      </c:pt>
                      <c:pt idx="724">
                        <c:v>-180</c:v>
                      </c:pt>
                      <c:pt idx="725">
                        <c:v>-180</c:v>
                      </c:pt>
                      <c:pt idx="726">
                        <c:v>-180</c:v>
                      </c:pt>
                      <c:pt idx="727">
                        <c:v>-180</c:v>
                      </c:pt>
                      <c:pt idx="728">
                        <c:v>-180</c:v>
                      </c:pt>
                      <c:pt idx="729">
                        <c:v>-180</c:v>
                      </c:pt>
                      <c:pt idx="730">
                        <c:v>-180</c:v>
                      </c:pt>
                      <c:pt idx="731">
                        <c:v>-180</c:v>
                      </c:pt>
                      <c:pt idx="732">
                        <c:v>-180</c:v>
                      </c:pt>
                      <c:pt idx="733">
                        <c:v>-180</c:v>
                      </c:pt>
                      <c:pt idx="734">
                        <c:v>-180</c:v>
                      </c:pt>
                      <c:pt idx="735">
                        <c:v>-180</c:v>
                      </c:pt>
                      <c:pt idx="736">
                        <c:v>-180</c:v>
                      </c:pt>
                      <c:pt idx="737">
                        <c:v>-180</c:v>
                      </c:pt>
                      <c:pt idx="738">
                        <c:v>-180</c:v>
                      </c:pt>
                      <c:pt idx="739">
                        <c:v>-180</c:v>
                      </c:pt>
                      <c:pt idx="740">
                        <c:v>-180</c:v>
                      </c:pt>
                      <c:pt idx="741">
                        <c:v>-180</c:v>
                      </c:pt>
                      <c:pt idx="742">
                        <c:v>-180</c:v>
                      </c:pt>
                      <c:pt idx="743">
                        <c:v>-180</c:v>
                      </c:pt>
                      <c:pt idx="744">
                        <c:v>-180</c:v>
                      </c:pt>
                      <c:pt idx="745">
                        <c:v>-180</c:v>
                      </c:pt>
                      <c:pt idx="746">
                        <c:v>-180</c:v>
                      </c:pt>
                      <c:pt idx="747">
                        <c:v>-180</c:v>
                      </c:pt>
                      <c:pt idx="748">
                        <c:v>-180</c:v>
                      </c:pt>
                      <c:pt idx="749">
                        <c:v>-180</c:v>
                      </c:pt>
                      <c:pt idx="750">
                        <c:v>-180</c:v>
                      </c:pt>
                      <c:pt idx="751">
                        <c:v>-180</c:v>
                      </c:pt>
                      <c:pt idx="752">
                        <c:v>-180</c:v>
                      </c:pt>
                      <c:pt idx="753">
                        <c:v>-180</c:v>
                      </c:pt>
                      <c:pt idx="754">
                        <c:v>-180</c:v>
                      </c:pt>
                      <c:pt idx="755">
                        <c:v>-180</c:v>
                      </c:pt>
                      <c:pt idx="756">
                        <c:v>-180</c:v>
                      </c:pt>
                      <c:pt idx="757">
                        <c:v>-180</c:v>
                      </c:pt>
                      <c:pt idx="758">
                        <c:v>-180</c:v>
                      </c:pt>
                      <c:pt idx="759">
                        <c:v>-180</c:v>
                      </c:pt>
                      <c:pt idx="760">
                        <c:v>-180</c:v>
                      </c:pt>
                      <c:pt idx="761">
                        <c:v>-180</c:v>
                      </c:pt>
                      <c:pt idx="762">
                        <c:v>-180</c:v>
                      </c:pt>
                      <c:pt idx="763">
                        <c:v>-180</c:v>
                      </c:pt>
                      <c:pt idx="764">
                        <c:v>-180</c:v>
                      </c:pt>
                      <c:pt idx="765">
                        <c:v>-180</c:v>
                      </c:pt>
                      <c:pt idx="766">
                        <c:v>-180</c:v>
                      </c:pt>
                      <c:pt idx="767">
                        <c:v>-180</c:v>
                      </c:pt>
                      <c:pt idx="768">
                        <c:v>-180</c:v>
                      </c:pt>
                      <c:pt idx="769">
                        <c:v>-180</c:v>
                      </c:pt>
                      <c:pt idx="770">
                        <c:v>-180</c:v>
                      </c:pt>
                      <c:pt idx="771">
                        <c:v>-180</c:v>
                      </c:pt>
                      <c:pt idx="772">
                        <c:v>-180</c:v>
                      </c:pt>
                      <c:pt idx="773">
                        <c:v>-180</c:v>
                      </c:pt>
                      <c:pt idx="774">
                        <c:v>-180</c:v>
                      </c:pt>
                      <c:pt idx="775">
                        <c:v>-180</c:v>
                      </c:pt>
                      <c:pt idx="776">
                        <c:v>-180</c:v>
                      </c:pt>
                      <c:pt idx="777">
                        <c:v>-180</c:v>
                      </c:pt>
                      <c:pt idx="778">
                        <c:v>-180</c:v>
                      </c:pt>
                      <c:pt idx="779">
                        <c:v>-180</c:v>
                      </c:pt>
                      <c:pt idx="780">
                        <c:v>-180</c:v>
                      </c:pt>
                      <c:pt idx="781">
                        <c:v>-180</c:v>
                      </c:pt>
                      <c:pt idx="782">
                        <c:v>-180</c:v>
                      </c:pt>
                      <c:pt idx="783">
                        <c:v>-180</c:v>
                      </c:pt>
                      <c:pt idx="784">
                        <c:v>-180</c:v>
                      </c:pt>
                      <c:pt idx="785">
                        <c:v>-180</c:v>
                      </c:pt>
                      <c:pt idx="786">
                        <c:v>-180</c:v>
                      </c:pt>
                      <c:pt idx="787">
                        <c:v>-180</c:v>
                      </c:pt>
                      <c:pt idx="788">
                        <c:v>-180</c:v>
                      </c:pt>
                      <c:pt idx="789">
                        <c:v>-180</c:v>
                      </c:pt>
                      <c:pt idx="790">
                        <c:v>-162</c:v>
                      </c:pt>
                      <c:pt idx="791">
                        <c:v>-162</c:v>
                      </c:pt>
                      <c:pt idx="792">
                        <c:v>-162</c:v>
                      </c:pt>
                      <c:pt idx="793">
                        <c:v>-162</c:v>
                      </c:pt>
                      <c:pt idx="794">
                        <c:v>-162</c:v>
                      </c:pt>
                      <c:pt idx="795">
                        <c:v>-162</c:v>
                      </c:pt>
                      <c:pt idx="796">
                        <c:v>-162</c:v>
                      </c:pt>
                      <c:pt idx="797">
                        <c:v>-162</c:v>
                      </c:pt>
                      <c:pt idx="798">
                        <c:v>-162</c:v>
                      </c:pt>
                      <c:pt idx="799">
                        <c:v>-162</c:v>
                      </c:pt>
                      <c:pt idx="800">
                        <c:v>-162</c:v>
                      </c:pt>
                      <c:pt idx="801">
                        <c:v>-162</c:v>
                      </c:pt>
                      <c:pt idx="802">
                        <c:v>-162</c:v>
                      </c:pt>
                      <c:pt idx="803">
                        <c:v>-162</c:v>
                      </c:pt>
                      <c:pt idx="804">
                        <c:v>-162</c:v>
                      </c:pt>
                      <c:pt idx="805">
                        <c:v>-162</c:v>
                      </c:pt>
                      <c:pt idx="806">
                        <c:v>-162</c:v>
                      </c:pt>
                      <c:pt idx="807">
                        <c:v>-162</c:v>
                      </c:pt>
                      <c:pt idx="808">
                        <c:v>-162</c:v>
                      </c:pt>
                      <c:pt idx="809">
                        <c:v>-162</c:v>
                      </c:pt>
                      <c:pt idx="810">
                        <c:v>-162</c:v>
                      </c:pt>
                      <c:pt idx="811">
                        <c:v>-162</c:v>
                      </c:pt>
                      <c:pt idx="812">
                        <c:v>-162</c:v>
                      </c:pt>
                      <c:pt idx="813">
                        <c:v>-162</c:v>
                      </c:pt>
                      <c:pt idx="814">
                        <c:v>-162</c:v>
                      </c:pt>
                      <c:pt idx="815">
                        <c:v>-162</c:v>
                      </c:pt>
                      <c:pt idx="816">
                        <c:v>-162</c:v>
                      </c:pt>
                      <c:pt idx="817">
                        <c:v>-162</c:v>
                      </c:pt>
                      <c:pt idx="818">
                        <c:v>-162</c:v>
                      </c:pt>
                      <c:pt idx="819">
                        <c:v>-162</c:v>
                      </c:pt>
                      <c:pt idx="820">
                        <c:v>-162</c:v>
                      </c:pt>
                      <c:pt idx="821">
                        <c:v>-162</c:v>
                      </c:pt>
                      <c:pt idx="822">
                        <c:v>-162</c:v>
                      </c:pt>
                      <c:pt idx="823">
                        <c:v>-162</c:v>
                      </c:pt>
                      <c:pt idx="824">
                        <c:v>-162</c:v>
                      </c:pt>
                      <c:pt idx="825">
                        <c:v>-162</c:v>
                      </c:pt>
                      <c:pt idx="826">
                        <c:v>-162</c:v>
                      </c:pt>
                      <c:pt idx="827">
                        <c:v>-162</c:v>
                      </c:pt>
                      <c:pt idx="828">
                        <c:v>-162</c:v>
                      </c:pt>
                      <c:pt idx="829">
                        <c:v>-162</c:v>
                      </c:pt>
                      <c:pt idx="830">
                        <c:v>-162</c:v>
                      </c:pt>
                      <c:pt idx="831">
                        <c:v>-162</c:v>
                      </c:pt>
                      <c:pt idx="832">
                        <c:v>-162</c:v>
                      </c:pt>
                      <c:pt idx="833">
                        <c:v>-162</c:v>
                      </c:pt>
                      <c:pt idx="834">
                        <c:v>-162</c:v>
                      </c:pt>
                      <c:pt idx="835">
                        <c:v>-162</c:v>
                      </c:pt>
                      <c:pt idx="836">
                        <c:v>-162</c:v>
                      </c:pt>
                      <c:pt idx="837">
                        <c:v>-162</c:v>
                      </c:pt>
                      <c:pt idx="838">
                        <c:v>-162</c:v>
                      </c:pt>
                      <c:pt idx="839">
                        <c:v>-162</c:v>
                      </c:pt>
                      <c:pt idx="840">
                        <c:v>-162</c:v>
                      </c:pt>
                      <c:pt idx="841">
                        <c:v>-162</c:v>
                      </c:pt>
                      <c:pt idx="842">
                        <c:v>-162</c:v>
                      </c:pt>
                      <c:pt idx="843">
                        <c:v>-162</c:v>
                      </c:pt>
                      <c:pt idx="844">
                        <c:v>-162</c:v>
                      </c:pt>
                      <c:pt idx="845">
                        <c:v>-162</c:v>
                      </c:pt>
                      <c:pt idx="846">
                        <c:v>-162</c:v>
                      </c:pt>
                      <c:pt idx="847">
                        <c:v>-162</c:v>
                      </c:pt>
                      <c:pt idx="848">
                        <c:v>-162</c:v>
                      </c:pt>
                      <c:pt idx="849">
                        <c:v>-162</c:v>
                      </c:pt>
                      <c:pt idx="850">
                        <c:v>-162</c:v>
                      </c:pt>
                      <c:pt idx="851">
                        <c:v>-180</c:v>
                      </c:pt>
                      <c:pt idx="852">
                        <c:v>-180</c:v>
                      </c:pt>
                      <c:pt idx="853">
                        <c:v>-180</c:v>
                      </c:pt>
                      <c:pt idx="854">
                        <c:v>-180</c:v>
                      </c:pt>
                      <c:pt idx="855">
                        <c:v>-180</c:v>
                      </c:pt>
                      <c:pt idx="856">
                        <c:v>-180</c:v>
                      </c:pt>
                      <c:pt idx="857">
                        <c:v>-180</c:v>
                      </c:pt>
                      <c:pt idx="858">
                        <c:v>-180</c:v>
                      </c:pt>
                      <c:pt idx="859">
                        <c:v>-180</c:v>
                      </c:pt>
                      <c:pt idx="860">
                        <c:v>-180</c:v>
                      </c:pt>
                      <c:pt idx="861">
                        <c:v>-180</c:v>
                      </c:pt>
                      <c:pt idx="862">
                        <c:v>-180</c:v>
                      </c:pt>
                      <c:pt idx="863">
                        <c:v>-180</c:v>
                      </c:pt>
                      <c:pt idx="864">
                        <c:v>-180</c:v>
                      </c:pt>
                      <c:pt idx="865">
                        <c:v>-180</c:v>
                      </c:pt>
                      <c:pt idx="866">
                        <c:v>-180</c:v>
                      </c:pt>
                      <c:pt idx="867">
                        <c:v>-180</c:v>
                      </c:pt>
                      <c:pt idx="868">
                        <c:v>-180</c:v>
                      </c:pt>
                      <c:pt idx="869">
                        <c:v>-180</c:v>
                      </c:pt>
                      <c:pt idx="870">
                        <c:v>-180</c:v>
                      </c:pt>
                      <c:pt idx="871">
                        <c:v>-180</c:v>
                      </c:pt>
                      <c:pt idx="872">
                        <c:v>-180</c:v>
                      </c:pt>
                      <c:pt idx="873">
                        <c:v>-180</c:v>
                      </c:pt>
                      <c:pt idx="874">
                        <c:v>-180</c:v>
                      </c:pt>
                      <c:pt idx="875">
                        <c:v>-180</c:v>
                      </c:pt>
                      <c:pt idx="876">
                        <c:v>-180</c:v>
                      </c:pt>
                      <c:pt idx="877">
                        <c:v>-180</c:v>
                      </c:pt>
                      <c:pt idx="878">
                        <c:v>-180</c:v>
                      </c:pt>
                      <c:pt idx="879">
                        <c:v>-180</c:v>
                      </c:pt>
                      <c:pt idx="880">
                        <c:v>-180</c:v>
                      </c:pt>
                      <c:pt idx="881">
                        <c:v>-180</c:v>
                      </c:pt>
                      <c:pt idx="882">
                        <c:v>-180</c:v>
                      </c:pt>
                      <c:pt idx="883">
                        <c:v>-180</c:v>
                      </c:pt>
                      <c:pt idx="884">
                        <c:v>-180</c:v>
                      </c:pt>
                      <c:pt idx="885">
                        <c:v>-180</c:v>
                      </c:pt>
                      <c:pt idx="886">
                        <c:v>-180</c:v>
                      </c:pt>
                      <c:pt idx="887">
                        <c:v>-180</c:v>
                      </c:pt>
                      <c:pt idx="888">
                        <c:v>-180</c:v>
                      </c:pt>
                      <c:pt idx="889">
                        <c:v>-180</c:v>
                      </c:pt>
                      <c:pt idx="890">
                        <c:v>-180</c:v>
                      </c:pt>
                      <c:pt idx="891">
                        <c:v>-180</c:v>
                      </c:pt>
                      <c:pt idx="892">
                        <c:v>-180</c:v>
                      </c:pt>
                      <c:pt idx="893">
                        <c:v>-180</c:v>
                      </c:pt>
                      <c:pt idx="894">
                        <c:v>-180</c:v>
                      </c:pt>
                      <c:pt idx="895">
                        <c:v>-180</c:v>
                      </c:pt>
                      <c:pt idx="896">
                        <c:v>-180</c:v>
                      </c:pt>
                      <c:pt idx="897">
                        <c:v>-180</c:v>
                      </c:pt>
                      <c:pt idx="898">
                        <c:v>-180</c:v>
                      </c:pt>
                      <c:pt idx="899">
                        <c:v>-180</c:v>
                      </c:pt>
                      <c:pt idx="900">
                        <c:v>-180</c:v>
                      </c:pt>
                      <c:pt idx="901">
                        <c:v>-180</c:v>
                      </c:pt>
                      <c:pt idx="902">
                        <c:v>-180</c:v>
                      </c:pt>
                      <c:pt idx="903">
                        <c:v>-180</c:v>
                      </c:pt>
                      <c:pt idx="904">
                        <c:v>-180</c:v>
                      </c:pt>
                      <c:pt idx="905">
                        <c:v>-180</c:v>
                      </c:pt>
                      <c:pt idx="906">
                        <c:v>-180</c:v>
                      </c:pt>
                      <c:pt idx="907">
                        <c:v>-180</c:v>
                      </c:pt>
                      <c:pt idx="908">
                        <c:v>-180</c:v>
                      </c:pt>
                      <c:pt idx="909">
                        <c:v>-180</c:v>
                      </c:pt>
                      <c:pt idx="910">
                        <c:v>-180</c:v>
                      </c:pt>
                      <c:pt idx="911">
                        <c:v>-180</c:v>
                      </c:pt>
                      <c:pt idx="912">
                        <c:v>-180</c:v>
                      </c:pt>
                      <c:pt idx="913">
                        <c:v>-180</c:v>
                      </c:pt>
                      <c:pt idx="914">
                        <c:v>-180</c:v>
                      </c:pt>
                      <c:pt idx="915">
                        <c:v>-180</c:v>
                      </c:pt>
                      <c:pt idx="916">
                        <c:v>-180</c:v>
                      </c:pt>
                      <c:pt idx="917">
                        <c:v>-180</c:v>
                      </c:pt>
                      <c:pt idx="918">
                        <c:v>-180</c:v>
                      </c:pt>
                      <c:pt idx="919">
                        <c:v>-180</c:v>
                      </c:pt>
                      <c:pt idx="920">
                        <c:v>-180</c:v>
                      </c:pt>
                      <c:pt idx="921">
                        <c:v>-180</c:v>
                      </c:pt>
                      <c:pt idx="922">
                        <c:v>-180</c:v>
                      </c:pt>
                      <c:pt idx="923">
                        <c:v>-180</c:v>
                      </c:pt>
                      <c:pt idx="924">
                        <c:v>-180</c:v>
                      </c:pt>
                      <c:pt idx="925">
                        <c:v>-180</c:v>
                      </c:pt>
                      <c:pt idx="926">
                        <c:v>-180</c:v>
                      </c:pt>
                      <c:pt idx="927">
                        <c:v>-180</c:v>
                      </c:pt>
                      <c:pt idx="928">
                        <c:v>-180</c:v>
                      </c:pt>
                      <c:pt idx="929">
                        <c:v>-180</c:v>
                      </c:pt>
                      <c:pt idx="930">
                        <c:v>-180</c:v>
                      </c:pt>
                      <c:pt idx="931">
                        <c:v>-180</c:v>
                      </c:pt>
                      <c:pt idx="932">
                        <c:v>-180</c:v>
                      </c:pt>
                      <c:pt idx="933">
                        <c:v>-180</c:v>
                      </c:pt>
                      <c:pt idx="934">
                        <c:v>-180</c:v>
                      </c:pt>
                      <c:pt idx="935">
                        <c:v>-180</c:v>
                      </c:pt>
                      <c:pt idx="936">
                        <c:v>-180</c:v>
                      </c:pt>
                      <c:pt idx="937">
                        <c:v>-180</c:v>
                      </c:pt>
                      <c:pt idx="938">
                        <c:v>-180</c:v>
                      </c:pt>
                      <c:pt idx="939">
                        <c:v>-180</c:v>
                      </c:pt>
                      <c:pt idx="940">
                        <c:v>-180</c:v>
                      </c:pt>
                      <c:pt idx="941">
                        <c:v>-180</c:v>
                      </c:pt>
                      <c:pt idx="942">
                        <c:v>-180</c:v>
                      </c:pt>
                      <c:pt idx="943">
                        <c:v>-180</c:v>
                      </c:pt>
                      <c:pt idx="944">
                        <c:v>-180</c:v>
                      </c:pt>
                      <c:pt idx="945">
                        <c:v>-180</c:v>
                      </c:pt>
                      <c:pt idx="946">
                        <c:v>-180</c:v>
                      </c:pt>
                      <c:pt idx="947">
                        <c:v>-180</c:v>
                      </c:pt>
                      <c:pt idx="948">
                        <c:v>-180</c:v>
                      </c:pt>
                      <c:pt idx="949">
                        <c:v>-180</c:v>
                      </c:pt>
                      <c:pt idx="950">
                        <c:v>-180</c:v>
                      </c:pt>
                      <c:pt idx="951">
                        <c:v>-180</c:v>
                      </c:pt>
                      <c:pt idx="952">
                        <c:v>-180</c:v>
                      </c:pt>
                      <c:pt idx="953">
                        <c:v>-180</c:v>
                      </c:pt>
                      <c:pt idx="954">
                        <c:v>-180</c:v>
                      </c:pt>
                      <c:pt idx="955">
                        <c:v>-180</c:v>
                      </c:pt>
                      <c:pt idx="956">
                        <c:v>-180</c:v>
                      </c:pt>
                      <c:pt idx="957">
                        <c:v>-180</c:v>
                      </c:pt>
                      <c:pt idx="958">
                        <c:v>-180</c:v>
                      </c:pt>
                      <c:pt idx="959">
                        <c:v>-180</c:v>
                      </c:pt>
                      <c:pt idx="960">
                        <c:v>-180</c:v>
                      </c:pt>
                      <c:pt idx="961">
                        <c:v>-180</c:v>
                      </c:pt>
                      <c:pt idx="962">
                        <c:v>-180</c:v>
                      </c:pt>
                      <c:pt idx="963">
                        <c:v>-180</c:v>
                      </c:pt>
                      <c:pt idx="964">
                        <c:v>-180</c:v>
                      </c:pt>
                      <c:pt idx="965">
                        <c:v>-180</c:v>
                      </c:pt>
                      <c:pt idx="966">
                        <c:v>-180</c:v>
                      </c:pt>
                      <c:pt idx="967">
                        <c:v>-180</c:v>
                      </c:pt>
                      <c:pt idx="968">
                        <c:v>-180</c:v>
                      </c:pt>
                      <c:pt idx="969">
                        <c:v>-180</c:v>
                      </c:pt>
                      <c:pt idx="970">
                        <c:v>-180</c:v>
                      </c:pt>
                      <c:pt idx="971">
                        <c:v>-180</c:v>
                      </c:pt>
                      <c:pt idx="972">
                        <c:v>-180</c:v>
                      </c:pt>
                      <c:pt idx="973">
                        <c:v>-180</c:v>
                      </c:pt>
                      <c:pt idx="974">
                        <c:v>-180</c:v>
                      </c:pt>
                      <c:pt idx="975">
                        <c:v>-180</c:v>
                      </c:pt>
                      <c:pt idx="976">
                        <c:v>-180</c:v>
                      </c:pt>
                      <c:pt idx="977">
                        <c:v>-180</c:v>
                      </c:pt>
                      <c:pt idx="978">
                        <c:v>-180</c:v>
                      </c:pt>
                      <c:pt idx="979">
                        <c:v>-180</c:v>
                      </c:pt>
                      <c:pt idx="980">
                        <c:v>-180</c:v>
                      </c:pt>
                      <c:pt idx="981">
                        <c:v>-180</c:v>
                      </c:pt>
                      <c:pt idx="982">
                        <c:v>-180</c:v>
                      </c:pt>
                      <c:pt idx="983">
                        <c:v>-180</c:v>
                      </c:pt>
                      <c:pt idx="984">
                        <c:v>-180</c:v>
                      </c:pt>
                      <c:pt idx="985">
                        <c:v>-180</c:v>
                      </c:pt>
                      <c:pt idx="986">
                        <c:v>-180</c:v>
                      </c:pt>
                      <c:pt idx="987">
                        <c:v>-180</c:v>
                      </c:pt>
                      <c:pt idx="988">
                        <c:v>-180</c:v>
                      </c:pt>
                      <c:pt idx="989">
                        <c:v>-180</c:v>
                      </c:pt>
                      <c:pt idx="990">
                        <c:v>-180</c:v>
                      </c:pt>
                      <c:pt idx="991">
                        <c:v>-180</c:v>
                      </c:pt>
                      <c:pt idx="992">
                        <c:v>-180</c:v>
                      </c:pt>
                      <c:pt idx="993">
                        <c:v>-180</c:v>
                      </c:pt>
                      <c:pt idx="994">
                        <c:v>-180</c:v>
                      </c:pt>
                      <c:pt idx="995">
                        <c:v>-180</c:v>
                      </c:pt>
                      <c:pt idx="996">
                        <c:v>-180</c:v>
                      </c:pt>
                      <c:pt idx="997">
                        <c:v>-180</c:v>
                      </c:pt>
                      <c:pt idx="998">
                        <c:v>-180</c:v>
                      </c:pt>
                      <c:pt idx="999">
                        <c:v>-180</c:v>
                      </c:pt>
                      <c:pt idx="1000">
                        <c:v>-180</c:v>
                      </c:pt>
                      <c:pt idx="1001">
                        <c:v>-180</c:v>
                      </c:pt>
                      <c:pt idx="1002">
                        <c:v>-180</c:v>
                      </c:pt>
                      <c:pt idx="1003">
                        <c:v>-180</c:v>
                      </c:pt>
                      <c:pt idx="1004">
                        <c:v>-180</c:v>
                      </c:pt>
                      <c:pt idx="1005">
                        <c:v>-180</c:v>
                      </c:pt>
                      <c:pt idx="1006">
                        <c:v>-180</c:v>
                      </c:pt>
                      <c:pt idx="1007">
                        <c:v>-180</c:v>
                      </c:pt>
                      <c:pt idx="1008">
                        <c:v>-180</c:v>
                      </c:pt>
                      <c:pt idx="1009">
                        <c:v>-180</c:v>
                      </c:pt>
                      <c:pt idx="1010">
                        <c:v>-180</c:v>
                      </c:pt>
                      <c:pt idx="1011">
                        <c:v>-180</c:v>
                      </c:pt>
                      <c:pt idx="1012">
                        <c:v>-180</c:v>
                      </c:pt>
                      <c:pt idx="1013">
                        <c:v>-180</c:v>
                      </c:pt>
                      <c:pt idx="1014">
                        <c:v>-180</c:v>
                      </c:pt>
                      <c:pt idx="1015">
                        <c:v>-180</c:v>
                      </c:pt>
                      <c:pt idx="1016">
                        <c:v>-180</c:v>
                      </c:pt>
                      <c:pt idx="1017">
                        <c:v>-180</c:v>
                      </c:pt>
                      <c:pt idx="1018">
                        <c:v>-180</c:v>
                      </c:pt>
                      <c:pt idx="1019">
                        <c:v>-180</c:v>
                      </c:pt>
                      <c:pt idx="1020">
                        <c:v>-180</c:v>
                      </c:pt>
                      <c:pt idx="1021">
                        <c:v>-180</c:v>
                      </c:pt>
                      <c:pt idx="1022">
                        <c:v>-180</c:v>
                      </c:pt>
                      <c:pt idx="1023">
                        <c:v>-180</c:v>
                      </c:pt>
                      <c:pt idx="1024">
                        <c:v>-180</c:v>
                      </c:pt>
                      <c:pt idx="1025">
                        <c:v>-180</c:v>
                      </c:pt>
                      <c:pt idx="1026">
                        <c:v>-180</c:v>
                      </c:pt>
                      <c:pt idx="1027">
                        <c:v>-180</c:v>
                      </c:pt>
                      <c:pt idx="1028">
                        <c:v>-180</c:v>
                      </c:pt>
                      <c:pt idx="1029">
                        <c:v>-180</c:v>
                      </c:pt>
                      <c:pt idx="1030">
                        <c:v>-180</c:v>
                      </c:pt>
                      <c:pt idx="1031">
                        <c:v>-180</c:v>
                      </c:pt>
                      <c:pt idx="1032">
                        <c:v>-180</c:v>
                      </c:pt>
                      <c:pt idx="1033">
                        <c:v>-180</c:v>
                      </c:pt>
                      <c:pt idx="1034">
                        <c:v>-180</c:v>
                      </c:pt>
                      <c:pt idx="1035">
                        <c:v>-180</c:v>
                      </c:pt>
                      <c:pt idx="1036">
                        <c:v>-180</c:v>
                      </c:pt>
                      <c:pt idx="1037">
                        <c:v>-180</c:v>
                      </c:pt>
                      <c:pt idx="1038">
                        <c:v>-180</c:v>
                      </c:pt>
                      <c:pt idx="1039">
                        <c:v>-180</c:v>
                      </c:pt>
                      <c:pt idx="1040">
                        <c:v>-180</c:v>
                      </c:pt>
                      <c:pt idx="1041">
                        <c:v>-180</c:v>
                      </c:pt>
                      <c:pt idx="1042">
                        <c:v>-180</c:v>
                      </c:pt>
                      <c:pt idx="1043">
                        <c:v>-180</c:v>
                      </c:pt>
                      <c:pt idx="1044">
                        <c:v>-180</c:v>
                      </c:pt>
                      <c:pt idx="1045">
                        <c:v>-180</c:v>
                      </c:pt>
                      <c:pt idx="1046">
                        <c:v>-180</c:v>
                      </c:pt>
                      <c:pt idx="1047">
                        <c:v>-180</c:v>
                      </c:pt>
                      <c:pt idx="1048">
                        <c:v>-180</c:v>
                      </c:pt>
                      <c:pt idx="1049">
                        <c:v>-180</c:v>
                      </c:pt>
                      <c:pt idx="1050">
                        <c:v>-180</c:v>
                      </c:pt>
                      <c:pt idx="1051">
                        <c:v>-180</c:v>
                      </c:pt>
                      <c:pt idx="1052">
                        <c:v>-180</c:v>
                      </c:pt>
                      <c:pt idx="1053">
                        <c:v>-180</c:v>
                      </c:pt>
                      <c:pt idx="1054">
                        <c:v>-180</c:v>
                      </c:pt>
                      <c:pt idx="1055">
                        <c:v>-180</c:v>
                      </c:pt>
                      <c:pt idx="1056">
                        <c:v>-180</c:v>
                      </c:pt>
                      <c:pt idx="1057">
                        <c:v>-180</c:v>
                      </c:pt>
                      <c:pt idx="1058">
                        <c:v>-180</c:v>
                      </c:pt>
                      <c:pt idx="1059">
                        <c:v>-180</c:v>
                      </c:pt>
                      <c:pt idx="1060">
                        <c:v>-180</c:v>
                      </c:pt>
                      <c:pt idx="1061">
                        <c:v>-180</c:v>
                      </c:pt>
                      <c:pt idx="1062">
                        <c:v>-180</c:v>
                      </c:pt>
                      <c:pt idx="1063">
                        <c:v>-180</c:v>
                      </c:pt>
                      <c:pt idx="1064">
                        <c:v>-180</c:v>
                      </c:pt>
                      <c:pt idx="1065">
                        <c:v>-180</c:v>
                      </c:pt>
                      <c:pt idx="1066">
                        <c:v>-180</c:v>
                      </c:pt>
                      <c:pt idx="1067">
                        <c:v>-180</c:v>
                      </c:pt>
                      <c:pt idx="1068">
                        <c:v>-180</c:v>
                      </c:pt>
                      <c:pt idx="1069">
                        <c:v>-180</c:v>
                      </c:pt>
                      <c:pt idx="1070">
                        <c:v>-180</c:v>
                      </c:pt>
                      <c:pt idx="1071">
                        <c:v>-180</c:v>
                      </c:pt>
                      <c:pt idx="1072">
                        <c:v>-180</c:v>
                      </c:pt>
                      <c:pt idx="1073">
                        <c:v>-180</c:v>
                      </c:pt>
                      <c:pt idx="1074">
                        <c:v>-180</c:v>
                      </c:pt>
                      <c:pt idx="1075">
                        <c:v>-180</c:v>
                      </c:pt>
                      <c:pt idx="1076">
                        <c:v>-180</c:v>
                      </c:pt>
                      <c:pt idx="1077">
                        <c:v>-180</c:v>
                      </c:pt>
                      <c:pt idx="1078">
                        <c:v>-180</c:v>
                      </c:pt>
                      <c:pt idx="1079">
                        <c:v>-180</c:v>
                      </c:pt>
                      <c:pt idx="1080">
                        <c:v>-180</c:v>
                      </c:pt>
                      <c:pt idx="1081">
                        <c:v>-180</c:v>
                      </c:pt>
                      <c:pt idx="1082">
                        <c:v>-180</c:v>
                      </c:pt>
                      <c:pt idx="1083">
                        <c:v>-180</c:v>
                      </c:pt>
                      <c:pt idx="1084">
                        <c:v>-180</c:v>
                      </c:pt>
                      <c:pt idx="1085">
                        <c:v>-180</c:v>
                      </c:pt>
                      <c:pt idx="1086">
                        <c:v>-180</c:v>
                      </c:pt>
                      <c:pt idx="1087">
                        <c:v>-180</c:v>
                      </c:pt>
                      <c:pt idx="1088">
                        <c:v>-180</c:v>
                      </c:pt>
                      <c:pt idx="1089">
                        <c:v>-180</c:v>
                      </c:pt>
                      <c:pt idx="1090">
                        <c:v>-180</c:v>
                      </c:pt>
                      <c:pt idx="1091">
                        <c:v>-180</c:v>
                      </c:pt>
                      <c:pt idx="1092">
                        <c:v>-180</c:v>
                      </c:pt>
                      <c:pt idx="1093">
                        <c:v>-180</c:v>
                      </c:pt>
                      <c:pt idx="1094">
                        <c:v>-180</c:v>
                      </c:pt>
                      <c:pt idx="1095">
                        <c:v>-180</c:v>
                      </c:pt>
                      <c:pt idx="1096">
                        <c:v>-180</c:v>
                      </c:pt>
                      <c:pt idx="1097">
                        <c:v>-180</c:v>
                      </c:pt>
                      <c:pt idx="1098">
                        <c:v>-180</c:v>
                      </c:pt>
                      <c:pt idx="1099">
                        <c:v>-180</c:v>
                      </c:pt>
                      <c:pt idx="1100">
                        <c:v>-180</c:v>
                      </c:pt>
                      <c:pt idx="1101">
                        <c:v>-180</c:v>
                      </c:pt>
                      <c:pt idx="1102">
                        <c:v>-180</c:v>
                      </c:pt>
                      <c:pt idx="1103">
                        <c:v>-180</c:v>
                      </c:pt>
                      <c:pt idx="1104">
                        <c:v>-180</c:v>
                      </c:pt>
                      <c:pt idx="1105">
                        <c:v>-180</c:v>
                      </c:pt>
                      <c:pt idx="1106">
                        <c:v>-180</c:v>
                      </c:pt>
                      <c:pt idx="1107">
                        <c:v>-180</c:v>
                      </c:pt>
                      <c:pt idx="1108">
                        <c:v>-180</c:v>
                      </c:pt>
                      <c:pt idx="1109">
                        <c:v>-180</c:v>
                      </c:pt>
                      <c:pt idx="1110">
                        <c:v>-180</c:v>
                      </c:pt>
                      <c:pt idx="1111">
                        <c:v>-180</c:v>
                      </c:pt>
                      <c:pt idx="1112">
                        <c:v>-180</c:v>
                      </c:pt>
                      <c:pt idx="1113">
                        <c:v>-180</c:v>
                      </c:pt>
                      <c:pt idx="1114">
                        <c:v>-180</c:v>
                      </c:pt>
                      <c:pt idx="1115">
                        <c:v>-180</c:v>
                      </c:pt>
                      <c:pt idx="1116">
                        <c:v>-180</c:v>
                      </c:pt>
                      <c:pt idx="1117">
                        <c:v>-180</c:v>
                      </c:pt>
                      <c:pt idx="1118">
                        <c:v>-180</c:v>
                      </c:pt>
                      <c:pt idx="1119">
                        <c:v>-180</c:v>
                      </c:pt>
                      <c:pt idx="1120">
                        <c:v>-180</c:v>
                      </c:pt>
                      <c:pt idx="1121">
                        <c:v>-180</c:v>
                      </c:pt>
                      <c:pt idx="1122">
                        <c:v>-180</c:v>
                      </c:pt>
                      <c:pt idx="1123">
                        <c:v>-180</c:v>
                      </c:pt>
                      <c:pt idx="1124">
                        <c:v>-180</c:v>
                      </c:pt>
                      <c:pt idx="1125">
                        <c:v>-180</c:v>
                      </c:pt>
                      <c:pt idx="1126">
                        <c:v>-180</c:v>
                      </c:pt>
                      <c:pt idx="1127">
                        <c:v>-180</c:v>
                      </c:pt>
                      <c:pt idx="1128">
                        <c:v>-180</c:v>
                      </c:pt>
                      <c:pt idx="1129">
                        <c:v>-180</c:v>
                      </c:pt>
                      <c:pt idx="1130">
                        <c:v>-180</c:v>
                      </c:pt>
                      <c:pt idx="1131">
                        <c:v>-180</c:v>
                      </c:pt>
                      <c:pt idx="1132">
                        <c:v>-180</c:v>
                      </c:pt>
                      <c:pt idx="1133">
                        <c:v>-180</c:v>
                      </c:pt>
                      <c:pt idx="1134">
                        <c:v>-180</c:v>
                      </c:pt>
                      <c:pt idx="1135">
                        <c:v>-180</c:v>
                      </c:pt>
                      <c:pt idx="1136">
                        <c:v>-180</c:v>
                      </c:pt>
                      <c:pt idx="1137">
                        <c:v>-180</c:v>
                      </c:pt>
                      <c:pt idx="1138">
                        <c:v>-180</c:v>
                      </c:pt>
                      <c:pt idx="1139">
                        <c:v>-180</c:v>
                      </c:pt>
                      <c:pt idx="1140">
                        <c:v>-180</c:v>
                      </c:pt>
                      <c:pt idx="1141">
                        <c:v>-180</c:v>
                      </c:pt>
                      <c:pt idx="1142">
                        <c:v>-180</c:v>
                      </c:pt>
                      <c:pt idx="1143">
                        <c:v>-180</c:v>
                      </c:pt>
                      <c:pt idx="1144">
                        <c:v>-180</c:v>
                      </c:pt>
                      <c:pt idx="1145">
                        <c:v>-180</c:v>
                      </c:pt>
                      <c:pt idx="1146">
                        <c:v>-180</c:v>
                      </c:pt>
                      <c:pt idx="1147">
                        <c:v>-180</c:v>
                      </c:pt>
                      <c:pt idx="1148">
                        <c:v>-180</c:v>
                      </c:pt>
                      <c:pt idx="1149">
                        <c:v>-180</c:v>
                      </c:pt>
                      <c:pt idx="1150">
                        <c:v>-180</c:v>
                      </c:pt>
                      <c:pt idx="1151">
                        <c:v>-180</c:v>
                      </c:pt>
                      <c:pt idx="1152">
                        <c:v>-180</c:v>
                      </c:pt>
                      <c:pt idx="1153">
                        <c:v>-180</c:v>
                      </c:pt>
                      <c:pt idx="1154">
                        <c:v>-180</c:v>
                      </c:pt>
                      <c:pt idx="1155">
                        <c:v>-180</c:v>
                      </c:pt>
                      <c:pt idx="1156">
                        <c:v>-180</c:v>
                      </c:pt>
                      <c:pt idx="1157">
                        <c:v>-180</c:v>
                      </c:pt>
                      <c:pt idx="1158">
                        <c:v>-180</c:v>
                      </c:pt>
                      <c:pt idx="1159">
                        <c:v>-180</c:v>
                      </c:pt>
                      <c:pt idx="1160">
                        <c:v>-180</c:v>
                      </c:pt>
                      <c:pt idx="1161">
                        <c:v>-180</c:v>
                      </c:pt>
                      <c:pt idx="1162">
                        <c:v>-180</c:v>
                      </c:pt>
                      <c:pt idx="1163">
                        <c:v>-180</c:v>
                      </c:pt>
                      <c:pt idx="1164">
                        <c:v>-180</c:v>
                      </c:pt>
                      <c:pt idx="1165">
                        <c:v>-180</c:v>
                      </c:pt>
                      <c:pt idx="1166">
                        <c:v>-180</c:v>
                      </c:pt>
                      <c:pt idx="1167">
                        <c:v>-180</c:v>
                      </c:pt>
                      <c:pt idx="1168">
                        <c:v>-180</c:v>
                      </c:pt>
                      <c:pt idx="1169">
                        <c:v>-180</c:v>
                      </c:pt>
                      <c:pt idx="1170">
                        <c:v>-180</c:v>
                      </c:pt>
                      <c:pt idx="1171">
                        <c:v>-180</c:v>
                      </c:pt>
                      <c:pt idx="1172">
                        <c:v>-180</c:v>
                      </c:pt>
                      <c:pt idx="1173">
                        <c:v>-180</c:v>
                      </c:pt>
                      <c:pt idx="1174">
                        <c:v>-180</c:v>
                      </c:pt>
                      <c:pt idx="1175">
                        <c:v>-180</c:v>
                      </c:pt>
                      <c:pt idx="1176">
                        <c:v>-180</c:v>
                      </c:pt>
                      <c:pt idx="1177">
                        <c:v>-180</c:v>
                      </c:pt>
                      <c:pt idx="1178">
                        <c:v>-180</c:v>
                      </c:pt>
                      <c:pt idx="1179">
                        <c:v>-180</c:v>
                      </c:pt>
                      <c:pt idx="1180">
                        <c:v>-180</c:v>
                      </c:pt>
                      <c:pt idx="1181">
                        <c:v>-180</c:v>
                      </c:pt>
                      <c:pt idx="1182">
                        <c:v>-180</c:v>
                      </c:pt>
                      <c:pt idx="1183">
                        <c:v>-180</c:v>
                      </c:pt>
                      <c:pt idx="1184">
                        <c:v>-180</c:v>
                      </c:pt>
                      <c:pt idx="1185">
                        <c:v>-180</c:v>
                      </c:pt>
                      <c:pt idx="1186">
                        <c:v>-180</c:v>
                      </c:pt>
                      <c:pt idx="1187">
                        <c:v>-180</c:v>
                      </c:pt>
                      <c:pt idx="1188">
                        <c:v>-180</c:v>
                      </c:pt>
                      <c:pt idx="1189">
                        <c:v>-180</c:v>
                      </c:pt>
                      <c:pt idx="1190">
                        <c:v>-180</c:v>
                      </c:pt>
                      <c:pt idx="1191">
                        <c:v>-180</c:v>
                      </c:pt>
                      <c:pt idx="1192">
                        <c:v>-180</c:v>
                      </c:pt>
                      <c:pt idx="1193">
                        <c:v>-180</c:v>
                      </c:pt>
                      <c:pt idx="1194">
                        <c:v>-180</c:v>
                      </c:pt>
                      <c:pt idx="1195">
                        <c:v>-180</c:v>
                      </c:pt>
                      <c:pt idx="1196">
                        <c:v>-180</c:v>
                      </c:pt>
                      <c:pt idx="1197">
                        <c:v>-180</c:v>
                      </c:pt>
                      <c:pt idx="1198">
                        <c:v>-180</c:v>
                      </c:pt>
                      <c:pt idx="1199">
                        <c:v>-180</c:v>
                      </c:pt>
                      <c:pt idx="1200">
                        <c:v>-180</c:v>
                      </c:pt>
                      <c:pt idx="1201">
                        <c:v>-180</c:v>
                      </c:pt>
                      <c:pt idx="1202">
                        <c:v>-180</c:v>
                      </c:pt>
                      <c:pt idx="1203">
                        <c:v>-180</c:v>
                      </c:pt>
                      <c:pt idx="1204">
                        <c:v>-180</c:v>
                      </c:pt>
                      <c:pt idx="1205">
                        <c:v>-180</c:v>
                      </c:pt>
                      <c:pt idx="1206">
                        <c:v>-180</c:v>
                      </c:pt>
                      <c:pt idx="1207">
                        <c:v>-180</c:v>
                      </c:pt>
                      <c:pt idx="1208">
                        <c:v>-180</c:v>
                      </c:pt>
                      <c:pt idx="1209">
                        <c:v>-180</c:v>
                      </c:pt>
                      <c:pt idx="1210">
                        <c:v>-180</c:v>
                      </c:pt>
                      <c:pt idx="1211">
                        <c:v>-180</c:v>
                      </c:pt>
                      <c:pt idx="1212">
                        <c:v>-180</c:v>
                      </c:pt>
                      <c:pt idx="1213">
                        <c:v>-180</c:v>
                      </c:pt>
                      <c:pt idx="1214">
                        <c:v>-180</c:v>
                      </c:pt>
                      <c:pt idx="1215">
                        <c:v>-180</c:v>
                      </c:pt>
                      <c:pt idx="1216">
                        <c:v>-180</c:v>
                      </c:pt>
                      <c:pt idx="1217">
                        <c:v>-180</c:v>
                      </c:pt>
                      <c:pt idx="1218">
                        <c:v>-180</c:v>
                      </c:pt>
                      <c:pt idx="1219">
                        <c:v>-180</c:v>
                      </c:pt>
                      <c:pt idx="1220">
                        <c:v>-180</c:v>
                      </c:pt>
                      <c:pt idx="1221">
                        <c:v>-180</c:v>
                      </c:pt>
                      <c:pt idx="1222">
                        <c:v>-180</c:v>
                      </c:pt>
                      <c:pt idx="1223">
                        <c:v>-180</c:v>
                      </c:pt>
                      <c:pt idx="1224">
                        <c:v>-180</c:v>
                      </c:pt>
                      <c:pt idx="1225">
                        <c:v>-180</c:v>
                      </c:pt>
                      <c:pt idx="1226">
                        <c:v>-180</c:v>
                      </c:pt>
                      <c:pt idx="1227">
                        <c:v>-180</c:v>
                      </c:pt>
                      <c:pt idx="1228">
                        <c:v>-180</c:v>
                      </c:pt>
                      <c:pt idx="1229">
                        <c:v>-180</c:v>
                      </c:pt>
                      <c:pt idx="1230">
                        <c:v>-180</c:v>
                      </c:pt>
                      <c:pt idx="1231">
                        <c:v>-180</c:v>
                      </c:pt>
                      <c:pt idx="1232">
                        <c:v>-180</c:v>
                      </c:pt>
                      <c:pt idx="1233">
                        <c:v>-180</c:v>
                      </c:pt>
                      <c:pt idx="1234">
                        <c:v>-180</c:v>
                      </c:pt>
                      <c:pt idx="1235">
                        <c:v>-180</c:v>
                      </c:pt>
                      <c:pt idx="1236">
                        <c:v>-180</c:v>
                      </c:pt>
                      <c:pt idx="1237">
                        <c:v>-180</c:v>
                      </c:pt>
                      <c:pt idx="1238">
                        <c:v>-180</c:v>
                      </c:pt>
                      <c:pt idx="1239">
                        <c:v>-180</c:v>
                      </c:pt>
                      <c:pt idx="1240">
                        <c:v>-180</c:v>
                      </c:pt>
                      <c:pt idx="1241">
                        <c:v>-180</c:v>
                      </c:pt>
                      <c:pt idx="1242">
                        <c:v>-180</c:v>
                      </c:pt>
                      <c:pt idx="1243">
                        <c:v>-180</c:v>
                      </c:pt>
                      <c:pt idx="1244">
                        <c:v>-180</c:v>
                      </c:pt>
                      <c:pt idx="1245">
                        <c:v>-180</c:v>
                      </c:pt>
                      <c:pt idx="1246">
                        <c:v>-180</c:v>
                      </c:pt>
                      <c:pt idx="1247">
                        <c:v>-180</c:v>
                      </c:pt>
                      <c:pt idx="1248">
                        <c:v>-180</c:v>
                      </c:pt>
                      <c:pt idx="1249">
                        <c:v>-180</c:v>
                      </c:pt>
                      <c:pt idx="1250">
                        <c:v>-180</c:v>
                      </c:pt>
                      <c:pt idx="1251">
                        <c:v>-180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4-B899-43FB-9B00-42D97902B992}"/>
                  </c:ext>
                </c:extLst>
              </c15:ser>
            </c15:filteredLineSeries>
            <c15:filteredLineSeries>
              <c15:ser>
                <c:idx val="3"/>
                <c:order val="4"/>
                <c:tx>
                  <c:v>Injection capacity</c:v>
                </c:tx>
                <c:spPr>
                  <a:ln w="28575">
                    <a:solidFill>
                      <a:schemeClr val="accent6"/>
                    </a:solidFill>
                    <a:prstDash val="sysDash"/>
                  </a:ln>
                </c:spPr>
                <c:marker>
                  <c:symbol val="none"/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DK udtræk og injicering'!$J$4641:$J$5892</c15:sqref>
                        </c15:formulaRef>
                      </c:ext>
                    </c:extLst>
                    <c:numCache>
                      <c:formatCode>_ * #,##0_ ;_ * \-#,##0_ ;_ * "-"??_ ;_ @_ </c:formatCode>
                      <c:ptCount val="1252"/>
                      <c:pt idx="0">
                        <c:v>90.72</c:v>
                      </c:pt>
                      <c:pt idx="1">
                        <c:v>90.72</c:v>
                      </c:pt>
                      <c:pt idx="2">
                        <c:v>90.72</c:v>
                      </c:pt>
                      <c:pt idx="3">
                        <c:v>90.72</c:v>
                      </c:pt>
                      <c:pt idx="4">
                        <c:v>90.72</c:v>
                      </c:pt>
                      <c:pt idx="5">
                        <c:v>90.72</c:v>
                      </c:pt>
                      <c:pt idx="6">
                        <c:v>90.72</c:v>
                      </c:pt>
                      <c:pt idx="7">
                        <c:v>90.72</c:v>
                      </c:pt>
                      <c:pt idx="8">
                        <c:v>90.72</c:v>
                      </c:pt>
                      <c:pt idx="9">
                        <c:v>90.72</c:v>
                      </c:pt>
                      <c:pt idx="10">
                        <c:v>90.72</c:v>
                      </c:pt>
                      <c:pt idx="11">
                        <c:v>90.72</c:v>
                      </c:pt>
                      <c:pt idx="12">
                        <c:v>90.72</c:v>
                      </c:pt>
                      <c:pt idx="13">
                        <c:v>90.72</c:v>
                      </c:pt>
                      <c:pt idx="14">
                        <c:v>90.72</c:v>
                      </c:pt>
                      <c:pt idx="15">
                        <c:v>90.72</c:v>
                      </c:pt>
                      <c:pt idx="16">
                        <c:v>90.72</c:v>
                      </c:pt>
                      <c:pt idx="17">
                        <c:v>90.72</c:v>
                      </c:pt>
                      <c:pt idx="18">
                        <c:v>90.72</c:v>
                      </c:pt>
                      <c:pt idx="19">
                        <c:v>90.72</c:v>
                      </c:pt>
                      <c:pt idx="20">
                        <c:v>90.72</c:v>
                      </c:pt>
                      <c:pt idx="21">
                        <c:v>90.72</c:v>
                      </c:pt>
                      <c:pt idx="22">
                        <c:v>90.72</c:v>
                      </c:pt>
                      <c:pt idx="23">
                        <c:v>90.72</c:v>
                      </c:pt>
                      <c:pt idx="24">
                        <c:v>90.72</c:v>
                      </c:pt>
                      <c:pt idx="25">
                        <c:v>90.72</c:v>
                      </c:pt>
                      <c:pt idx="26">
                        <c:v>90.72</c:v>
                      </c:pt>
                      <c:pt idx="27">
                        <c:v>90.72</c:v>
                      </c:pt>
                      <c:pt idx="28">
                        <c:v>90.72</c:v>
                      </c:pt>
                      <c:pt idx="29">
                        <c:v>90.72</c:v>
                      </c:pt>
                      <c:pt idx="30">
                        <c:v>90.72</c:v>
                      </c:pt>
                      <c:pt idx="31">
                        <c:v>90.72</c:v>
                      </c:pt>
                      <c:pt idx="32">
                        <c:v>90.72</c:v>
                      </c:pt>
                      <c:pt idx="33">
                        <c:v>90.72</c:v>
                      </c:pt>
                      <c:pt idx="34">
                        <c:v>90.72</c:v>
                      </c:pt>
                      <c:pt idx="35">
                        <c:v>90.72</c:v>
                      </c:pt>
                      <c:pt idx="36">
                        <c:v>90.72</c:v>
                      </c:pt>
                      <c:pt idx="37">
                        <c:v>90.72</c:v>
                      </c:pt>
                      <c:pt idx="38">
                        <c:v>90.72</c:v>
                      </c:pt>
                      <c:pt idx="39">
                        <c:v>90.72</c:v>
                      </c:pt>
                      <c:pt idx="40">
                        <c:v>90.72</c:v>
                      </c:pt>
                      <c:pt idx="41">
                        <c:v>90.72</c:v>
                      </c:pt>
                      <c:pt idx="42">
                        <c:v>90.72</c:v>
                      </c:pt>
                      <c:pt idx="43">
                        <c:v>90.72</c:v>
                      </c:pt>
                      <c:pt idx="44">
                        <c:v>90.72</c:v>
                      </c:pt>
                      <c:pt idx="45">
                        <c:v>90.72</c:v>
                      </c:pt>
                      <c:pt idx="46">
                        <c:v>90.72</c:v>
                      </c:pt>
                      <c:pt idx="47">
                        <c:v>90.72</c:v>
                      </c:pt>
                      <c:pt idx="48">
                        <c:v>90.72</c:v>
                      </c:pt>
                      <c:pt idx="49">
                        <c:v>90.72</c:v>
                      </c:pt>
                      <c:pt idx="50">
                        <c:v>90.72</c:v>
                      </c:pt>
                      <c:pt idx="51">
                        <c:v>90.72</c:v>
                      </c:pt>
                      <c:pt idx="52">
                        <c:v>90.72</c:v>
                      </c:pt>
                      <c:pt idx="53">
                        <c:v>90.72</c:v>
                      </c:pt>
                      <c:pt idx="54">
                        <c:v>90.72</c:v>
                      </c:pt>
                      <c:pt idx="55">
                        <c:v>90.72</c:v>
                      </c:pt>
                      <c:pt idx="56">
                        <c:v>90.72</c:v>
                      </c:pt>
                      <c:pt idx="57">
                        <c:v>90.72</c:v>
                      </c:pt>
                      <c:pt idx="58">
                        <c:v>90.72</c:v>
                      </c:pt>
                      <c:pt idx="59">
                        <c:v>90.72</c:v>
                      </c:pt>
                      <c:pt idx="60">
                        <c:v>90.72</c:v>
                      </c:pt>
                      <c:pt idx="61">
                        <c:v>90.72</c:v>
                      </c:pt>
                      <c:pt idx="62">
                        <c:v>90.72</c:v>
                      </c:pt>
                      <c:pt idx="63">
                        <c:v>90.72</c:v>
                      </c:pt>
                      <c:pt idx="64">
                        <c:v>90.72</c:v>
                      </c:pt>
                      <c:pt idx="65">
                        <c:v>90.72</c:v>
                      </c:pt>
                      <c:pt idx="66">
                        <c:v>90.72</c:v>
                      </c:pt>
                      <c:pt idx="67">
                        <c:v>90.72</c:v>
                      </c:pt>
                      <c:pt idx="68">
                        <c:v>90.72</c:v>
                      </c:pt>
                      <c:pt idx="69">
                        <c:v>90.72</c:v>
                      </c:pt>
                      <c:pt idx="70">
                        <c:v>90.72</c:v>
                      </c:pt>
                      <c:pt idx="71">
                        <c:v>90.72</c:v>
                      </c:pt>
                      <c:pt idx="72">
                        <c:v>90.72</c:v>
                      </c:pt>
                      <c:pt idx="73">
                        <c:v>90.72</c:v>
                      </c:pt>
                      <c:pt idx="74">
                        <c:v>90.72</c:v>
                      </c:pt>
                      <c:pt idx="75">
                        <c:v>90.72</c:v>
                      </c:pt>
                      <c:pt idx="76">
                        <c:v>90.72</c:v>
                      </c:pt>
                      <c:pt idx="77">
                        <c:v>90.72</c:v>
                      </c:pt>
                      <c:pt idx="78">
                        <c:v>90.72</c:v>
                      </c:pt>
                      <c:pt idx="79">
                        <c:v>90.72</c:v>
                      </c:pt>
                      <c:pt idx="80">
                        <c:v>90.72</c:v>
                      </c:pt>
                      <c:pt idx="81">
                        <c:v>90.72</c:v>
                      </c:pt>
                      <c:pt idx="82">
                        <c:v>90.72</c:v>
                      </c:pt>
                      <c:pt idx="83">
                        <c:v>90.72</c:v>
                      </c:pt>
                      <c:pt idx="84">
                        <c:v>90.72</c:v>
                      </c:pt>
                      <c:pt idx="85">
                        <c:v>90.72</c:v>
                      </c:pt>
                      <c:pt idx="86">
                        <c:v>90.72</c:v>
                      </c:pt>
                      <c:pt idx="87">
                        <c:v>90.72</c:v>
                      </c:pt>
                      <c:pt idx="88">
                        <c:v>90.72</c:v>
                      </c:pt>
                      <c:pt idx="89">
                        <c:v>90.72</c:v>
                      </c:pt>
                      <c:pt idx="90">
                        <c:v>90.72</c:v>
                      </c:pt>
                      <c:pt idx="91">
                        <c:v>90.72</c:v>
                      </c:pt>
                      <c:pt idx="92">
                        <c:v>90.72</c:v>
                      </c:pt>
                      <c:pt idx="93">
                        <c:v>90.72</c:v>
                      </c:pt>
                      <c:pt idx="94">
                        <c:v>90.72</c:v>
                      </c:pt>
                      <c:pt idx="95">
                        <c:v>90.72</c:v>
                      </c:pt>
                      <c:pt idx="96">
                        <c:v>90.72</c:v>
                      </c:pt>
                      <c:pt idx="97">
                        <c:v>90.72</c:v>
                      </c:pt>
                      <c:pt idx="98">
                        <c:v>90.72</c:v>
                      </c:pt>
                      <c:pt idx="99">
                        <c:v>90.72</c:v>
                      </c:pt>
                      <c:pt idx="100">
                        <c:v>90.72</c:v>
                      </c:pt>
                      <c:pt idx="101">
                        <c:v>90.72</c:v>
                      </c:pt>
                      <c:pt idx="102">
                        <c:v>90.72</c:v>
                      </c:pt>
                      <c:pt idx="103">
                        <c:v>90.72</c:v>
                      </c:pt>
                      <c:pt idx="104">
                        <c:v>90.72</c:v>
                      </c:pt>
                      <c:pt idx="105">
                        <c:v>90.72</c:v>
                      </c:pt>
                      <c:pt idx="106">
                        <c:v>90.72</c:v>
                      </c:pt>
                      <c:pt idx="107">
                        <c:v>90.72</c:v>
                      </c:pt>
                      <c:pt idx="108">
                        <c:v>90.72</c:v>
                      </c:pt>
                      <c:pt idx="109">
                        <c:v>90.72</c:v>
                      </c:pt>
                      <c:pt idx="110">
                        <c:v>90.72</c:v>
                      </c:pt>
                      <c:pt idx="111">
                        <c:v>90.72</c:v>
                      </c:pt>
                      <c:pt idx="112">
                        <c:v>90.72</c:v>
                      </c:pt>
                      <c:pt idx="113">
                        <c:v>90.72</c:v>
                      </c:pt>
                      <c:pt idx="114">
                        <c:v>90.72</c:v>
                      </c:pt>
                      <c:pt idx="115">
                        <c:v>90.72</c:v>
                      </c:pt>
                      <c:pt idx="116">
                        <c:v>90.72</c:v>
                      </c:pt>
                      <c:pt idx="117">
                        <c:v>90.72</c:v>
                      </c:pt>
                      <c:pt idx="118">
                        <c:v>90.72</c:v>
                      </c:pt>
                      <c:pt idx="119">
                        <c:v>90.72</c:v>
                      </c:pt>
                      <c:pt idx="120">
                        <c:v>90.72</c:v>
                      </c:pt>
                      <c:pt idx="121">
                        <c:v>90.72</c:v>
                      </c:pt>
                      <c:pt idx="122">
                        <c:v>90.72</c:v>
                      </c:pt>
                      <c:pt idx="123">
                        <c:v>90.72</c:v>
                      </c:pt>
                      <c:pt idx="124">
                        <c:v>90.72</c:v>
                      </c:pt>
                      <c:pt idx="125">
                        <c:v>90.72</c:v>
                      </c:pt>
                      <c:pt idx="126">
                        <c:v>90.72</c:v>
                      </c:pt>
                      <c:pt idx="127">
                        <c:v>90.72</c:v>
                      </c:pt>
                      <c:pt idx="128">
                        <c:v>90.72</c:v>
                      </c:pt>
                      <c:pt idx="129">
                        <c:v>90.72</c:v>
                      </c:pt>
                      <c:pt idx="130">
                        <c:v>90.72</c:v>
                      </c:pt>
                      <c:pt idx="131">
                        <c:v>90.72</c:v>
                      </c:pt>
                      <c:pt idx="132">
                        <c:v>90.72</c:v>
                      </c:pt>
                      <c:pt idx="133">
                        <c:v>90.72</c:v>
                      </c:pt>
                      <c:pt idx="134">
                        <c:v>90.72</c:v>
                      </c:pt>
                      <c:pt idx="135">
                        <c:v>90.72</c:v>
                      </c:pt>
                      <c:pt idx="136">
                        <c:v>90.72</c:v>
                      </c:pt>
                      <c:pt idx="137">
                        <c:v>90.72</c:v>
                      </c:pt>
                      <c:pt idx="138">
                        <c:v>90.72</c:v>
                      </c:pt>
                      <c:pt idx="139">
                        <c:v>90.72</c:v>
                      </c:pt>
                      <c:pt idx="140">
                        <c:v>90.72</c:v>
                      </c:pt>
                      <c:pt idx="141">
                        <c:v>90.72</c:v>
                      </c:pt>
                      <c:pt idx="142">
                        <c:v>90.72</c:v>
                      </c:pt>
                      <c:pt idx="143">
                        <c:v>90.72</c:v>
                      </c:pt>
                      <c:pt idx="144">
                        <c:v>90.72</c:v>
                      </c:pt>
                      <c:pt idx="145">
                        <c:v>90.72</c:v>
                      </c:pt>
                      <c:pt idx="146">
                        <c:v>90.72</c:v>
                      </c:pt>
                      <c:pt idx="147">
                        <c:v>90.72</c:v>
                      </c:pt>
                      <c:pt idx="148">
                        <c:v>90.72</c:v>
                      </c:pt>
                      <c:pt idx="149">
                        <c:v>90.72</c:v>
                      </c:pt>
                      <c:pt idx="150">
                        <c:v>90.72</c:v>
                      </c:pt>
                      <c:pt idx="151">
                        <c:v>90.72</c:v>
                      </c:pt>
                      <c:pt idx="152">
                        <c:v>90.72</c:v>
                      </c:pt>
                      <c:pt idx="153">
                        <c:v>90.72</c:v>
                      </c:pt>
                      <c:pt idx="154">
                        <c:v>90.72</c:v>
                      </c:pt>
                      <c:pt idx="155">
                        <c:v>90.72</c:v>
                      </c:pt>
                      <c:pt idx="156">
                        <c:v>90.72</c:v>
                      </c:pt>
                      <c:pt idx="157">
                        <c:v>90.72</c:v>
                      </c:pt>
                      <c:pt idx="158">
                        <c:v>90.72</c:v>
                      </c:pt>
                      <c:pt idx="159">
                        <c:v>90.72</c:v>
                      </c:pt>
                      <c:pt idx="160">
                        <c:v>90.72</c:v>
                      </c:pt>
                      <c:pt idx="161">
                        <c:v>90.72</c:v>
                      </c:pt>
                      <c:pt idx="162">
                        <c:v>90.72</c:v>
                      </c:pt>
                      <c:pt idx="163">
                        <c:v>90.72</c:v>
                      </c:pt>
                      <c:pt idx="164">
                        <c:v>90.72</c:v>
                      </c:pt>
                      <c:pt idx="165">
                        <c:v>90.72</c:v>
                      </c:pt>
                      <c:pt idx="166">
                        <c:v>90.72</c:v>
                      </c:pt>
                      <c:pt idx="167">
                        <c:v>90.72</c:v>
                      </c:pt>
                      <c:pt idx="168">
                        <c:v>90.72</c:v>
                      </c:pt>
                      <c:pt idx="169">
                        <c:v>90.72</c:v>
                      </c:pt>
                      <c:pt idx="170">
                        <c:v>90.72</c:v>
                      </c:pt>
                      <c:pt idx="171">
                        <c:v>90.72</c:v>
                      </c:pt>
                      <c:pt idx="172">
                        <c:v>90.72</c:v>
                      </c:pt>
                      <c:pt idx="173">
                        <c:v>90.72</c:v>
                      </c:pt>
                      <c:pt idx="174">
                        <c:v>90.72</c:v>
                      </c:pt>
                      <c:pt idx="175">
                        <c:v>90.72</c:v>
                      </c:pt>
                      <c:pt idx="176">
                        <c:v>90.72</c:v>
                      </c:pt>
                      <c:pt idx="177">
                        <c:v>90.72</c:v>
                      </c:pt>
                      <c:pt idx="178">
                        <c:v>90.72</c:v>
                      </c:pt>
                      <c:pt idx="179">
                        <c:v>90.72</c:v>
                      </c:pt>
                      <c:pt idx="180">
                        <c:v>90.72</c:v>
                      </c:pt>
                      <c:pt idx="181">
                        <c:v>90.72</c:v>
                      </c:pt>
                      <c:pt idx="182">
                        <c:v>90.72</c:v>
                      </c:pt>
                      <c:pt idx="183">
                        <c:v>90.72</c:v>
                      </c:pt>
                      <c:pt idx="184">
                        <c:v>90.72</c:v>
                      </c:pt>
                      <c:pt idx="185">
                        <c:v>90.72</c:v>
                      </c:pt>
                      <c:pt idx="186">
                        <c:v>90.72</c:v>
                      </c:pt>
                      <c:pt idx="187">
                        <c:v>90.72</c:v>
                      </c:pt>
                      <c:pt idx="188">
                        <c:v>90.72</c:v>
                      </c:pt>
                      <c:pt idx="189">
                        <c:v>90.72</c:v>
                      </c:pt>
                      <c:pt idx="190">
                        <c:v>90.72</c:v>
                      </c:pt>
                      <c:pt idx="191">
                        <c:v>90.72</c:v>
                      </c:pt>
                      <c:pt idx="192">
                        <c:v>90.72</c:v>
                      </c:pt>
                      <c:pt idx="193">
                        <c:v>90.72</c:v>
                      </c:pt>
                      <c:pt idx="194">
                        <c:v>90.72</c:v>
                      </c:pt>
                      <c:pt idx="195">
                        <c:v>90.72</c:v>
                      </c:pt>
                      <c:pt idx="196">
                        <c:v>90.72</c:v>
                      </c:pt>
                      <c:pt idx="197">
                        <c:v>90.72</c:v>
                      </c:pt>
                      <c:pt idx="198">
                        <c:v>90.72</c:v>
                      </c:pt>
                      <c:pt idx="199">
                        <c:v>90.72</c:v>
                      </c:pt>
                      <c:pt idx="200">
                        <c:v>90.72</c:v>
                      </c:pt>
                      <c:pt idx="201">
                        <c:v>90.72</c:v>
                      </c:pt>
                      <c:pt idx="202">
                        <c:v>90.72</c:v>
                      </c:pt>
                      <c:pt idx="203">
                        <c:v>90.72</c:v>
                      </c:pt>
                      <c:pt idx="204">
                        <c:v>90.72</c:v>
                      </c:pt>
                      <c:pt idx="205">
                        <c:v>90.72</c:v>
                      </c:pt>
                      <c:pt idx="206">
                        <c:v>90.72</c:v>
                      </c:pt>
                      <c:pt idx="207">
                        <c:v>90.72</c:v>
                      </c:pt>
                      <c:pt idx="208">
                        <c:v>90.72</c:v>
                      </c:pt>
                      <c:pt idx="209">
                        <c:v>90.72</c:v>
                      </c:pt>
                      <c:pt idx="210">
                        <c:v>90.72</c:v>
                      </c:pt>
                      <c:pt idx="211">
                        <c:v>90.72</c:v>
                      </c:pt>
                      <c:pt idx="212">
                        <c:v>90.72</c:v>
                      </c:pt>
                      <c:pt idx="213">
                        <c:v>90.72</c:v>
                      </c:pt>
                      <c:pt idx="214">
                        <c:v>90.72</c:v>
                      </c:pt>
                      <c:pt idx="215">
                        <c:v>90.72</c:v>
                      </c:pt>
                      <c:pt idx="216">
                        <c:v>90.72</c:v>
                      </c:pt>
                      <c:pt idx="217">
                        <c:v>90.72</c:v>
                      </c:pt>
                      <c:pt idx="218">
                        <c:v>90.72</c:v>
                      </c:pt>
                      <c:pt idx="219">
                        <c:v>90.72</c:v>
                      </c:pt>
                      <c:pt idx="220">
                        <c:v>90.72</c:v>
                      </c:pt>
                      <c:pt idx="221">
                        <c:v>90.72</c:v>
                      </c:pt>
                      <c:pt idx="222">
                        <c:v>90.72</c:v>
                      </c:pt>
                      <c:pt idx="223">
                        <c:v>90.72</c:v>
                      </c:pt>
                      <c:pt idx="224">
                        <c:v>90.72</c:v>
                      </c:pt>
                      <c:pt idx="225">
                        <c:v>90.72</c:v>
                      </c:pt>
                      <c:pt idx="226">
                        <c:v>90.72</c:v>
                      </c:pt>
                      <c:pt idx="227">
                        <c:v>90.72</c:v>
                      </c:pt>
                      <c:pt idx="228">
                        <c:v>90.72</c:v>
                      </c:pt>
                      <c:pt idx="229">
                        <c:v>90.72</c:v>
                      </c:pt>
                      <c:pt idx="230">
                        <c:v>90.72</c:v>
                      </c:pt>
                      <c:pt idx="231">
                        <c:v>90.72</c:v>
                      </c:pt>
                      <c:pt idx="232">
                        <c:v>90.72</c:v>
                      </c:pt>
                      <c:pt idx="233">
                        <c:v>90.72</c:v>
                      </c:pt>
                      <c:pt idx="234">
                        <c:v>90.72</c:v>
                      </c:pt>
                      <c:pt idx="235">
                        <c:v>90.72</c:v>
                      </c:pt>
                      <c:pt idx="236">
                        <c:v>90.72</c:v>
                      </c:pt>
                      <c:pt idx="237">
                        <c:v>90.72</c:v>
                      </c:pt>
                      <c:pt idx="238">
                        <c:v>90.72</c:v>
                      </c:pt>
                      <c:pt idx="239">
                        <c:v>90.72</c:v>
                      </c:pt>
                      <c:pt idx="240">
                        <c:v>90.72</c:v>
                      </c:pt>
                      <c:pt idx="241">
                        <c:v>90.72</c:v>
                      </c:pt>
                      <c:pt idx="242">
                        <c:v>90.72</c:v>
                      </c:pt>
                      <c:pt idx="243">
                        <c:v>90.72</c:v>
                      </c:pt>
                      <c:pt idx="244">
                        <c:v>90.72</c:v>
                      </c:pt>
                      <c:pt idx="245">
                        <c:v>90.72</c:v>
                      </c:pt>
                      <c:pt idx="246">
                        <c:v>90.72</c:v>
                      </c:pt>
                      <c:pt idx="247">
                        <c:v>90.72</c:v>
                      </c:pt>
                      <c:pt idx="248">
                        <c:v>90.72</c:v>
                      </c:pt>
                      <c:pt idx="249">
                        <c:v>90.72</c:v>
                      </c:pt>
                      <c:pt idx="250">
                        <c:v>90.72</c:v>
                      </c:pt>
                      <c:pt idx="251">
                        <c:v>90.72</c:v>
                      </c:pt>
                      <c:pt idx="252">
                        <c:v>90.72</c:v>
                      </c:pt>
                      <c:pt idx="253">
                        <c:v>90.72</c:v>
                      </c:pt>
                      <c:pt idx="254">
                        <c:v>90.72</c:v>
                      </c:pt>
                      <c:pt idx="255">
                        <c:v>90.72</c:v>
                      </c:pt>
                      <c:pt idx="256">
                        <c:v>90.72</c:v>
                      </c:pt>
                      <c:pt idx="257">
                        <c:v>90.72</c:v>
                      </c:pt>
                      <c:pt idx="258">
                        <c:v>90.72</c:v>
                      </c:pt>
                      <c:pt idx="259">
                        <c:v>90.72</c:v>
                      </c:pt>
                      <c:pt idx="260">
                        <c:v>90.72</c:v>
                      </c:pt>
                      <c:pt idx="261">
                        <c:v>90.72</c:v>
                      </c:pt>
                      <c:pt idx="262">
                        <c:v>90.72</c:v>
                      </c:pt>
                      <c:pt idx="263">
                        <c:v>90.72</c:v>
                      </c:pt>
                      <c:pt idx="264">
                        <c:v>90.72</c:v>
                      </c:pt>
                      <c:pt idx="265">
                        <c:v>90.72</c:v>
                      </c:pt>
                      <c:pt idx="266">
                        <c:v>90.72</c:v>
                      </c:pt>
                      <c:pt idx="267">
                        <c:v>90.72</c:v>
                      </c:pt>
                      <c:pt idx="268">
                        <c:v>90.72</c:v>
                      </c:pt>
                      <c:pt idx="269">
                        <c:v>90.72</c:v>
                      </c:pt>
                      <c:pt idx="270">
                        <c:v>90.72</c:v>
                      </c:pt>
                      <c:pt idx="271">
                        <c:v>90.72</c:v>
                      </c:pt>
                      <c:pt idx="272">
                        <c:v>90.72</c:v>
                      </c:pt>
                      <c:pt idx="273">
                        <c:v>90.72</c:v>
                      </c:pt>
                      <c:pt idx="274">
                        <c:v>90.72</c:v>
                      </c:pt>
                      <c:pt idx="275">
                        <c:v>90.72</c:v>
                      </c:pt>
                      <c:pt idx="276">
                        <c:v>90.72</c:v>
                      </c:pt>
                      <c:pt idx="277">
                        <c:v>90.72</c:v>
                      </c:pt>
                      <c:pt idx="278">
                        <c:v>90.72</c:v>
                      </c:pt>
                      <c:pt idx="279">
                        <c:v>90.72</c:v>
                      </c:pt>
                      <c:pt idx="280">
                        <c:v>90.72</c:v>
                      </c:pt>
                      <c:pt idx="281">
                        <c:v>90.72</c:v>
                      </c:pt>
                      <c:pt idx="282">
                        <c:v>90.72</c:v>
                      </c:pt>
                      <c:pt idx="283">
                        <c:v>90.72</c:v>
                      </c:pt>
                      <c:pt idx="284">
                        <c:v>90.72</c:v>
                      </c:pt>
                      <c:pt idx="285">
                        <c:v>90.72</c:v>
                      </c:pt>
                      <c:pt idx="286">
                        <c:v>90.72</c:v>
                      </c:pt>
                      <c:pt idx="287">
                        <c:v>90.72</c:v>
                      </c:pt>
                      <c:pt idx="288">
                        <c:v>90.72</c:v>
                      </c:pt>
                      <c:pt idx="289">
                        <c:v>90.72</c:v>
                      </c:pt>
                      <c:pt idx="290">
                        <c:v>90.72</c:v>
                      </c:pt>
                      <c:pt idx="291">
                        <c:v>90.72</c:v>
                      </c:pt>
                      <c:pt idx="292">
                        <c:v>90.72</c:v>
                      </c:pt>
                      <c:pt idx="293">
                        <c:v>90.72</c:v>
                      </c:pt>
                      <c:pt idx="294">
                        <c:v>90.72</c:v>
                      </c:pt>
                      <c:pt idx="295">
                        <c:v>90.72</c:v>
                      </c:pt>
                      <c:pt idx="296">
                        <c:v>90.72</c:v>
                      </c:pt>
                      <c:pt idx="297">
                        <c:v>90.72</c:v>
                      </c:pt>
                      <c:pt idx="298">
                        <c:v>90.72</c:v>
                      </c:pt>
                      <c:pt idx="299">
                        <c:v>90.72</c:v>
                      </c:pt>
                      <c:pt idx="300">
                        <c:v>90.72</c:v>
                      </c:pt>
                      <c:pt idx="301">
                        <c:v>90.72</c:v>
                      </c:pt>
                      <c:pt idx="302">
                        <c:v>90.72</c:v>
                      </c:pt>
                      <c:pt idx="303">
                        <c:v>90.72</c:v>
                      </c:pt>
                      <c:pt idx="304">
                        <c:v>90.72</c:v>
                      </c:pt>
                      <c:pt idx="305">
                        <c:v>90.72</c:v>
                      </c:pt>
                      <c:pt idx="306">
                        <c:v>90.72</c:v>
                      </c:pt>
                      <c:pt idx="307">
                        <c:v>90.72</c:v>
                      </c:pt>
                      <c:pt idx="308">
                        <c:v>90.72</c:v>
                      </c:pt>
                      <c:pt idx="309">
                        <c:v>90.72</c:v>
                      </c:pt>
                      <c:pt idx="310">
                        <c:v>90.72</c:v>
                      </c:pt>
                      <c:pt idx="311">
                        <c:v>90.72</c:v>
                      </c:pt>
                      <c:pt idx="312">
                        <c:v>90.72</c:v>
                      </c:pt>
                      <c:pt idx="313">
                        <c:v>90.72</c:v>
                      </c:pt>
                      <c:pt idx="314">
                        <c:v>90.72</c:v>
                      </c:pt>
                      <c:pt idx="315">
                        <c:v>90.72</c:v>
                      </c:pt>
                      <c:pt idx="316">
                        <c:v>90.72</c:v>
                      </c:pt>
                      <c:pt idx="317">
                        <c:v>90.72</c:v>
                      </c:pt>
                      <c:pt idx="318">
                        <c:v>90.72</c:v>
                      </c:pt>
                      <c:pt idx="319">
                        <c:v>90.72</c:v>
                      </c:pt>
                      <c:pt idx="320">
                        <c:v>90.72</c:v>
                      </c:pt>
                      <c:pt idx="321">
                        <c:v>90.72</c:v>
                      </c:pt>
                      <c:pt idx="322">
                        <c:v>90.72</c:v>
                      </c:pt>
                      <c:pt idx="323">
                        <c:v>90.72</c:v>
                      </c:pt>
                      <c:pt idx="324">
                        <c:v>90.72</c:v>
                      </c:pt>
                      <c:pt idx="325">
                        <c:v>90.72</c:v>
                      </c:pt>
                      <c:pt idx="326">
                        <c:v>90.72</c:v>
                      </c:pt>
                      <c:pt idx="327">
                        <c:v>90.72</c:v>
                      </c:pt>
                      <c:pt idx="328">
                        <c:v>90.72</c:v>
                      </c:pt>
                      <c:pt idx="329">
                        <c:v>90.72</c:v>
                      </c:pt>
                      <c:pt idx="330">
                        <c:v>90.72</c:v>
                      </c:pt>
                      <c:pt idx="331">
                        <c:v>90.72</c:v>
                      </c:pt>
                      <c:pt idx="332">
                        <c:v>90.72</c:v>
                      </c:pt>
                      <c:pt idx="333">
                        <c:v>90.72</c:v>
                      </c:pt>
                      <c:pt idx="334">
                        <c:v>90.72</c:v>
                      </c:pt>
                      <c:pt idx="335">
                        <c:v>90.72</c:v>
                      </c:pt>
                      <c:pt idx="336">
                        <c:v>90.72</c:v>
                      </c:pt>
                      <c:pt idx="337">
                        <c:v>90.72</c:v>
                      </c:pt>
                      <c:pt idx="338">
                        <c:v>90.72</c:v>
                      </c:pt>
                      <c:pt idx="339">
                        <c:v>90.72</c:v>
                      </c:pt>
                      <c:pt idx="340">
                        <c:v>90.72</c:v>
                      </c:pt>
                      <c:pt idx="341">
                        <c:v>90.72</c:v>
                      </c:pt>
                      <c:pt idx="342">
                        <c:v>90.72</c:v>
                      </c:pt>
                      <c:pt idx="343">
                        <c:v>90.72</c:v>
                      </c:pt>
                      <c:pt idx="344">
                        <c:v>90.72</c:v>
                      </c:pt>
                      <c:pt idx="345">
                        <c:v>90.72</c:v>
                      </c:pt>
                      <c:pt idx="346">
                        <c:v>90.72</c:v>
                      </c:pt>
                      <c:pt idx="347">
                        <c:v>90.72</c:v>
                      </c:pt>
                      <c:pt idx="348">
                        <c:v>90.72</c:v>
                      </c:pt>
                      <c:pt idx="349">
                        <c:v>90.72</c:v>
                      </c:pt>
                      <c:pt idx="350">
                        <c:v>90.72</c:v>
                      </c:pt>
                      <c:pt idx="351">
                        <c:v>90.72</c:v>
                      </c:pt>
                      <c:pt idx="352">
                        <c:v>90.72</c:v>
                      </c:pt>
                      <c:pt idx="353">
                        <c:v>90.72</c:v>
                      </c:pt>
                      <c:pt idx="354">
                        <c:v>90.72</c:v>
                      </c:pt>
                      <c:pt idx="355">
                        <c:v>90.72</c:v>
                      </c:pt>
                      <c:pt idx="356">
                        <c:v>90.72</c:v>
                      </c:pt>
                      <c:pt idx="357">
                        <c:v>90.72</c:v>
                      </c:pt>
                      <c:pt idx="358">
                        <c:v>90.72</c:v>
                      </c:pt>
                      <c:pt idx="359">
                        <c:v>90.72</c:v>
                      </c:pt>
                      <c:pt idx="360">
                        <c:v>90.72</c:v>
                      </c:pt>
                      <c:pt idx="361">
                        <c:v>90.72</c:v>
                      </c:pt>
                      <c:pt idx="362">
                        <c:v>90.72</c:v>
                      </c:pt>
                      <c:pt idx="363">
                        <c:v>90.72</c:v>
                      </c:pt>
                      <c:pt idx="364">
                        <c:v>90.72</c:v>
                      </c:pt>
                      <c:pt idx="365">
                        <c:v>90.72</c:v>
                      </c:pt>
                      <c:pt idx="366">
                        <c:v>90.72</c:v>
                      </c:pt>
                      <c:pt idx="367">
                        <c:v>90.72</c:v>
                      </c:pt>
                      <c:pt idx="368">
                        <c:v>90.72</c:v>
                      </c:pt>
                      <c:pt idx="369">
                        <c:v>90.72</c:v>
                      </c:pt>
                      <c:pt idx="370">
                        <c:v>90.72</c:v>
                      </c:pt>
                      <c:pt idx="371">
                        <c:v>90.72</c:v>
                      </c:pt>
                      <c:pt idx="372">
                        <c:v>90.72</c:v>
                      </c:pt>
                      <c:pt idx="373">
                        <c:v>90.72</c:v>
                      </c:pt>
                      <c:pt idx="374">
                        <c:v>90.72</c:v>
                      </c:pt>
                      <c:pt idx="375">
                        <c:v>90.72</c:v>
                      </c:pt>
                      <c:pt idx="376">
                        <c:v>90.72</c:v>
                      </c:pt>
                      <c:pt idx="377">
                        <c:v>90.72</c:v>
                      </c:pt>
                      <c:pt idx="378">
                        <c:v>90.72</c:v>
                      </c:pt>
                      <c:pt idx="379">
                        <c:v>90.72</c:v>
                      </c:pt>
                      <c:pt idx="380">
                        <c:v>90.72</c:v>
                      </c:pt>
                      <c:pt idx="381">
                        <c:v>90.72</c:v>
                      </c:pt>
                      <c:pt idx="382">
                        <c:v>90.72</c:v>
                      </c:pt>
                      <c:pt idx="383">
                        <c:v>90.72</c:v>
                      </c:pt>
                      <c:pt idx="384">
                        <c:v>90.72</c:v>
                      </c:pt>
                      <c:pt idx="385">
                        <c:v>90.72</c:v>
                      </c:pt>
                      <c:pt idx="386">
                        <c:v>90.72</c:v>
                      </c:pt>
                      <c:pt idx="387">
                        <c:v>90.72</c:v>
                      </c:pt>
                      <c:pt idx="388">
                        <c:v>90.72</c:v>
                      </c:pt>
                      <c:pt idx="389">
                        <c:v>90.72</c:v>
                      </c:pt>
                      <c:pt idx="390">
                        <c:v>90.72</c:v>
                      </c:pt>
                      <c:pt idx="391">
                        <c:v>90.72</c:v>
                      </c:pt>
                      <c:pt idx="392">
                        <c:v>90.72</c:v>
                      </c:pt>
                      <c:pt idx="393">
                        <c:v>90.72</c:v>
                      </c:pt>
                      <c:pt idx="394">
                        <c:v>90.72</c:v>
                      </c:pt>
                      <c:pt idx="395">
                        <c:v>90.72</c:v>
                      </c:pt>
                      <c:pt idx="396">
                        <c:v>90.72</c:v>
                      </c:pt>
                      <c:pt idx="397">
                        <c:v>90.72</c:v>
                      </c:pt>
                      <c:pt idx="398">
                        <c:v>90.72</c:v>
                      </c:pt>
                      <c:pt idx="399">
                        <c:v>90.72</c:v>
                      </c:pt>
                      <c:pt idx="400">
                        <c:v>90.72</c:v>
                      </c:pt>
                      <c:pt idx="401">
                        <c:v>90.72</c:v>
                      </c:pt>
                      <c:pt idx="402">
                        <c:v>90.72</c:v>
                      </c:pt>
                      <c:pt idx="403">
                        <c:v>90.72</c:v>
                      </c:pt>
                      <c:pt idx="404">
                        <c:v>90.72</c:v>
                      </c:pt>
                      <c:pt idx="405">
                        <c:v>90.72</c:v>
                      </c:pt>
                      <c:pt idx="406">
                        <c:v>90.72</c:v>
                      </c:pt>
                      <c:pt idx="407">
                        <c:v>90.72</c:v>
                      </c:pt>
                      <c:pt idx="408">
                        <c:v>90.72</c:v>
                      </c:pt>
                      <c:pt idx="409">
                        <c:v>90.72</c:v>
                      </c:pt>
                      <c:pt idx="410">
                        <c:v>90.72</c:v>
                      </c:pt>
                      <c:pt idx="411">
                        <c:v>90.72</c:v>
                      </c:pt>
                      <c:pt idx="412">
                        <c:v>90.72</c:v>
                      </c:pt>
                      <c:pt idx="413">
                        <c:v>90.72</c:v>
                      </c:pt>
                      <c:pt idx="414">
                        <c:v>90.72</c:v>
                      </c:pt>
                      <c:pt idx="415">
                        <c:v>90.72</c:v>
                      </c:pt>
                      <c:pt idx="416">
                        <c:v>90.72</c:v>
                      </c:pt>
                      <c:pt idx="417">
                        <c:v>90.72</c:v>
                      </c:pt>
                      <c:pt idx="418">
                        <c:v>90.72</c:v>
                      </c:pt>
                      <c:pt idx="419">
                        <c:v>90.72</c:v>
                      </c:pt>
                      <c:pt idx="420">
                        <c:v>90.72</c:v>
                      </c:pt>
                      <c:pt idx="421">
                        <c:v>90.72</c:v>
                      </c:pt>
                      <c:pt idx="422">
                        <c:v>90.72</c:v>
                      </c:pt>
                      <c:pt idx="423">
                        <c:v>90.72</c:v>
                      </c:pt>
                      <c:pt idx="424">
                        <c:v>90.72</c:v>
                      </c:pt>
                      <c:pt idx="425">
                        <c:v>90.72</c:v>
                      </c:pt>
                      <c:pt idx="426">
                        <c:v>90.72</c:v>
                      </c:pt>
                      <c:pt idx="427">
                        <c:v>90.72</c:v>
                      </c:pt>
                      <c:pt idx="428">
                        <c:v>90.72</c:v>
                      </c:pt>
                      <c:pt idx="429">
                        <c:v>90.72</c:v>
                      </c:pt>
                      <c:pt idx="430">
                        <c:v>90.72</c:v>
                      </c:pt>
                      <c:pt idx="431">
                        <c:v>90.72</c:v>
                      </c:pt>
                      <c:pt idx="432">
                        <c:v>90.72</c:v>
                      </c:pt>
                      <c:pt idx="433">
                        <c:v>90.72</c:v>
                      </c:pt>
                      <c:pt idx="434">
                        <c:v>90.72</c:v>
                      </c:pt>
                      <c:pt idx="435">
                        <c:v>90.72</c:v>
                      </c:pt>
                      <c:pt idx="436">
                        <c:v>90.72</c:v>
                      </c:pt>
                      <c:pt idx="437">
                        <c:v>90.72</c:v>
                      </c:pt>
                      <c:pt idx="438">
                        <c:v>90.72</c:v>
                      </c:pt>
                      <c:pt idx="439">
                        <c:v>90.72</c:v>
                      </c:pt>
                      <c:pt idx="440">
                        <c:v>90.72</c:v>
                      </c:pt>
                      <c:pt idx="441">
                        <c:v>90.72</c:v>
                      </c:pt>
                      <c:pt idx="442">
                        <c:v>90.72</c:v>
                      </c:pt>
                      <c:pt idx="443">
                        <c:v>90.72</c:v>
                      </c:pt>
                      <c:pt idx="444">
                        <c:v>90.72</c:v>
                      </c:pt>
                      <c:pt idx="445">
                        <c:v>90.72</c:v>
                      </c:pt>
                      <c:pt idx="446">
                        <c:v>90.72</c:v>
                      </c:pt>
                      <c:pt idx="447">
                        <c:v>90.72</c:v>
                      </c:pt>
                      <c:pt idx="448">
                        <c:v>90.72</c:v>
                      </c:pt>
                      <c:pt idx="449">
                        <c:v>90.72</c:v>
                      </c:pt>
                      <c:pt idx="450">
                        <c:v>90.72</c:v>
                      </c:pt>
                      <c:pt idx="451">
                        <c:v>90.72</c:v>
                      </c:pt>
                      <c:pt idx="452">
                        <c:v>90.72</c:v>
                      </c:pt>
                      <c:pt idx="453">
                        <c:v>90.72</c:v>
                      </c:pt>
                      <c:pt idx="454">
                        <c:v>90.72</c:v>
                      </c:pt>
                      <c:pt idx="455">
                        <c:v>90.72</c:v>
                      </c:pt>
                      <c:pt idx="456">
                        <c:v>90.72</c:v>
                      </c:pt>
                      <c:pt idx="457">
                        <c:v>90.72</c:v>
                      </c:pt>
                      <c:pt idx="458">
                        <c:v>90.72</c:v>
                      </c:pt>
                      <c:pt idx="459">
                        <c:v>90.72</c:v>
                      </c:pt>
                      <c:pt idx="460">
                        <c:v>90.72</c:v>
                      </c:pt>
                      <c:pt idx="461">
                        <c:v>90.72</c:v>
                      </c:pt>
                      <c:pt idx="462">
                        <c:v>90.72</c:v>
                      </c:pt>
                      <c:pt idx="463">
                        <c:v>90.72</c:v>
                      </c:pt>
                      <c:pt idx="464">
                        <c:v>90.72</c:v>
                      </c:pt>
                      <c:pt idx="465">
                        <c:v>90.72</c:v>
                      </c:pt>
                      <c:pt idx="466">
                        <c:v>90.72</c:v>
                      </c:pt>
                      <c:pt idx="467">
                        <c:v>90.72</c:v>
                      </c:pt>
                      <c:pt idx="468">
                        <c:v>90.72</c:v>
                      </c:pt>
                      <c:pt idx="469">
                        <c:v>90.72</c:v>
                      </c:pt>
                      <c:pt idx="470">
                        <c:v>90.72</c:v>
                      </c:pt>
                      <c:pt idx="471">
                        <c:v>90.72</c:v>
                      </c:pt>
                      <c:pt idx="472">
                        <c:v>90.72</c:v>
                      </c:pt>
                      <c:pt idx="473">
                        <c:v>90.72</c:v>
                      </c:pt>
                      <c:pt idx="474">
                        <c:v>90.72</c:v>
                      </c:pt>
                      <c:pt idx="475">
                        <c:v>90.72</c:v>
                      </c:pt>
                      <c:pt idx="476">
                        <c:v>90.72</c:v>
                      </c:pt>
                      <c:pt idx="477">
                        <c:v>90.72</c:v>
                      </c:pt>
                      <c:pt idx="478">
                        <c:v>90.72</c:v>
                      </c:pt>
                      <c:pt idx="479">
                        <c:v>90.72</c:v>
                      </c:pt>
                      <c:pt idx="480">
                        <c:v>90.72</c:v>
                      </c:pt>
                      <c:pt idx="481">
                        <c:v>90.72</c:v>
                      </c:pt>
                      <c:pt idx="482">
                        <c:v>90.72</c:v>
                      </c:pt>
                      <c:pt idx="483">
                        <c:v>90.72</c:v>
                      </c:pt>
                      <c:pt idx="484">
                        <c:v>90.72</c:v>
                      </c:pt>
                      <c:pt idx="485">
                        <c:v>90.72</c:v>
                      </c:pt>
                      <c:pt idx="486">
                        <c:v>90.72</c:v>
                      </c:pt>
                      <c:pt idx="487">
                        <c:v>90.72</c:v>
                      </c:pt>
                      <c:pt idx="488">
                        <c:v>90.72</c:v>
                      </c:pt>
                      <c:pt idx="489">
                        <c:v>90.72</c:v>
                      </c:pt>
                      <c:pt idx="490">
                        <c:v>90.72</c:v>
                      </c:pt>
                      <c:pt idx="491">
                        <c:v>90.72</c:v>
                      </c:pt>
                      <c:pt idx="492">
                        <c:v>90.72</c:v>
                      </c:pt>
                      <c:pt idx="493">
                        <c:v>90.72</c:v>
                      </c:pt>
                      <c:pt idx="494">
                        <c:v>90.72</c:v>
                      </c:pt>
                      <c:pt idx="495">
                        <c:v>90.72</c:v>
                      </c:pt>
                      <c:pt idx="496">
                        <c:v>90.72</c:v>
                      </c:pt>
                      <c:pt idx="497">
                        <c:v>90.72</c:v>
                      </c:pt>
                      <c:pt idx="498">
                        <c:v>90.72</c:v>
                      </c:pt>
                      <c:pt idx="499">
                        <c:v>90.72</c:v>
                      </c:pt>
                      <c:pt idx="500">
                        <c:v>90.72</c:v>
                      </c:pt>
                      <c:pt idx="501">
                        <c:v>90.72</c:v>
                      </c:pt>
                      <c:pt idx="502">
                        <c:v>90.72</c:v>
                      </c:pt>
                      <c:pt idx="503">
                        <c:v>90.72</c:v>
                      </c:pt>
                      <c:pt idx="504">
                        <c:v>90.72</c:v>
                      </c:pt>
                      <c:pt idx="505">
                        <c:v>90.72</c:v>
                      </c:pt>
                      <c:pt idx="506">
                        <c:v>90.72</c:v>
                      </c:pt>
                      <c:pt idx="507">
                        <c:v>90.72</c:v>
                      </c:pt>
                      <c:pt idx="508">
                        <c:v>90.72</c:v>
                      </c:pt>
                      <c:pt idx="509">
                        <c:v>90.72</c:v>
                      </c:pt>
                      <c:pt idx="510">
                        <c:v>90.72</c:v>
                      </c:pt>
                      <c:pt idx="511">
                        <c:v>90.72</c:v>
                      </c:pt>
                      <c:pt idx="512">
                        <c:v>90.72</c:v>
                      </c:pt>
                      <c:pt idx="513">
                        <c:v>90.72</c:v>
                      </c:pt>
                      <c:pt idx="514">
                        <c:v>90.72</c:v>
                      </c:pt>
                      <c:pt idx="515">
                        <c:v>90.72</c:v>
                      </c:pt>
                      <c:pt idx="516">
                        <c:v>90.72</c:v>
                      </c:pt>
                      <c:pt idx="517">
                        <c:v>90.72</c:v>
                      </c:pt>
                      <c:pt idx="518">
                        <c:v>90.72</c:v>
                      </c:pt>
                      <c:pt idx="519">
                        <c:v>90.72</c:v>
                      </c:pt>
                      <c:pt idx="520">
                        <c:v>90.72</c:v>
                      </c:pt>
                      <c:pt idx="521">
                        <c:v>90.72</c:v>
                      </c:pt>
                      <c:pt idx="522">
                        <c:v>90.72</c:v>
                      </c:pt>
                      <c:pt idx="523">
                        <c:v>90.72</c:v>
                      </c:pt>
                      <c:pt idx="524">
                        <c:v>90.72</c:v>
                      </c:pt>
                      <c:pt idx="525">
                        <c:v>90.72</c:v>
                      </c:pt>
                      <c:pt idx="526">
                        <c:v>90.72</c:v>
                      </c:pt>
                      <c:pt idx="527">
                        <c:v>90.72</c:v>
                      </c:pt>
                      <c:pt idx="528">
                        <c:v>90.72</c:v>
                      </c:pt>
                      <c:pt idx="529">
                        <c:v>90.72</c:v>
                      </c:pt>
                      <c:pt idx="530">
                        <c:v>90.72</c:v>
                      </c:pt>
                      <c:pt idx="531">
                        <c:v>90.72</c:v>
                      </c:pt>
                      <c:pt idx="532">
                        <c:v>90.72</c:v>
                      </c:pt>
                      <c:pt idx="533">
                        <c:v>90.72</c:v>
                      </c:pt>
                      <c:pt idx="534">
                        <c:v>90.72</c:v>
                      </c:pt>
                      <c:pt idx="535">
                        <c:v>90.72</c:v>
                      </c:pt>
                      <c:pt idx="536">
                        <c:v>90.72</c:v>
                      </c:pt>
                      <c:pt idx="537">
                        <c:v>90.72</c:v>
                      </c:pt>
                      <c:pt idx="538">
                        <c:v>90.72</c:v>
                      </c:pt>
                      <c:pt idx="539">
                        <c:v>90.72</c:v>
                      </c:pt>
                      <c:pt idx="540">
                        <c:v>90.72</c:v>
                      </c:pt>
                      <c:pt idx="541">
                        <c:v>90.72</c:v>
                      </c:pt>
                      <c:pt idx="542">
                        <c:v>90.72</c:v>
                      </c:pt>
                      <c:pt idx="543">
                        <c:v>90.72</c:v>
                      </c:pt>
                      <c:pt idx="544">
                        <c:v>90.72</c:v>
                      </c:pt>
                      <c:pt idx="545">
                        <c:v>90.72</c:v>
                      </c:pt>
                      <c:pt idx="546">
                        <c:v>90.72</c:v>
                      </c:pt>
                      <c:pt idx="547">
                        <c:v>90.72</c:v>
                      </c:pt>
                      <c:pt idx="548">
                        <c:v>90.72</c:v>
                      </c:pt>
                      <c:pt idx="549">
                        <c:v>90.72</c:v>
                      </c:pt>
                      <c:pt idx="550">
                        <c:v>90.72</c:v>
                      </c:pt>
                      <c:pt idx="551">
                        <c:v>90.72</c:v>
                      </c:pt>
                      <c:pt idx="552">
                        <c:v>90.72</c:v>
                      </c:pt>
                      <c:pt idx="553">
                        <c:v>90.72</c:v>
                      </c:pt>
                      <c:pt idx="554">
                        <c:v>90.72</c:v>
                      </c:pt>
                      <c:pt idx="555">
                        <c:v>90.72</c:v>
                      </c:pt>
                      <c:pt idx="556">
                        <c:v>90.72</c:v>
                      </c:pt>
                      <c:pt idx="557">
                        <c:v>90.72</c:v>
                      </c:pt>
                      <c:pt idx="558">
                        <c:v>90.72</c:v>
                      </c:pt>
                      <c:pt idx="559">
                        <c:v>90.72</c:v>
                      </c:pt>
                      <c:pt idx="560">
                        <c:v>90.72</c:v>
                      </c:pt>
                      <c:pt idx="561">
                        <c:v>90.72</c:v>
                      </c:pt>
                      <c:pt idx="562">
                        <c:v>90.72</c:v>
                      </c:pt>
                      <c:pt idx="563">
                        <c:v>90.72</c:v>
                      </c:pt>
                      <c:pt idx="564">
                        <c:v>90.72</c:v>
                      </c:pt>
                      <c:pt idx="565">
                        <c:v>90.72</c:v>
                      </c:pt>
                      <c:pt idx="566">
                        <c:v>90.72</c:v>
                      </c:pt>
                      <c:pt idx="567">
                        <c:v>90.72</c:v>
                      </c:pt>
                      <c:pt idx="568">
                        <c:v>90.72</c:v>
                      </c:pt>
                      <c:pt idx="569">
                        <c:v>90.72</c:v>
                      </c:pt>
                      <c:pt idx="570">
                        <c:v>90.72</c:v>
                      </c:pt>
                      <c:pt idx="571">
                        <c:v>90.72</c:v>
                      </c:pt>
                      <c:pt idx="572">
                        <c:v>90.72</c:v>
                      </c:pt>
                      <c:pt idx="573">
                        <c:v>90.72</c:v>
                      </c:pt>
                      <c:pt idx="574">
                        <c:v>90.72</c:v>
                      </c:pt>
                      <c:pt idx="575">
                        <c:v>90.72</c:v>
                      </c:pt>
                      <c:pt idx="576">
                        <c:v>65.040000000000006</c:v>
                      </c:pt>
                      <c:pt idx="577">
                        <c:v>65.040000000000006</c:v>
                      </c:pt>
                      <c:pt idx="578">
                        <c:v>65.040000000000006</c:v>
                      </c:pt>
                      <c:pt idx="579">
                        <c:v>65.040000000000006</c:v>
                      </c:pt>
                      <c:pt idx="580">
                        <c:v>65.040000000000006</c:v>
                      </c:pt>
                      <c:pt idx="581">
                        <c:v>65.040000000000006</c:v>
                      </c:pt>
                      <c:pt idx="582">
                        <c:v>65.040000000000006</c:v>
                      </c:pt>
                      <c:pt idx="583">
                        <c:v>65.040000000000006</c:v>
                      </c:pt>
                      <c:pt idx="584">
                        <c:v>65.040000000000006</c:v>
                      </c:pt>
                      <c:pt idx="585">
                        <c:v>65.040000000000006</c:v>
                      </c:pt>
                      <c:pt idx="586">
                        <c:v>65.040000000000006</c:v>
                      </c:pt>
                      <c:pt idx="587">
                        <c:v>65.040000000000006</c:v>
                      </c:pt>
                      <c:pt idx="588">
                        <c:v>65.040000000000006</c:v>
                      </c:pt>
                      <c:pt idx="589">
                        <c:v>65.040000000000006</c:v>
                      </c:pt>
                      <c:pt idx="590">
                        <c:v>65.040000000000006</c:v>
                      </c:pt>
                      <c:pt idx="591">
                        <c:v>65.040000000000006</c:v>
                      </c:pt>
                      <c:pt idx="592">
                        <c:v>65.040000000000006</c:v>
                      </c:pt>
                      <c:pt idx="593">
                        <c:v>65.040000000000006</c:v>
                      </c:pt>
                      <c:pt idx="594">
                        <c:v>65.040000000000006</c:v>
                      </c:pt>
                      <c:pt idx="595">
                        <c:v>65.040000000000006</c:v>
                      </c:pt>
                      <c:pt idx="596">
                        <c:v>65.040000000000006</c:v>
                      </c:pt>
                      <c:pt idx="597">
                        <c:v>65.040000000000006</c:v>
                      </c:pt>
                      <c:pt idx="598">
                        <c:v>65.040000000000006</c:v>
                      </c:pt>
                      <c:pt idx="599">
                        <c:v>65.040000000000006</c:v>
                      </c:pt>
                      <c:pt idx="600">
                        <c:v>65.040000000000006</c:v>
                      </c:pt>
                      <c:pt idx="601">
                        <c:v>90.72</c:v>
                      </c:pt>
                      <c:pt idx="602">
                        <c:v>90.72</c:v>
                      </c:pt>
                      <c:pt idx="603">
                        <c:v>90.72</c:v>
                      </c:pt>
                      <c:pt idx="604">
                        <c:v>90.72</c:v>
                      </c:pt>
                      <c:pt idx="605">
                        <c:v>90.72</c:v>
                      </c:pt>
                      <c:pt idx="606">
                        <c:v>90.72</c:v>
                      </c:pt>
                      <c:pt idx="607">
                        <c:v>90.72</c:v>
                      </c:pt>
                      <c:pt idx="608">
                        <c:v>90.72</c:v>
                      </c:pt>
                      <c:pt idx="609">
                        <c:v>90.72</c:v>
                      </c:pt>
                      <c:pt idx="610">
                        <c:v>90.72</c:v>
                      </c:pt>
                      <c:pt idx="611">
                        <c:v>90.72</c:v>
                      </c:pt>
                      <c:pt idx="612">
                        <c:v>90.72</c:v>
                      </c:pt>
                      <c:pt idx="613">
                        <c:v>90.72</c:v>
                      </c:pt>
                      <c:pt idx="614">
                        <c:v>90.72</c:v>
                      </c:pt>
                      <c:pt idx="615">
                        <c:v>90.72</c:v>
                      </c:pt>
                      <c:pt idx="616">
                        <c:v>90.72</c:v>
                      </c:pt>
                      <c:pt idx="617">
                        <c:v>90.72</c:v>
                      </c:pt>
                      <c:pt idx="618">
                        <c:v>90.72</c:v>
                      </c:pt>
                      <c:pt idx="619">
                        <c:v>90.72</c:v>
                      </c:pt>
                      <c:pt idx="620">
                        <c:v>90.72</c:v>
                      </c:pt>
                      <c:pt idx="621">
                        <c:v>90.72</c:v>
                      </c:pt>
                      <c:pt idx="622">
                        <c:v>90.72</c:v>
                      </c:pt>
                      <c:pt idx="623">
                        <c:v>90.72</c:v>
                      </c:pt>
                      <c:pt idx="624">
                        <c:v>90.72</c:v>
                      </c:pt>
                      <c:pt idx="625">
                        <c:v>90.72</c:v>
                      </c:pt>
                      <c:pt idx="626">
                        <c:v>90.72</c:v>
                      </c:pt>
                      <c:pt idx="627">
                        <c:v>90.72</c:v>
                      </c:pt>
                      <c:pt idx="628">
                        <c:v>90.72</c:v>
                      </c:pt>
                      <c:pt idx="629">
                        <c:v>90.72</c:v>
                      </c:pt>
                      <c:pt idx="630">
                        <c:v>90.72</c:v>
                      </c:pt>
                      <c:pt idx="631">
                        <c:v>90.72</c:v>
                      </c:pt>
                      <c:pt idx="632">
                        <c:v>90.72</c:v>
                      </c:pt>
                      <c:pt idx="633">
                        <c:v>90.72</c:v>
                      </c:pt>
                      <c:pt idx="634">
                        <c:v>90.72</c:v>
                      </c:pt>
                      <c:pt idx="635">
                        <c:v>90.72</c:v>
                      </c:pt>
                      <c:pt idx="636">
                        <c:v>90.72</c:v>
                      </c:pt>
                      <c:pt idx="637">
                        <c:v>90.72</c:v>
                      </c:pt>
                      <c:pt idx="638">
                        <c:v>90.72</c:v>
                      </c:pt>
                      <c:pt idx="639">
                        <c:v>90.72</c:v>
                      </c:pt>
                      <c:pt idx="640">
                        <c:v>90.72</c:v>
                      </c:pt>
                      <c:pt idx="641">
                        <c:v>90.72</c:v>
                      </c:pt>
                      <c:pt idx="642">
                        <c:v>51.36</c:v>
                      </c:pt>
                      <c:pt idx="643">
                        <c:v>51.36</c:v>
                      </c:pt>
                      <c:pt idx="644">
                        <c:v>51.36</c:v>
                      </c:pt>
                      <c:pt idx="645">
                        <c:v>51.36</c:v>
                      </c:pt>
                      <c:pt idx="646">
                        <c:v>51.36</c:v>
                      </c:pt>
                      <c:pt idx="647">
                        <c:v>51.36</c:v>
                      </c:pt>
                      <c:pt idx="648">
                        <c:v>51.36</c:v>
                      </c:pt>
                      <c:pt idx="649">
                        <c:v>51.36</c:v>
                      </c:pt>
                      <c:pt idx="650">
                        <c:v>51.36</c:v>
                      </c:pt>
                      <c:pt idx="651">
                        <c:v>51.36</c:v>
                      </c:pt>
                      <c:pt idx="652">
                        <c:v>51.36</c:v>
                      </c:pt>
                      <c:pt idx="653">
                        <c:v>51.36</c:v>
                      </c:pt>
                      <c:pt idx="654">
                        <c:v>90.72</c:v>
                      </c:pt>
                      <c:pt idx="655">
                        <c:v>90.72</c:v>
                      </c:pt>
                      <c:pt idx="656">
                        <c:v>65.040000000000006</c:v>
                      </c:pt>
                      <c:pt idx="657">
                        <c:v>65.040000000000006</c:v>
                      </c:pt>
                      <c:pt idx="658">
                        <c:v>65.040000000000006</c:v>
                      </c:pt>
                      <c:pt idx="659">
                        <c:v>65.040000000000006</c:v>
                      </c:pt>
                      <c:pt idx="660">
                        <c:v>65.040000000000006</c:v>
                      </c:pt>
                      <c:pt idx="661">
                        <c:v>90.72</c:v>
                      </c:pt>
                      <c:pt idx="662">
                        <c:v>90.72</c:v>
                      </c:pt>
                      <c:pt idx="663">
                        <c:v>90.72</c:v>
                      </c:pt>
                      <c:pt idx="664">
                        <c:v>90.72</c:v>
                      </c:pt>
                      <c:pt idx="665">
                        <c:v>90.72</c:v>
                      </c:pt>
                      <c:pt idx="666">
                        <c:v>90.72</c:v>
                      </c:pt>
                      <c:pt idx="667">
                        <c:v>90.72</c:v>
                      </c:pt>
                      <c:pt idx="668">
                        <c:v>90.72</c:v>
                      </c:pt>
                      <c:pt idx="669">
                        <c:v>90.72</c:v>
                      </c:pt>
                      <c:pt idx="670">
                        <c:v>90.72</c:v>
                      </c:pt>
                      <c:pt idx="671">
                        <c:v>90.72</c:v>
                      </c:pt>
                      <c:pt idx="672">
                        <c:v>90.72</c:v>
                      </c:pt>
                      <c:pt idx="673">
                        <c:v>90.72</c:v>
                      </c:pt>
                      <c:pt idx="674">
                        <c:v>90.72</c:v>
                      </c:pt>
                      <c:pt idx="675">
                        <c:v>90.72</c:v>
                      </c:pt>
                      <c:pt idx="676">
                        <c:v>90.72</c:v>
                      </c:pt>
                      <c:pt idx="677">
                        <c:v>90.72</c:v>
                      </c:pt>
                      <c:pt idx="678">
                        <c:v>90.72</c:v>
                      </c:pt>
                      <c:pt idx="679">
                        <c:v>90.72</c:v>
                      </c:pt>
                      <c:pt idx="680">
                        <c:v>90.72</c:v>
                      </c:pt>
                      <c:pt idx="681">
                        <c:v>90.72</c:v>
                      </c:pt>
                      <c:pt idx="682">
                        <c:v>90.72</c:v>
                      </c:pt>
                      <c:pt idx="683">
                        <c:v>90.72</c:v>
                      </c:pt>
                      <c:pt idx="684">
                        <c:v>90.72</c:v>
                      </c:pt>
                      <c:pt idx="685">
                        <c:v>90.72</c:v>
                      </c:pt>
                      <c:pt idx="686">
                        <c:v>90.72</c:v>
                      </c:pt>
                      <c:pt idx="687">
                        <c:v>90.72</c:v>
                      </c:pt>
                      <c:pt idx="688">
                        <c:v>90.72</c:v>
                      </c:pt>
                      <c:pt idx="689">
                        <c:v>90.72</c:v>
                      </c:pt>
                      <c:pt idx="690">
                        <c:v>90.72</c:v>
                      </c:pt>
                      <c:pt idx="691">
                        <c:v>90.72</c:v>
                      </c:pt>
                      <c:pt idx="692">
                        <c:v>90.72</c:v>
                      </c:pt>
                      <c:pt idx="693">
                        <c:v>90.72</c:v>
                      </c:pt>
                      <c:pt idx="694">
                        <c:v>90.72</c:v>
                      </c:pt>
                      <c:pt idx="695">
                        <c:v>90.72</c:v>
                      </c:pt>
                      <c:pt idx="696">
                        <c:v>90.72</c:v>
                      </c:pt>
                      <c:pt idx="697">
                        <c:v>90.72</c:v>
                      </c:pt>
                      <c:pt idx="698">
                        <c:v>90.72</c:v>
                      </c:pt>
                      <c:pt idx="699">
                        <c:v>90.72</c:v>
                      </c:pt>
                      <c:pt idx="700">
                        <c:v>90.72</c:v>
                      </c:pt>
                      <c:pt idx="701">
                        <c:v>90.72</c:v>
                      </c:pt>
                      <c:pt idx="702">
                        <c:v>90.72</c:v>
                      </c:pt>
                      <c:pt idx="703">
                        <c:v>90.72</c:v>
                      </c:pt>
                      <c:pt idx="704">
                        <c:v>90.72</c:v>
                      </c:pt>
                      <c:pt idx="705">
                        <c:v>90.72</c:v>
                      </c:pt>
                      <c:pt idx="706">
                        <c:v>90.72</c:v>
                      </c:pt>
                      <c:pt idx="707">
                        <c:v>90.72</c:v>
                      </c:pt>
                      <c:pt idx="708">
                        <c:v>90.72</c:v>
                      </c:pt>
                      <c:pt idx="709">
                        <c:v>90.72</c:v>
                      </c:pt>
                      <c:pt idx="710">
                        <c:v>90.72</c:v>
                      </c:pt>
                      <c:pt idx="711">
                        <c:v>90.72</c:v>
                      </c:pt>
                      <c:pt idx="712">
                        <c:v>90.72</c:v>
                      </c:pt>
                      <c:pt idx="713">
                        <c:v>90.72</c:v>
                      </c:pt>
                      <c:pt idx="714">
                        <c:v>90.72</c:v>
                      </c:pt>
                      <c:pt idx="715">
                        <c:v>90.72</c:v>
                      </c:pt>
                      <c:pt idx="716">
                        <c:v>90.72</c:v>
                      </c:pt>
                      <c:pt idx="717">
                        <c:v>90.72</c:v>
                      </c:pt>
                      <c:pt idx="718">
                        <c:v>90.72</c:v>
                      </c:pt>
                      <c:pt idx="719">
                        <c:v>90.72</c:v>
                      </c:pt>
                      <c:pt idx="720">
                        <c:v>90.72</c:v>
                      </c:pt>
                      <c:pt idx="721">
                        <c:v>90.72</c:v>
                      </c:pt>
                      <c:pt idx="722">
                        <c:v>90.72</c:v>
                      </c:pt>
                      <c:pt idx="723">
                        <c:v>90.72</c:v>
                      </c:pt>
                      <c:pt idx="724">
                        <c:v>90.72</c:v>
                      </c:pt>
                      <c:pt idx="725">
                        <c:v>90.72</c:v>
                      </c:pt>
                      <c:pt idx="726">
                        <c:v>90.72</c:v>
                      </c:pt>
                      <c:pt idx="727">
                        <c:v>90.72</c:v>
                      </c:pt>
                      <c:pt idx="728">
                        <c:v>90.72</c:v>
                      </c:pt>
                      <c:pt idx="729">
                        <c:v>90.72</c:v>
                      </c:pt>
                      <c:pt idx="730">
                        <c:v>90.72</c:v>
                      </c:pt>
                      <c:pt idx="731">
                        <c:v>90.72</c:v>
                      </c:pt>
                      <c:pt idx="732">
                        <c:v>90.72</c:v>
                      </c:pt>
                      <c:pt idx="733">
                        <c:v>90.72</c:v>
                      </c:pt>
                      <c:pt idx="734">
                        <c:v>90.72</c:v>
                      </c:pt>
                      <c:pt idx="735">
                        <c:v>90.72</c:v>
                      </c:pt>
                      <c:pt idx="736">
                        <c:v>90.72</c:v>
                      </c:pt>
                      <c:pt idx="737">
                        <c:v>90.72</c:v>
                      </c:pt>
                      <c:pt idx="738">
                        <c:v>90.72</c:v>
                      </c:pt>
                      <c:pt idx="739">
                        <c:v>90.72</c:v>
                      </c:pt>
                      <c:pt idx="740">
                        <c:v>90.72</c:v>
                      </c:pt>
                      <c:pt idx="741">
                        <c:v>90.72</c:v>
                      </c:pt>
                      <c:pt idx="742">
                        <c:v>90.72</c:v>
                      </c:pt>
                      <c:pt idx="743">
                        <c:v>90.72</c:v>
                      </c:pt>
                      <c:pt idx="744">
                        <c:v>90.72</c:v>
                      </c:pt>
                      <c:pt idx="745">
                        <c:v>90.72</c:v>
                      </c:pt>
                      <c:pt idx="746">
                        <c:v>90.72</c:v>
                      </c:pt>
                      <c:pt idx="747">
                        <c:v>90.72</c:v>
                      </c:pt>
                      <c:pt idx="748">
                        <c:v>90.72</c:v>
                      </c:pt>
                      <c:pt idx="749">
                        <c:v>90.72</c:v>
                      </c:pt>
                      <c:pt idx="750">
                        <c:v>90.72</c:v>
                      </c:pt>
                      <c:pt idx="751">
                        <c:v>90.72</c:v>
                      </c:pt>
                      <c:pt idx="752">
                        <c:v>90.72</c:v>
                      </c:pt>
                      <c:pt idx="753">
                        <c:v>90.72</c:v>
                      </c:pt>
                      <c:pt idx="754">
                        <c:v>90.72</c:v>
                      </c:pt>
                      <c:pt idx="755">
                        <c:v>90.72</c:v>
                      </c:pt>
                      <c:pt idx="756">
                        <c:v>90.72</c:v>
                      </c:pt>
                      <c:pt idx="757">
                        <c:v>90.72</c:v>
                      </c:pt>
                      <c:pt idx="758">
                        <c:v>90.72</c:v>
                      </c:pt>
                      <c:pt idx="759">
                        <c:v>90.72</c:v>
                      </c:pt>
                      <c:pt idx="760">
                        <c:v>90.72</c:v>
                      </c:pt>
                      <c:pt idx="761">
                        <c:v>90.72</c:v>
                      </c:pt>
                      <c:pt idx="762">
                        <c:v>90.72</c:v>
                      </c:pt>
                      <c:pt idx="763">
                        <c:v>90.72</c:v>
                      </c:pt>
                      <c:pt idx="764">
                        <c:v>90.72</c:v>
                      </c:pt>
                      <c:pt idx="765">
                        <c:v>90.72</c:v>
                      </c:pt>
                      <c:pt idx="766">
                        <c:v>90.72</c:v>
                      </c:pt>
                      <c:pt idx="767">
                        <c:v>90.72</c:v>
                      </c:pt>
                      <c:pt idx="768">
                        <c:v>90.72</c:v>
                      </c:pt>
                      <c:pt idx="769">
                        <c:v>90.72</c:v>
                      </c:pt>
                      <c:pt idx="770">
                        <c:v>90.72</c:v>
                      </c:pt>
                      <c:pt idx="771">
                        <c:v>90.72</c:v>
                      </c:pt>
                      <c:pt idx="772">
                        <c:v>90.72</c:v>
                      </c:pt>
                      <c:pt idx="773">
                        <c:v>90.72</c:v>
                      </c:pt>
                      <c:pt idx="774">
                        <c:v>90.72</c:v>
                      </c:pt>
                      <c:pt idx="775">
                        <c:v>90.72</c:v>
                      </c:pt>
                      <c:pt idx="776">
                        <c:v>90.72</c:v>
                      </c:pt>
                      <c:pt idx="777">
                        <c:v>90.72</c:v>
                      </c:pt>
                      <c:pt idx="778">
                        <c:v>90.72</c:v>
                      </c:pt>
                      <c:pt idx="779">
                        <c:v>90.72</c:v>
                      </c:pt>
                      <c:pt idx="780">
                        <c:v>90.72</c:v>
                      </c:pt>
                      <c:pt idx="781">
                        <c:v>90.72</c:v>
                      </c:pt>
                      <c:pt idx="782">
                        <c:v>90.72</c:v>
                      </c:pt>
                      <c:pt idx="783">
                        <c:v>90.72</c:v>
                      </c:pt>
                      <c:pt idx="784">
                        <c:v>90.72</c:v>
                      </c:pt>
                      <c:pt idx="785">
                        <c:v>90.72</c:v>
                      </c:pt>
                      <c:pt idx="786">
                        <c:v>90.72</c:v>
                      </c:pt>
                      <c:pt idx="787">
                        <c:v>90.72</c:v>
                      </c:pt>
                      <c:pt idx="788">
                        <c:v>90.72</c:v>
                      </c:pt>
                      <c:pt idx="789">
                        <c:v>90.72</c:v>
                      </c:pt>
                      <c:pt idx="790">
                        <c:v>90.72</c:v>
                      </c:pt>
                      <c:pt idx="791">
                        <c:v>90.72</c:v>
                      </c:pt>
                      <c:pt idx="792">
                        <c:v>90.72</c:v>
                      </c:pt>
                      <c:pt idx="793">
                        <c:v>90.72</c:v>
                      </c:pt>
                      <c:pt idx="794">
                        <c:v>90.72</c:v>
                      </c:pt>
                      <c:pt idx="795">
                        <c:v>90.72</c:v>
                      </c:pt>
                      <c:pt idx="796">
                        <c:v>90.72</c:v>
                      </c:pt>
                      <c:pt idx="797">
                        <c:v>90.72</c:v>
                      </c:pt>
                      <c:pt idx="798">
                        <c:v>90.72</c:v>
                      </c:pt>
                      <c:pt idx="799">
                        <c:v>90.72</c:v>
                      </c:pt>
                      <c:pt idx="800">
                        <c:v>90.72</c:v>
                      </c:pt>
                      <c:pt idx="801">
                        <c:v>90.72</c:v>
                      </c:pt>
                      <c:pt idx="802">
                        <c:v>90.72</c:v>
                      </c:pt>
                      <c:pt idx="803">
                        <c:v>90.72</c:v>
                      </c:pt>
                      <c:pt idx="804">
                        <c:v>90.72</c:v>
                      </c:pt>
                      <c:pt idx="805">
                        <c:v>90.72</c:v>
                      </c:pt>
                      <c:pt idx="806">
                        <c:v>90.72</c:v>
                      </c:pt>
                      <c:pt idx="807">
                        <c:v>90.72</c:v>
                      </c:pt>
                      <c:pt idx="808">
                        <c:v>90.72</c:v>
                      </c:pt>
                      <c:pt idx="809">
                        <c:v>90.72</c:v>
                      </c:pt>
                      <c:pt idx="810">
                        <c:v>90.72</c:v>
                      </c:pt>
                      <c:pt idx="811">
                        <c:v>90.72</c:v>
                      </c:pt>
                      <c:pt idx="812">
                        <c:v>90.72</c:v>
                      </c:pt>
                      <c:pt idx="813">
                        <c:v>90.72</c:v>
                      </c:pt>
                      <c:pt idx="814">
                        <c:v>90.72</c:v>
                      </c:pt>
                      <c:pt idx="815">
                        <c:v>90.72</c:v>
                      </c:pt>
                      <c:pt idx="816">
                        <c:v>90.72</c:v>
                      </c:pt>
                      <c:pt idx="817">
                        <c:v>90.72</c:v>
                      </c:pt>
                      <c:pt idx="818">
                        <c:v>90.72</c:v>
                      </c:pt>
                      <c:pt idx="819">
                        <c:v>90.72</c:v>
                      </c:pt>
                      <c:pt idx="820">
                        <c:v>90.72</c:v>
                      </c:pt>
                      <c:pt idx="821">
                        <c:v>90.72</c:v>
                      </c:pt>
                      <c:pt idx="822">
                        <c:v>90.72</c:v>
                      </c:pt>
                      <c:pt idx="823">
                        <c:v>90.72</c:v>
                      </c:pt>
                      <c:pt idx="824">
                        <c:v>90.72</c:v>
                      </c:pt>
                      <c:pt idx="825">
                        <c:v>90.72</c:v>
                      </c:pt>
                      <c:pt idx="826">
                        <c:v>90.72</c:v>
                      </c:pt>
                      <c:pt idx="827">
                        <c:v>90.72</c:v>
                      </c:pt>
                      <c:pt idx="828">
                        <c:v>90.72</c:v>
                      </c:pt>
                      <c:pt idx="829">
                        <c:v>90.72</c:v>
                      </c:pt>
                      <c:pt idx="830">
                        <c:v>90.72</c:v>
                      </c:pt>
                      <c:pt idx="831">
                        <c:v>90.72</c:v>
                      </c:pt>
                      <c:pt idx="832">
                        <c:v>90.72</c:v>
                      </c:pt>
                      <c:pt idx="833">
                        <c:v>90.72</c:v>
                      </c:pt>
                      <c:pt idx="834">
                        <c:v>90.72</c:v>
                      </c:pt>
                      <c:pt idx="835">
                        <c:v>90.72</c:v>
                      </c:pt>
                      <c:pt idx="836">
                        <c:v>90.72</c:v>
                      </c:pt>
                      <c:pt idx="837">
                        <c:v>90.72</c:v>
                      </c:pt>
                      <c:pt idx="838">
                        <c:v>90.72</c:v>
                      </c:pt>
                      <c:pt idx="839">
                        <c:v>90.72</c:v>
                      </c:pt>
                      <c:pt idx="840">
                        <c:v>95.76</c:v>
                      </c:pt>
                      <c:pt idx="841">
                        <c:v>95.76</c:v>
                      </c:pt>
                      <c:pt idx="842">
                        <c:v>95.76</c:v>
                      </c:pt>
                      <c:pt idx="843">
                        <c:v>95.76</c:v>
                      </c:pt>
                      <c:pt idx="844">
                        <c:v>95.76</c:v>
                      </c:pt>
                      <c:pt idx="845">
                        <c:v>95.76</c:v>
                      </c:pt>
                      <c:pt idx="846">
                        <c:v>95.76</c:v>
                      </c:pt>
                      <c:pt idx="847">
                        <c:v>95.76</c:v>
                      </c:pt>
                      <c:pt idx="848">
                        <c:v>95.76</c:v>
                      </c:pt>
                      <c:pt idx="849">
                        <c:v>95.76</c:v>
                      </c:pt>
                      <c:pt idx="850">
                        <c:v>95.76</c:v>
                      </c:pt>
                      <c:pt idx="851">
                        <c:v>90.72</c:v>
                      </c:pt>
                      <c:pt idx="852">
                        <c:v>65.040000000000006</c:v>
                      </c:pt>
                      <c:pt idx="853">
                        <c:v>65.040000000000006</c:v>
                      </c:pt>
                      <c:pt idx="854">
                        <c:v>65.040000000000006</c:v>
                      </c:pt>
                      <c:pt idx="855">
                        <c:v>65.040000000000006</c:v>
                      </c:pt>
                      <c:pt idx="856">
                        <c:v>65.040000000000006</c:v>
                      </c:pt>
                      <c:pt idx="857">
                        <c:v>65.040000000000006</c:v>
                      </c:pt>
                      <c:pt idx="858">
                        <c:v>65.040000000000006</c:v>
                      </c:pt>
                      <c:pt idx="859">
                        <c:v>90.72</c:v>
                      </c:pt>
                      <c:pt idx="860">
                        <c:v>90.72</c:v>
                      </c:pt>
                      <c:pt idx="861">
                        <c:v>90.72</c:v>
                      </c:pt>
                      <c:pt idx="862">
                        <c:v>90.72</c:v>
                      </c:pt>
                      <c:pt idx="863">
                        <c:v>90.72</c:v>
                      </c:pt>
                      <c:pt idx="864">
                        <c:v>90.72</c:v>
                      </c:pt>
                      <c:pt idx="865">
                        <c:v>90.72</c:v>
                      </c:pt>
                      <c:pt idx="866">
                        <c:v>90.72</c:v>
                      </c:pt>
                      <c:pt idx="867">
                        <c:v>90.72</c:v>
                      </c:pt>
                      <c:pt idx="868">
                        <c:v>90.72</c:v>
                      </c:pt>
                      <c:pt idx="869">
                        <c:v>90.72</c:v>
                      </c:pt>
                      <c:pt idx="870">
                        <c:v>90.72</c:v>
                      </c:pt>
                      <c:pt idx="871">
                        <c:v>75.599999999999994</c:v>
                      </c:pt>
                      <c:pt idx="872">
                        <c:v>90.72</c:v>
                      </c:pt>
                      <c:pt idx="873">
                        <c:v>90.72</c:v>
                      </c:pt>
                      <c:pt idx="874">
                        <c:v>90.72</c:v>
                      </c:pt>
                      <c:pt idx="875">
                        <c:v>90.72</c:v>
                      </c:pt>
                      <c:pt idx="876">
                        <c:v>90.72</c:v>
                      </c:pt>
                      <c:pt idx="877">
                        <c:v>90.72</c:v>
                      </c:pt>
                      <c:pt idx="878">
                        <c:v>90.72</c:v>
                      </c:pt>
                      <c:pt idx="879">
                        <c:v>90.72</c:v>
                      </c:pt>
                      <c:pt idx="880">
                        <c:v>90.72</c:v>
                      </c:pt>
                      <c:pt idx="881">
                        <c:v>90.72</c:v>
                      </c:pt>
                      <c:pt idx="882">
                        <c:v>90.72</c:v>
                      </c:pt>
                      <c:pt idx="883">
                        <c:v>90.72</c:v>
                      </c:pt>
                      <c:pt idx="884">
                        <c:v>90.72</c:v>
                      </c:pt>
                      <c:pt idx="885">
                        <c:v>90.72</c:v>
                      </c:pt>
                      <c:pt idx="886">
                        <c:v>90.72</c:v>
                      </c:pt>
                      <c:pt idx="887">
                        <c:v>90.72</c:v>
                      </c:pt>
                      <c:pt idx="888">
                        <c:v>90.72</c:v>
                      </c:pt>
                      <c:pt idx="889">
                        <c:v>90.72</c:v>
                      </c:pt>
                      <c:pt idx="890">
                        <c:v>90.72</c:v>
                      </c:pt>
                      <c:pt idx="891">
                        <c:v>90.72</c:v>
                      </c:pt>
                      <c:pt idx="892">
                        <c:v>90.72</c:v>
                      </c:pt>
                      <c:pt idx="893">
                        <c:v>90.72</c:v>
                      </c:pt>
                      <c:pt idx="894">
                        <c:v>90.72</c:v>
                      </c:pt>
                      <c:pt idx="895">
                        <c:v>90.72</c:v>
                      </c:pt>
                      <c:pt idx="896">
                        <c:v>90.72</c:v>
                      </c:pt>
                      <c:pt idx="897">
                        <c:v>90.72</c:v>
                      </c:pt>
                      <c:pt idx="898">
                        <c:v>90.72</c:v>
                      </c:pt>
                      <c:pt idx="899">
                        <c:v>90.72</c:v>
                      </c:pt>
                      <c:pt idx="900">
                        <c:v>90.72</c:v>
                      </c:pt>
                      <c:pt idx="901">
                        <c:v>90.72</c:v>
                      </c:pt>
                      <c:pt idx="902">
                        <c:v>90.72</c:v>
                      </c:pt>
                      <c:pt idx="903">
                        <c:v>90.72</c:v>
                      </c:pt>
                      <c:pt idx="904">
                        <c:v>90.72</c:v>
                      </c:pt>
                      <c:pt idx="905">
                        <c:v>90.72</c:v>
                      </c:pt>
                      <c:pt idx="906">
                        <c:v>90.72</c:v>
                      </c:pt>
                      <c:pt idx="907">
                        <c:v>90.72</c:v>
                      </c:pt>
                      <c:pt idx="908">
                        <c:v>90.72</c:v>
                      </c:pt>
                      <c:pt idx="909">
                        <c:v>90.72</c:v>
                      </c:pt>
                      <c:pt idx="910">
                        <c:v>90.72</c:v>
                      </c:pt>
                      <c:pt idx="911">
                        <c:v>90.72</c:v>
                      </c:pt>
                      <c:pt idx="912">
                        <c:v>90.72</c:v>
                      </c:pt>
                      <c:pt idx="913">
                        <c:v>90.72</c:v>
                      </c:pt>
                      <c:pt idx="914">
                        <c:v>90.72</c:v>
                      </c:pt>
                      <c:pt idx="915">
                        <c:v>90.72</c:v>
                      </c:pt>
                      <c:pt idx="916">
                        <c:v>90.72</c:v>
                      </c:pt>
                      <c:pt idx="917">
                        <c:v>90.72</c:v>
                      </c:pt>
                      <c:pt idx="918">
                        <c:v>90.72</c:v>
                      </c:pt>
                      <c:pt idx="919">
                        <c:v>90.72</c:v>
                      </c:pt>
                      <c:pt idx="920">
                        <c:v>90.72</c:v>
                      </c:pt>
                      <c:pt idx="921">
                        <c:v>90.72</c:v>
                      </c:pt>
                      <c:pt idx="922">
                        <c:v>90.72</c:v>
                      </c:pt>
                      <c:pt idx="923">
                        <c:v>90.72</c:v>
                      </c:pt>
                      <c:pt idx="924">
                        <c:v>90.72</c:v>
                      </c:pt>
                      <c:pt idx="925">
                        <c:v>90.72</c:v>
                      </c:pt>
                      <c:pt idx="926">
                        <c:v>90.72</c:v>
                      </c:pt>
                      <c:pt idx="927">
                        <c:v>90.72</c:v>
                      </c:pt>
                      <c:pt idx="928">
                        <c:v>90.72</c:v>
                      </c:pt>
                      <c:pt idx="929">
                        <c:v>90.72</c:v>
                      </c:pt>
                      <c:pt idx="930">
                        <c:v>90.72</c:v>
                      </c:pt>
                      <c:pt idx="931">
                        <c:v>90.72</c:v>
                      </c:pt>
                      <c:pt idx="932">
                        <c:v>90.72</c:v>
                      </c:pt>
                      <c:pt idx="933">
                        <c:v>90.72</c:v>
                      </c:pt>
                      <c:pt idx="934">
                        <c:v>90.72</c:v>
                      </c:pt>
                      <c:pt idx="935">
                        <c:v>90.72</c:v>
                      </c:pt>
                      <c:pt idx="936">
                        <c:v>90.72</c:v>
                      </c:pt>
                      <c:pt idx="937">
                        <c:v>90.72</c:v>
                      </c:pt>
                      <c:pt idx="938">
                        <c:v>90.72</c:v>
                      </c:pt>
                      <c:pt idx="939">
                        <c:v>90.72</c:v>
                      </c:pt>
                      <c:pt idx="940">
                        <c:v>90.72</c:v>
                      </c:pt>
                      <c:pt idx="941">
                        <c:v>90.72</c:v>
                      </c:pt>
                      <c:pt idx="942">
                        <c:v>90.72</c:v>
                      </c:pt>
                      <c:pt idx="943">
                        <c:v>90.72</c:v>
                      </c:pt>
                      <c:pt idx="944">
                        <c:v>90.72</c:v>
                      </c:pt>
                      <c:pt idx="945">
                        <c:v>90.72</c:v>
                      </c:pt>
                      <c:pt idx="946">
                        <c:v>90.72</c:v>
                      </c:pt>
                      <c:pt idx="947">
                        <c:v>90.72</c:v>
                      </c:pt>
                      <c:pt idx="948">
                        <c:v>90.72</c:v>
                      </c:pt>
                      <c:pt idx="949">
                        <c:v>90.72</c:v>
                      </c:pt>
                      <c:pt idx="950">
                        <c:v>90.72</c:v>
                      </c:pt>
                      <c:pt idx="951">
                        <c:v>90.72</c:v>
                      </c:pt>
                      <c:pt idx="952">
                        <c:v>90.72</c:v>
                      </c:pt>
                      <c:pt idx="953">
                        <c:v>90.72</c:v>
                      </c:pt>
                      <c:pt idx="954">
                        <c:v>90.72</c:v>
                      </c:pt>
                      <c:pt idx="955">
                        <c:v>90.72</c:v>
                      </c:pt>
                      <c:pt idx="956">
                        <c:v>90.72</c:v>
                      </c:pt>
                      <c:pt idx="957">
                        <c:v>90.72</c:v>
                      </c:pt>
                      <c:pt idx="958">
                        <c:v>90.72</c:v>
                      </c:pt>
                      <c:pt idx="959">
                        <c:v>90.72</c:v>
                      </c:pt>
                      <c:pt idx="960">
                        <c:v>90.72</c:v>
                      </c:pt>
                      <c:pt idx="961">
                        <c:v>90.72</c:v>
                      </c:pt>
                      <c:pt idx="962">
                        <c:v>90.72</c:v>
                      </c:pt>
                      <c:pt idx="963">
                        <c:v>90.72</c:v>
                      </c:pt>
                      <c:pt idx="964">
                        <c:v>90.72</c:v>
                      </c:pt>
                      <c:pt idx="965">
                        <c:v>90.72</c:v>
                      </c:pt>
                      <c:pt idx="966">
                        <c:v>90.72</c:v>
                      </c:pt>
                      <c:pt idx="967">
                        <c:v>90.72</c:v>
                      </c:pt>
                      <c:pt idx="968">
                        <c:v>90.72</c:v>
                      </c:pt>
                      <c:pt idx="969">
                        <c:v>90.72</c:v>
                      </c:pt>
                      <c:pt idx="970">
                        <c:v>90.72</c:v>
                      </c:pt>
                      <c:pt idx="971">
                        <c:v>90.72</c:v>
                      </c:pt>
                      <c:pt idx="972">
                        <c:v>90.72</c:v>
                      </c:pt>
                      <c:pt idx="973">
                        <c:v>90.72</c:v>
                      </c:pt>
                      <c:pt idx="974">
                        <c:v>90.72</c:v>
                      </c:pt>
                      <c:pt idx="975">
                        <c:v>90.72</c:v>
                      </c:pt>
                      <c:pt idx="976">
                        <c:v>90.72</c:v>
                      </c:pt>
                      <c:pt idx="977">
                        <c:v>90.72</c:v>
                      </c:pt>
                      <c:pt idx="978">
                        <c:v>90.72</c:v>
                      </c:pt>
                      <c:pt idx="979">
                        <c:v>90.72</c:v>
                      </c:pt>
                      <c:pt idx="980">
                        <c:v>90.72</c:v>
                      </c:pt>
                      <c:pt idx="981">
                        <c:v>90.72</c:v>
                      </c:pt>
                      <c:pt idx="982">
                        <c:v>90.72</c:v>
                      </c:pt>
                      <c:pt idx="983">
                        <c:v>90.72</c:v>
                      </c:pt>
                      <c:pt idx="984">
                        <c:v>90.72</c:v>
                      </c:pt>
                      <c:pt idx="985">
                        <c:v>90.72</c:v>
                      </c:pt>
                      <c:pt idx="986">
                        <c:v>90.72</c:v>
                      </c:pt>
                      <c:pt idx="987">
                        <c:v>90.72</c:v>
                      </c:pt>
                      <c:pt idx="988">
                        <c:v>90.72</c:v>
                      </c:pt>
                      <c:pt idx="989">
                        <c:v>90.72</c:v>
                      </c:pt>
                      <c:pt idx="990">
                        <c:v>90.72</c:v>
                      </c:pt>
                      <c:pt idx="991">
                        <c:v>90.72</c:v>
                      </c:pt>
                      <c:pt idx="992">
                        <c:v>90.72</c:v>
                      </c:pt>
                      <c:pt idx="993">
                        <c:v>90.72</c:v>
                      </c:pt>
                      <c:pt idx="994">
                        <c:v>90.72</c:v>
                      </c:pt>
                      <c:pt idx="995">
                        <c:v>90.72</c:v>
                      </c:pt>
                      <c:pt idx="996">
                        <c:v>90.72</c:v>
                      </c:pt>
                      <c:pt idx="997">
                        <c:v>90.72</c:v>
                      </c:pt>
                      <c:pt idx="998">
                        <c:v>90.72</c:v>
                      </c:pt>
                      <c:pt idx="999">
                        <c:v>90.72</c:v>
                      </c:pt>
                      <c:pt idx="1000">
                        <c:v>90.72</c:v>
                      </c:pt>
                      <c:pt idx="1001">
                        <c:v>90.72</c:v>
                      </c:pt>
                      <c:pt idx="1002">
                        <c:v>90.72</c:v>
                      </c:pt>
                      <c:pt idx="1003">
                        <c:v>90.72</c:v>
                      </c:pt>
                      <c:pt idx="1004">
                        <c:v>82.8</c:v>
                      </c:pt>
                      <c:pt idx="1005">
                        <c:v>82.8</c:v>
                      </c:pt>
                      <c:pt idx="1006">
                        <c:v>82.8</c:v>
                      </c:pt>
                      <c:pt idx="1007">
                        <c:v>82.8</c:v>
                      </c:pt>
                      <c:pt idx="1008">
                        <c:v>82.8</c:v>
                      </c:pt>
                      <c:pt idx="1009">
                        <c:v>82.8</c:v>
                      </c:pt>
                      <c:pt idx="1010">
                        <c:v>82.8</c:v>
                      </c:pt>
                      <c:pt idx="1011">
                        <c:v>82.8</c:v>
                      </c:pt>
                      <c:pt idx="1012">
                        <c:v>82.8</c:v>
                      </c:pt>
                      <c:pt idx="1013">
                        <c:v>82.8</c:v>
                      </c:pt>
                      <c:pt idx="1014">
                        <c:v>82.8</c:v>
                      </c:pt>
                      <c:pt idx="1015">
                        <c:v>82.8</c:v>
                      </c:pt>
                      <c:pt idx="1016">
                        <c:v>82.8</c:v>
                      </c:pt>
                      <c:pt idx="1017">
                        <c:v>82.8</c:v>
                      </c:pt>
                      <c:pt idx="1018">
                        <c:v>82.8</c:v>
                      </c:pt>
                      <c:pt idx="1019">
                        <c:v>82.8</c:v>
                      </c:pt>
                      <c:pt idx="1020">
                        <c:v>82.8</c:v>
                      </c:pt>
                      <c:pt idx="1021">
                        <c:v>82.8</c:v>
                      </c:pt>
                      <c:pt idx="1022">
                        <c:v>82.8</c:v>
                      </c:pt>
                      <c:pt idx="1023">
                        <c:v>82.8</c:v>
                      </c:pt>
                      <c:pt idx="1024">
                        <c:v>82.8</c:v>
                      </c:pt>
                      <c:pt idx="1025">
                        <c:v>82.8</c:v>
                      </c:pt>
                      <c:pt idx="1026">
                        <c:v>82.8</c:v>
                      </c:pt>
                      <c:pt idx="1027">
                        <c:v>82.8</c:v>
                      </c:pt>
                      <c:pt idx="1028">
                        <c:v>82.8</c:v>
                      </c:pt>
                      <c:pt idx="1029">
                        <c:v>82.8</c:v>
                      </c:pt>
                      <c:pt idx="1030">
                        <c:v>82.8</c:v>
                      </c:pt>
                      <c:pt idx="1031">
                        <c:v>82.8</c:v>
                      </c:pt>
                      <c:pt idx="1032">
                        <c:v>82.8</c:v>
                      </c:pt>
                      <c:pt idx="1033">
                        <c:v>82.8</c:v>
                      </c:pt>
                      <c:pt idx="1034">
                        <c:v>82.8</c:v>
                      </c:pt>
                      <c:pt idx="1035">
                        <c:v>82.8</c:v>
                      </c:pt>
                      <c:pt idx="1036">
                        <c:v>82.8</c:v>
                      </c:pt>
                      <c:pt idx="1037">
                        <c:v>82.8</c:v>
                      </c:pt>
                      <c:pt idx="1038">
                        <c:v>82.8</c:v>
                      </c:pt>
                      <c:pt idx="1039">
                        <c:v>82.8</c:v>
                      </c:pt>
                      <c:pt idx="1040">
                        <c:v>82.8</c:v>
                      </c:pt>
                      <c:pt idx="1041">
                        <c:v>82.8</c:v>
                      </c:pt>
                      <c:pt idx="1042">
                        <c:v>82.8</c:v>
                      </c:pt>
                      <c:pt idx="1043">
                        <c:v>82.8</c:v>
                      </c:pt>
                      <c:pt idx="1044">
                        <c:v>82.8</c:v>
                      </c:pt>
                      <c:pt idx="1045">
                        <c:v>82.8</c:v>
                      </c:pt>
                      <c:pt idx="1046">
                        <c:v>82.8</c:v>
                      </c:pt>
                      <c:pt idx="1047">
                        <c:v>82.8</c:v>
                      </c:pt>
                      <c:pt idx="1048">
                        <c:v>82.8</c:v>
                      </c:pt>
                      <c:pt idx="1049">
                        <c:v>82.8</c:v>
                      </c:pt>
                      <c:pt idx="1050">
                        <c:v>82.8</c:v>
                      </c:pt>
                      <c:pt idx="1051">
                        <c:v>82.8</c:v>
                      </c:pt>
                      <c:pt idx="1052">
                        <c:v>82.8</c:v>
                      </c:pt>
                      <c:pt idx="1053">
                        <c:v>82.8</c:v>
                      </c:pt>
                      <c:pt idx="1054">
                        <c:v>82.8</c:v>
                      </c:pt>
                      <c:pt idx="1055">
                        <c:v>82.8</c:v>
                      </c:pt>
                      <c:pt idx="1056">
                        <c:v>82.8</c:v>
                      </c:pt>
                      <c:pt idx="1057">
                        <c:v>82.8</c:v>
                      </c:pt>
                      <c:pt idx="1058">
                        <c:v>82.8</c:v>
                      </c:pt>
                      <c:pt idx="1059">
                        <c:v>82.8</c:v>
                      </c:pt>
                      <c:pt idx="1060">
                        <c:v>82.8</c:v>
                      </c:pt>
                      <c:pt idx="1061">
                        <c:v>82.8</c:v>
                      </c:pt>
                      <c:pt idx="1062">
                        <c:v>82.8</c:v>
                      </c:pt>
                      <c:pt idx="1063">
                        <c:v>82.8</c:v>
                      </c:pt>
                      <c:pt idx="1064">
                        <c:v>82.8</c:v>
                      </c:pt>
                      <c:pt idx="1065">
                        <c:v>82.8</c:v>
                      </c:pt>
                      <c:pt idx="1066">
                        <c:v>82.8</c:v>
                      </c:pt>
                      <c:pt idx="1067">
                        <c:v>82.8</c:v>
                      </c:pt>
                      <c:pt idx="1068">
                        <c:v>82.8</c:v>
                      </c:pt>
                      <c:pt idx="1069">
                        <c:v>82.8</c:v>
                      </c:pt>
                      <c:pt idx="1070">
                        <c:v>82.8</c:v>
                      </c:pt>
                      <c:pt idx="1071">
                        <c:v>82.8</c:v>
                      </c:pt>
                      <c:pt idx="1072">
                        <c:v>82.8</c:v>
                      </c:pt>
                      <c:pt idx="1073">
                        <c:v>82.8</c:v>
                      </c:pt>
                      <c:pt idx="1074">
                        <c:v>82.8</c:v>
                      </c:pt>
                      <c:pt idx="1075">
                        <c:v>82.8</c:v>
                      </c:pt>
                      <c:pt idx="1076">
                        <c:v>82.8</c:v>
                      </c:pt>
                      <c:pt idx="1077">
                        <c:v>82.8</c:v>
                      </c:pt>
                      <c:pt idx="1078">
                        <c:v>82.8</c:v>
                      </c:pt>
                      <c:pt idx="1079">
                        <c:v>82.8</c:v>
                      </c:pt>
                      <c:pt idx="1080">
                        <c:v>82.8</c:v>
                      </c:pt>
                      <c:pt idx="1081">
                        <c:v>82.8</c:v>
                      </c:pt>
                      <c:pt idx="1082">
                        <c:v>82.8</c:v>
                      </c:pt>
                      <c:pt idx="1083">
                        <c:v>82.8</c:v>
                      </c:pt>
                      <c:pt idx="1084">
                        <c:v>82.8</c:v>
                      </c:pt>
                      <c:pt idx="1085">
                        <c:v>82.8</c:v>
                      </c:pt>
                      <c:pt idx="1086">
                        <c:v>82.8</c:v>
                      </c:pt>
                      <c:pt idx="1087">
                        <c:v>82.8</c:v>
                      </c:pt>
                      <c:pt idx="1088">
                        <c:v>82.8</c:v>
                      </c:pt>
                      <c:pt idx="1089">
                        <c:v>82.8</c:v>
                      </c:pt>
                      <c:pt idx="1090">
                        <c:v>82.8</c:v>
                      </c:pt>
                      <c:pt idx="1091">
                        <c:v>82.8</c:v>
                      </c:pt>
                      <c:pt idx="1092">
                        <c:v>82.8</c:v>
                      </c:pt>
                      <c:pt idx="1093">
                        <c:v>82.8</c:v>
                      </c:pt>
                      <c:pt idx="1094">
                        <c:v>82.8</c:v>
                      </c:pt>
                      <c:pt idx="1095">
                        <c:v>82.8</c:v>
                      </c:pt>
                      <c:pt idx="1096">
                        <c:v>82.8</c:v>
                      </c:pt>
                      <c:pt idx="1097">
                        <c:v>82.8</c:v>
                      </c:pt>
                      <c:pt idx="1098">
                        <c:v>82.8</c:v>
                      </c:pt>
                      <c:pt idx="1099">
                        <c:v>82.8</c:v>
                      </c:pt>
                      <c:pt idx="1100">
                        <c:v>82.8</c:v>
                      </c:pt>
                      <c:pt idx="1101">
                        <c:v>82.8</c:v>
                      </c:pt>
                      <c:pt idx="1102">
                        <c:v>82.8</c:v>
                      </c:pt>
                      <c:pt idx="1103">
                        <c:v>82.8</c:v>
                      </c:pt>
                      <c:pt idx="1104">
                        <c:v>82.8</c:v>
                      </c:pt>
                      <c:pt idx="1105">
                        <c:v>82.8</c:v>
                      </c:pt>
                      <c:pt idx="1106">
                        <c:v>82.8</c:v>
                      </c:pt>
                      <c:pt idx="1107">
                        <c:v>82.8</c:v>
                      </c:pt>
                      <c:pt idx="1108">
                        <c:v>82.8</c:v>
                      </c:pt>
                      <c:pt idx="1109">
                        <c:v>82.8</c:v>
                      </c:pt>
                      <c:pt idx="1110">
                        <c:v>82.8</c:v>
                      </c:pt>
                      <c:pt idx="1111">
                        <c:v>82.8</c:v>
                      </c:pt>
                      <c:pt idx="1112">
                        <c:v>82.8</c:v>
                      </c:pt>
                      <c:pt idx="1113">
                        <c:v>82.8</c:v>
                      </c:pt>
                      <c:pt idx="1114">
                        <c:v>82.8</c:v>
                      </c:pt>
                      <c:pt idx="1115">
                        <c:v>82.8</c:v>
                      </c:pt>
                      <c:pt idx="1116">
                        <c:v>82.8</c:v>
                      </c:pt>
                      <c:pt idx="1117">
                        <c:v>82.8</c:v>
                      </c:pt>
                      <c:pt idx="1118">
                        <c:v>82.8</c:v>
                      </c:pt>
                      <c:pt idx="1119">
                        <c:v>82.8</c:v>
                      </c:pt>
                      <c:pt idx="1120">
                        <c:v>82.8</c:v>
                      </c:pt>
                      <c:pt idx="1121">
                        <c:v>82.8</c:v>
                      </c:pt>
                      <c:pt idx="1122">
                        <c:v>82.8</c:v>
                      </c:pt>
                      <c:pt idx="1123">
                        <c:v>82.8</c:v>
                      </c:pt>
                      <c:pt idx="1124">
                        <c:v>82.8</c:v>
                      </c:pt>
                      <c:pt idx="1125">
                        <c:v>82.8</c:v>
                      </c:pt>
                      <c:pt idx="1126">
                        <c:v>82.8</c:v>
                      </c:pt>
                      <c:pt idx="1127">
                        <c:v>82.8</c:v>
                      </c:pt>
                      <c:pt idx="1128">
                        <c:v>82.8</c:v>
                      </c:pt>
                      <c:pt idx="1129">
                        <c:v>82.8</c:v>
                      </c:pt>
                      <c:pt idx="1130">
                        <c:v>82.8</c:v>
                      </c:pt>
                      <c:pt idx="1131">
                        <c:v>82.8</c:v>
                      </c:pt>
                      <c:pt idx="1132">
                        <c:v>82.8</c:v>
                      </c:pt>
                      <c:pt idx="1133">
                        <c:v>82.8</c:v>
                      </c:pt>
                      <c:pt idx="1134">
                        <c:v>82.8</c:v>
                      </c:pt>
                      <c:pt idx="1135">
                        <c:v>82.8</c:v>
                      </c:pt>
                      <c:pt idx="1136">
                        <c:v>82.8</c:v>
                      </c:pt>
                      <c:pt idx="1137">
                        <c:v>82.8</c:v>
                      </c:pt>
                      <c:pt idx="1138">
                        <c:v>82.8</c:v>
                      </c:pt>
                      <c:pt idx="1139">
                        <c:v>82.8</c:v>
                      </c:pt>
                      <c:pt idx="1140">
                        <c:v>82.8</c:v>
                      </c:pt>
                      <c:pt idx="1141">
                        <c:v>82.8</c:v>
                      </c:pt>
                      <c:pt idx="1142">
                        <c:v>82.8</c:v>
                      </c:pt>
                      <c:pt idx="1143">
                        <c:v>82.8</c:v>
                      </c:pt>
                      <c:pt idx="1144">
                        <c:v>82.8</c:v>
                      </c:pt>
                      <c:pt idx="1145">
                        <c:v>82.8</c:v>
                      </c:pt>
                      <c:pt idx="1146">
                        <c:v>82.8</c:v>
                      </c:pt>
                      <c:pt idx="1147">
                        <c:v>82.8</c:v>
                      </c:pt>
                      <c:pt idx="1148">
                        <c:v>82.8</c:v>
                      </c:pt>
                      <c:pt idx="1149">
                        <c:v>82.8</c:v>
                      </c:pt>
                      <c:pt idx="1150">
                        <c:v>82.8</c:v>
                      </c:pt>
                      <c:pt idx="1151">
                        <c:v>82.8</c:v>
                      </c:pt>
                      <c:pt idx="1152">
                        <c:v>82.8</c:v>
                      </c:pt>
                      <c:pt idx="1153">
                        <c:v>82.8</c:v>
                      </c:pt>
                      <c:pt idx="1154">
                        <c:v>82.8</c:v>
                      </c:pt>
                      <c:pt idx="1155">
                        <c:v>82.8</c:v>
                      </c:pt>
                      <c:pt idx="1156">
                        <c:v>82.8</c:v>
                      </c:pt>
                      <c:pt idx="1157">
                        <c:v>82.8</c:v>
                      </c:pt>
                      <c:pt idx="1158">
                        <c:v>82.8</c:v>
                      </c:pt>
                      <c:pt idx="1159">
                        <c:v>82.8</c:v>
                      </c:pt>
                      <c:pt idx="1160">
                        <c:v>82.8</c:v>
                      </c:pt>
                      <c:pt idx="1161">
                        <c:v>82.8</c:v>
                      </c:pt>
                      <c:pt idx="1162">
                        <c:v>82.8</c:v>
                      </c:pt>
                      <c:pt idx="1163">
                        <c:v>82.8</c:v>
                      </c:pt>
                      <c:pt idx="1164">
                        <c:v>82.8</c:v>
                      </c:pt>
                      <c:pt idx="1165">
                        <c:v>82.8</c:v>
                      </c:pt>
                      <c:pt idx="1166">
                        <c:v>82.8</c:v>
                      </c:pt>
                      <c:pt idx="1167">
                        <c:v>82.8</c:v>
                      </c:pt>
                      <c:pt idx="1168">
                        <c:v>82.8</c:v>
                      </c:pt>
                      <c:pt idx="1169">
                        <c:v>82.8</c:v>
                      </c:pt>
                      <c:pt idx="1170">
                        <c:v>82.8</c:v>
                      </c:pt>
                      <c:pt idx="1171">
                        <c:v>82.8</c:v>
                      </c:pt>
                      <c:pt idx="1172">
                        <c:v>82.8</c:v>
                      </c:pt>
                      <c:pt idx="1173">
                        <c:v>82.8</c:v>
                      </c:pt>
                      <c:pt idx="1174">
                        <c:v>82.8</c:v>
                      </c:pt>
                      <c:pt idx="1175">
                        <c:v>82.8</c:v>
                      </c:pt>
                      <c:pt idx="1176">
                        <c:v>82.8</c:v>
                      </c:pt>
                      <c:pt idx="1177">
                        <c:v>82.8</c:v>
                      </c:pt>
                      <c:pt idx="1178">
                        <c:v>82.8</c:v>
                      </c:pt>
                      <c:pt idx="1179">
                        <c:v>82.8</c:v>
                      </c:pt>
                      <c:pt idx="1180">
                        <c:v>82.8</c:v>
                      </c:pt>
                      <c:pt idx="1181">
                        <c:v>82.8</c:v>
                      </c:pt>
                      <c:pt idx="1182">
                        <c:v>82.8</c:v>
                      </c:pt>
                      <c:pt idx="1183">
                        <c:v>82.8</c:v>
                      </c:pt>
                      <c:pt idx="1184">
                        <c:v>82.8</c:v>
                      </c:pt>
                      <c:pt idx="1185">
                        <c:v>82.8</c:v>
                      </c:pt>
                      <c:pt idx="1186">
                        <c:v>90.72</c:v>
                      </c:pt>
                      <c:pt idx="1187">
                        <c:v>90.72</c:v>
                      </c:pt>
                      <c:pt idx="1188">
                        <c:v>90.72</c:v>
                      </c:pt>
                      <c:pt idx="1189">
                        <c:v>90.72</c:v>
                      </c:pt>
                      <c:pt idx="1190">
                        <c:v>90.72</c:v>
                      </c:pt>
                      <c:pt idx="1191">
                        <c:v>90.72</c:v>
                      </c:pt>
                      <c:pt idx="1192">
                        <c:v>90.72</c:v>
                      </c:pt>
                      <c:pt idx="1193">
                        <c:v>90.72</c:v>
                      </c:pt>
                      <c:pt idx="1194">
                        <c:v>90.72</c:v>
                      </c:pt>
                      <c:pt idx="1195">
                        <c:v>90.72</c:v>
                      </c:pt>
                      <c:pt idx="1196">
                        <c:v>90.72</c:v>
                      </c:pt>
                      <c:pt idx="1197">
                        <c:v>90.72</c:v>
                      </c:pt>
                      <c:pt idx="1198">
                        <c:v>90.72</c:v>
                      </c:pt>
                      <c:pt idx="1199">
                        <c:v>90.72</c:v>
                      </c:pt>
                      <c:pt idx="1200">
                        <c:v>90.72</c:v>
                      </c:pt>
                      <c:pt idx="1201">
                        <c:v>90.72</c:v>
                      </c:pt>
                      <c:pt idx="1202">
                        <c:v>90.72</c:v>
                      </c:pt>
                      <c:pt idx="1203">
                        <c:v>90.72</c:v>
                      </c:pt>
                      <c:pt idx="1204">
                        <c:v>90.72</c:v>
                      </c:pt>
                      <c:pt idx="1205">
                        <c:v>90.72</c:v>
                      </c:pt>
                      <c:pt idx="1206">
                        <c:v>90.72</c:v>
                      </c:pt>
                      <c:pt idx="1207">
                        <c:v>90.72</c:v>
                      </c:pt>
                      <c:pt idx="1208">
                        <c:v>90.72</c:v>
                      </c:pt>
                      <c:pt idx="1209">
                        <c:v>90.72</c:v>
                      </c:pt>
                      <c:pt idx="1210">
                        <c:v>90.72</c:v>
                      </c:pt>
                      <c:pt idx="1211">
                        <c:v>90.72</c:v>
                      </c:pt>
                      <c:pt idx="1212">
                        <c:v>90.72</c:v>
                      </c:pt>
                      <c:pt idx="1213">
                        <c:v>90.72</c:v>
                      </c:pt>
                      <c:pt idx="1214">
                        <c:v>90.72</c:v>
                      </c:pt>
                      <c:pt idx="1215">
                        <c:v>90.72</c:v>
                      </c:pt>
                      <c:pt idx="1216">
                        <c:v>90.72</c:v>
                      </c:pt>
                      <c:pt idx="1217">
                        <c:v>90.72</c:v>
                      </c:pt>
                      <c:pt idx="1218">
                        <c:v>90.72</c:v>
                      </c:pt>
                      <c:pt idx="1219">
                        <c:v>90.72</c:v>
                      </c:pt>
                      <c:pt idx="1220">
                        <c:v>90.72</c:v>
                      </c:pt>
                      <c:pt idx="1221">
                        <c:v>90.72</c:v>
                      </c:pt>
                      <c:pt idx="1222">
                        <c:v>90.72</c:v>
                      </c:pt>
                      <c:pt idx="1223">
                        <c:v>90.72</c:v>
                      </c:pt>
                      <c:pt idx="1224">
                        <c:v>90.72</c:v>
                      </c:pt>
                      <c:pt idx="1225">
                        <c:v>90.72</c:v>
                      </c:pt>
                      <c:pt idx="1226">
                        <c:v>90.72</c:v>
                      </c:pt>
                      <c:pt idx="1227">
                        <c:v>90.72</c:v>
                      </c:pt>
                      <c:pt idx="1228">
                        <c:v>90.72</c:v>
                      </c:pt>
                      <c:pt idx="1229">
                        <c:v>90.72</c:v>
                      </c:pt>
                      <c:pt idx="1230">
                        <c:v>90.72</c:v>
                      </c:pt>
                      <c:pt idx="1231">
                        <c:v>90.72</c:v>
                      </c:pt>
                      <c:pt idx="1232">
                        <c:v>90.72</c:v>
                      </c:pt>
                      <c:pt idx="1233">
                        <c:v>90.72</c:v>
                      </c:pt>
                      <c:pt idx="1234">
                        <c:v>90.72</c:v>
                      </c:pt>
                      <c:pt idx="1235">
                        <c:v>90.72</c:v>
                      </c:pt>
                      <c:pt idx="1236">
                        <c:v>90.72</c:v>
                      </c:pt>
                      <c:pt idx="1237">
                        <c:v>90.72</c:v>
                      </c:pt>
                      <c:pt idx="1238">
                        <c:v>90.72</c:v>
                      </c:pt>
                      <c:pt idx="1239">
                        <c:v>90.72</c:v>
                      </c:pt>
                      <c:pt idx="1240">
                        <c:v>90.72</c:v>
                      </c:pt>
                      <c:pt idx="1241">
                        <c:v>90.72</c:v>
                      </c:pt>
                      <c:pt idx="1242">
                        <c:v>90.72</c:v>
                      </c:pt>
                      <c:pt idx="1243">
                        <c:v>90.72</c:v>
                      </c:pt>
                      <c:pt idx="1244">
                        <c:v>90.72</c:v>
                      </c:pt>
                      <c:pt idx="1245">
                        <c:v>90.72</c:v>
                      </c:pt>
                      <c:pt idx="1246">
                        <c:v>90.72</c:v>
                      </c:pt>
                      <c:pt idx="1247">
                        <c:v>90.72</c:v>
                      </c:pt>
                      <c:pt idx="1248">
                        <c:v>90.72</c:v>
                      </c:pt>
                      <c:pt idx="1249">
                        <c:v>90.72</c:v>
                      </c:pt>
                      <c:pt idx="1250">
                        <c:v>90.72</c:v>
                      </c:pt>
                      <c:pt idx="1251">
                        <c:v>90.7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B899-43FB-9B00-42D97902B992}"/>
                  </c:ext>
                </c:extLst>
              </c15:ser>
            </c15:filteredLineSeries>
            <c15:filteredLineSeries>
              <c15:ser>
                <c:idx val="1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DK udtræk og injicering'!$F$11</c15:sqref>
                        </c15:formulaRef>
                      </c:ext>
                    </c:extLst>
                    <c:strCache>
                      <c:ptCount val="1"/>
                      <c:pt idx="0">
                        <c:v>Nettoinjicering</c:v>
                      </c:pt>
                    </c:strCache>
                  </c:strRef>
                </c:tx>
                <c:spPr>
                  <a:ln w="19050">
                    <a:solidFill>
                      <a:sysClr val="windowText" lastClr="000000"/>
                    </a:solidFill>
                  </a:ln>
                </c:spPr>
                <c:marker>
                  <c:symbol val="none"/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DK udtræk og injicering'!$F$4276:$F$4640</c15:sqref>
                        </c15:formulaRef>
                      </c:ext>
                    </c:extLst>
                    <c:numCache>
                      <c:formatCode>_ * #,##0_ ;_ * \-#,##0_ ;_ * "-"??_ ;_ @_ </c:formatCode>
                      <c:ptCount val="365"/>
                      <c:pt idx="0">
                        <c:v>-60.320064000000002</c:v>
                      </c:pt>
                      <c:pt idx="1">
                        <c:v>-115.85307</c:v>
                      </c:pt>
                      <c:pt idx="2">
                        <c:v>-89.120170000000002</c:v>
                      </c:pt>
                      <c:pt idx="3">
                        <c:v>-26.225163000000002</c:v>
                      </c:pt>
                      <c:pt idx="4">
                        <c:v>-4.5879839999999987</c:v>
                      </c:pt>
                      <c:pt idx="5">
                        <c:v>-41.924801000000002</c:v>
                      </c:pt>
                      <c:pt idx="6">
                        <c:v>-99.640585000000002</c:v>
                      </c:pt>
                      <c:pt idx="7">
                        <c:v>-139.254592</c:v>
                      </c:pt>
                      <c:pt idx="8">
                        <c:v>-139.05436700000001</c:v>
                      </c:pt>
                      <c:pt idx="9">
                        <c:v>-138.99947299999999</c:v>
                      </c:pt>
                      <c:pt idx="10">
                        <c:v>-109.53895799999999</c:v>
                      </c:pt>
                      <c:pt idx="11">
                        <c:v>-79.521524999999997</c:v>
                      </c:pt>
                      <c:pt idx="12">
                        <c:v>-72.422919000000007</c:v>
                      </c:pt>
                      <c:pt idx="13">
                        <c:v>-96.898685</c:v>
                      </c:pt>
                      <c:pt idx="14">
                        <c:v>-68.578891999999996</c:v>
                      </c:pt>
                      <c:pt idx="15">
                        <c:v>-59.026628000000002</c:v>
                      </c:pt>
                      <c:pt idx="16">
                        <c:v>-83.044832999999997</c:v>
                      </c:pt>
                      <c:pt idx="17">
                        <c:v>-112.368264</c:v>
                      </c:pt>
                      <c:pt idx="18">
                        <c:v>-91.074289999999991</c:v>
                      </c:pt>
                      <c:pt idx="19">
                        <c:v>-84.690740000000005</c:v>
                      </c:pt>
                      <c:pt idx="20">
                        <c:v>-89.437556000000001</c:v>
                      </c:pt>
                      <c:pt idx="21">
                        <c:v>-65.363728999999992</c:v>
                      </c:pt>
                      <c:pt idx="22">
                        <c:v>-71.506417999999996</c:v>
                      </c:pt>
                      <c:pt idx="23">
                        <c:v>-81.337500000000006</c:v>
                      </c:pt>
                      <c:pt idx="24">
                        <c:v>-70.139627000000004</c:v>
                      </c:pt>
                      <c:pt idx="25">
                        <c:v>-57.003980000000006</c:v>
                      </c:pt>
                      <c:pt idx="26">
                        <c:v>-46.021988999999998</c:v>
                      </c:pt>
                      <c:pt idx="27">
                        <c:v>-69.396092999999993</c:v>
                      </c:pt>
                      <c:pt idx="28">
                        <c:v>-70.744170000000011</c:v>
                      </c:pt>
                      <c:pt idx="29">
                        <c:v>-45.200100000000006</c:v>
                      </c:pt>
                      <c:pt idx="30">
                        <c:v>-62.783392999999997</c:v>
                      </c:pt>
                      <c:pt idx="31">
                        <c:v>-46.172608999999994</c:v>
                      </c:pt>
                      <c:pt idx="32">
                        <c:v>-17.692036999999999</c:v>
                      </c:pt>
                      <c:pt idx="33">
                        <c:v>-10.940331</c:v>
                      </c:pt>
                      <c:pt idx="34">
                        <c:v>-40.792258000000004</c:v>
                      </c:pt>
                      <c:pt idx="35">
                        <c:v>-34.461786000000004</c:v>
                      </c:pt>
                      <c:pt idx="36">
                        <c:v>-40.776863000000006</c:v>
                      </c:pt>
                      <c:pt idx="37">
                        <c:v>-32.167521000000001</c:v>
                      </c:pt>
                      <c:pt idx="38">
                        <c:v>-9.473509</c:v>
                      </c:pt>
                      <c:pt idx="39">
                        <c:v>17.132488999999996</c:v>
                      </c:pt>
                      <c:pt idx="40">
                        <c:v>4.9627279999999985</c:v>
                      </c:pt>
                      <c:pt idx="41">
                        <c:v>-60.085599999999999</c:v>
                      </c:pt>
                      <c:pt idx="42">
                        <c:v>-54.581843999999997</c:v>
                      </c:pt>
                      <c:pt idx="43">
                        <c:v>-51.060184</c:v>
                      </c:pt>
                      <c:pt idx="44">
                        <c:v>-39.479324000000005</c:v>
                      </c:pt>
                      <c:pt idx="45">
                        <c:v>-10.781916000000001</c:v>
                      </c:pt>
                      <c:pt idx="46">
                        <c:v>13.646818000000001</c:v>
                      </c:pt>
                      <c:pt idx="47">
                        <c:v>13.641036000000001</c:v>
                      </c:pt>
                      <c:pt idx="48">
                        <c:v>2.6695090000000015</c:v>
                      </c:pt>
                      <c:pt idx="49">
                        <c:v>14.576857</c:v>
                      </c:pt>
                      <c:pt idx="50">
                        <c:v>4.5110340000000022</c:v>
                      </c:pt>
                      <c:pt idx="51">
                        <c:v>-8.1558450000000029</c:v>
                      </c:pt>
                      <c:pt idx="52">
                        <c:v>-43.348800999999995</c:v>
                      </c:pt>
                      <c:pt idx="53">
                        <c:v>-35.846527000000002</c:v>
                      </c:pt>
                      <c:pt idx="54">
                        <c:v>-22.184251</c:v>
                      </c:pt>
                      <c:pt idx="55">
                        <c:v>-10.655750000000001</c:v>
                      </c:pt>
                      <c:pt idx="56">
                        <c:v>-11.454148999999999</c:v>
                      </c:pt>
                      <c:pt idx="57">
                        <c:v>7.1496909999999971</c:v>
                      </c:pt>
                      <c:pt idx="58">
                        <c:v>-18.984521000000001</c:v>
                      </c:pt>
                      <c:pt idx="59">
                        <c:v>15.515683999999997</c:v>
                      </c:pt>
                      <c:pt idx="60">
                        <c:v>-4.3636440000000007</c:v>
                      </c:pt>
                      <c:pt idx="61">
                        <c:v>15.363803000000001</c:v>
                      </c:pt>
                      <c:pt idx="62">
                        <c:v>18.743287999999996</c:v>
                      </c:pt>
                      <c:pt idx="63">
                        <c:v>16.573734000000002</c:v>
                      </c:pt>
                      <c:pt idx="64">
                        <c:v>-14.815003999999998</c:v>
                      </c:pt>
                      <c:pt idx="65">
                        <c:v>-28.171928999999995</c:v>
                      </c:pt>
                      <c:pt idx="66">
                        <c:v>-13.735690000000002</c:v>
                      </c:pt>
                      <c:pt idx="67">
                        <c:v>-2.4655629999999995</c:v>
                      </c:pt>
                      <c:pt idx="68">
                        <c:v>-3.0413899999999998</c:v>
                      </c:pt>
                      <c:pt idx="69">
                        <c:v>-49.565548000000007</c:v>
                      </c:pt>
                      <c:pt idx="70">
                        <c:v>-36.242811000000003</c:v>
                      </c:pt>
                      <c:pt idx="71">
                        <c:v>-17.901982</c:v>
                      </c:pt>
                      <c:pt idx="72">
                        <c:v>-33.409264</c:v>
                      </c:pt>
                      <c:pt idx="73">
                        <c:v>-33.059785999999995</c:v>
                      </c:pt>
                      <c:pt idx="74">
                        <c:v>-16.350999999999999</c:v>
                      </c:pt>
                      <c:pt idx="75">
                        <c:v>-4.2739999999999974</c:v>
                      </c:pt>
                      <c:pt idx="76">
                        <c:v>-18.076999999999998</c:v>
                      </c:pt>
                      <c:pt idx="77">
                        <c:v>-26.648</c:v>
                      </c:pt>
                      <c:pt idx="78">
                        <c:v>-44.778000000000006</c:v>
                      </c:pt>
                      <c:pt idx="79">
                        <c:v>10.658999999999999</c:v>
                      </c:pt>
                      <c:pt idx="80">
                        <c:v>19.440999999999999</c:v>
                      </c:pt>
                      <c:pt idx="81">
                        <c:v>20.311</c:v>
                      </c:pt>
                      <c:pt idx="82">
                        <c:v>17.872</c:v>
                      </c:pt>
                      <c:pt idx="83">
                        <c:v>-12.716000000000001</c:v>
                      </c:pt>
                      <c:pt idx="84">
                        <c:v>4.6850000000000023</c:v>
                      </c:pt>
                      <c:pt idx="85">
                        <c:v>9.7390000000000008</c:v>
                      </c:pt>
                      <c:pt idx="86">
                        <c:v>6.5219999999999985</c:v>
                      </c:pt>
                      <c:pt idx="87">
                        <c:v>56.323999999999998</c:v>
                      </c:pt>
                      <c:pt idx="88">
                        <c:v>21.23</c:v>
                      </c:pt>
                      <c:pt idx="89">
                        <c:v>23.234000000000002</c:v>
                      </c:pt>
                      <c:pt idx="90">
                        <c:v>-17.422000000000004</c:v>
                      </c:pt>
                      <c:pt idx="91">
                        <c:v>10.854000000000003</c:v>
                      </c:pt>
                      <c:pt idx="92">
                        <c:v>-22.818000000000001</c:v>
                      </c:pt>
                      <c:pt idx="93">
                        <c:v>-43.485999999999997</c:v>
                      </c:pt>
                      <c:pt idx="94">
                        <c:v>21.790999999999997</c:v>
                      </c:pt>
                      <c:pt idx="95">
                        <c:v>62.835999999999991</c:v>
                      </c:pt>
                      <c:pt idx="96">
                        <c:v>35.498000000000005</c:v>
                      </c:pt>
                      <c:pt idx="97">
                        <c:v>21.955000000000002</c:v>
                      </c:pt>
                      <c:pt idx="98">
                        <c:v>-0.5210000000000008</c:v>
                      </c:pt>
                      <c:pt idx="99">
                        <c:v>1.4830000000000005</c:v>
                      </c:pt>
                      <c:pt idx="100">
                        <c:v>27.686</c:v>
                      </c:pt>
                      <c:pt idx="101">
                        <c:v>-7.2560000000000002</c:v>
                      </c:pt>
                      <c:pt idx="102">
                        <c:v>34.079000000000001</c:v>
                      </c:pt>
                      <c:pt idx="103">
                        <c:v>35.923000000000002</c:v>
                      </c:pt>
                      <c:pt idx="104">
                        <c:v>29.184999999999995</c:v>
                      </c:pt>
                      <c:pt idx="105">
                        <c:v>66.373000000000005</c:v>
                      </c:pt>
                      <c:pt idx="106">
                        <c:v>43.78</c:v>
                      </c:pt>
                      <c:pt idx="107">
                        <c:v>23.361999999999995</c:v>
                      </c:pt>
                      <c:pt idx="108">
                        <c:v>55.216999999999999</c:v>
                      </c:pt>
                      <c:pt idx="109">
                        <c:v>57.955999999999996</c:v>
                      </c:pt>
                      <c:pt idx="110">
                        <c:v>60.601000000000006</c:v>
                      </c:pt>
                      <c:pt idx="111">
                        <c:v>64.527999999999992</c:v>
                      </c:pt>
                      <c:pt idx="112">
                        <c:v>1.3300000000000054</c:v>
                      </c:pt>
                      <c:pt idx="113">
                        <c:v>26.317</c:v>
                      </c:pt>
                      <c:pt idx="114">
                        <c:v>15.623000000000001</c:v>
                      </c:pt>
                      <c:pt idx="115">
                        <c:v>2.8490000000000002</c:v>
                      </c:pt>
                      <c:pt idx="116">
                        <c:v>33.697000000000003</c:v>
                      </c:pt>
                      <c:pt idx="117">
                        <c:v>69.292000000000002</c:v>
                      </c:pt>
                      <c:pt idx="118">
                        <c:v>20.716000000000001</c:v>
                      </c:pt>
                      <c:pt idx="119">
                        <c:v>36.516000000000005</c:v>
                      </c:pt>
                      <c:pt idx="120">
                        <c:v>60.471000000000004</c:v>
                      </c:pt>
                      <c:pt idx="121">
                        <c:v>44.67</c:v>
                      </c:pt>
                      <c:pt idx="122">
                        <c:v>52.822000000000003</c:v>
                      </c:pt>
                      <c:pt idx="123">
                        <c:v>44.430999999999997</c:v>
                      </c:pt>
                      <c:pt idx="124">
                        <c:v>51.662999999999997</c:v>
                      </c:pt>
                      <c:pt idx="125">
                        <c:v>12.722999999999999</c:v>
                      </c:pt>
                      <c:pt idx="126">
                        <c:v>22.055</c:v>
                      </c:pt>
                      <c:pt idx="127">
                        <c:v>10.123000000000001</c:v>
                      </c:pt>
                      <c:pt idx="128">
                        <c:v>22.08</c:v>
                      </c:pt>
                      <c:pt idx="129">
                        <c:v>27.035</c:v>
                      </c:pt>
                      <c:pt idx="130">
                        <c:v>41.122999999999998</c:v>
                      </c:pt>
                      <c:pt idx="131">
                        <c:v>47.076000000000001</c:v>
                      </c:pt>
                      <c:pt idx="132">
                        <c:v>42.365000000000002</c:v>
                      </c:pt>
                      <c:pt idx="133">
                        <c:v>43.753</c:v>
                      </c:pt>
                      <c:pt idx="134">
                        <c:v>40.217000000000006</c:v>
                      </c:pt>
                      <c:pt idx="135">
                        <c:v>39.316000000000003</c:v>
                      </c:pt>
                      <c:pt idx="136">
                        <c:v>45.152000000000001</c:v>
                      </c:pt>
                      <c:pt idx="137">
                        <c:v>46.545000000000002</c:v>
                      </c:pt>
                      <c:pt idx="138">
                        <c:v>56.072000000000003</c:v>
                      </c:pt>
                      <c:pt idx="139">
                        <c:v>46.010000000000005</c:v>
                      </c:pt>
                      <c:pt idx="140">
                        <c:v>35.43</c:v>
                      </c:pt>
                      <c:pt idx="141">
                        <c:v>50.438000000000002</c:v>
                      </c:pt>
                      <c:pt idx="142">
                        <c:v>41.561</c:v>
                      </c:pt>
                      <c:pt idx="143">
                        <c:v>39.756999999999998</c:v>
                      </c:pt>
                      <c:pt idx="144">
                        <c:v>47.420999999999999</c:v>
                      </c:pt>
                      <c:pt idx="145">
                        <c:v>47.267000000000003</c:v>
                      </c:pt>
                      <c:pt idx="146">
                        <c:v>25.262</c:v>
                      </c:pt>
                      <c:pt idx="147">
                        <c:v>38.348999999999997</c:v>
                      </c:pt>
                      <c:pt idx="148">
                        <c:v>24.548000000000002</c:v>
                      </c:pt>
                      <c:pt idx="149">
                        <c:v>-48.466000000000001</c:v>
                      </c:pt>
                      <c:pt idx="150">
                        <c:v>23.616</c:v>
                      </c:pt>
                      <c:pt idx="151">
                        <c:v>57.999000000000002</c:v>
                      </c:pt>
                      <c:pt idx="152">
                        <c:v>66.706999999999994</c:v>
                      </c:pt>
                      <c:pt idx="153">
                        <c:v>61.447000000000003</c:v>
                      </c:pt>
                      <c:pt idx="154">
                        <c:v>57.830999999999996</c:v>
                      </c:pt>
                      <c:pt idx="155">
                        <c:v>27.749999999999996</c:v>
                      </c:pt>
                      <c:pt idx="156">
                        <c:v>58.911000000000001</c:v>
                      </c:pt>
                      <c:pt idx="157">
                        <c:v>44.548999999999999</c:v>
                      </c:pt>
                      <c:pt idx="158">
                        <c:v>55.249000000000002</c:v>
                      </c:pt>
                      <c:pt idx="159">
                        <c:v>60.808</c:v>
                      </c:pt>
                      <c:pt idx="160">
                        <c:v>59.262</c:v>
                      </c:pt>
                      <c:pt idx="161">
                        <c:v>32.349000000000004</c:v>
                      </c:pt>
                      <c:pt idx="162">
                        <c:v>40.829000000000001</c:v>
                      </c:pt>
                      <c:pt idx="163">
                        <c:v>50.492000000000004</c:v>
                      </c:pt>
                      <c:pt idx="164">
                        <c:v>24.893000000000001</c:v>
                      </c:pt>
                      <c:pt idx="165">
                        <c:v>56.092000000000006</c:v>
                      </c:pt>
                      <c:pt idx="166">
                        <c:v>69.878</c:v>
                      </c:pt>
                      <c:pt idx="167">
                        <c:v>56.563000000000002</c:v>
                      </c:pt>
                      <c:pt idx="168">
                        <c:v>31.648</c:v>
                      </c:pt>
                      <c:pt idx="169">
                        <c:v>6.147000000000002</c:v>
                      </c:pt>
                      <c:pt idx="170">
                        <c:v>59.312000000000005</c:v>
                      </c:pt>
                      <c:pt idx="171">
                        <c:v>55.981999999999999</c:v>
                      </c:pt>
                      <c:pt idx="172">
                        <c:v>35.406999999999996</c:v>
                      </c:pt>
                      <c:pt idx="173">
                        <c:v>31.376999999999999</c:v>
                      </c:pt>
                      <c:pt idx="174">
                        <c:v>11.45</c:v>
                      </c:pt>
                      <c:pt idx="175">
                        <c:v>45.381</c:v>
                      </c:pt>
                      <c:pt idx="176">
                        <c:v>23.758999999999997</c:v>
                      </c:pt>
                      <c:pt idx="177">
                        <c:v>-2.8149999999999977</c:v>
                      </c:pt>
                      <c:pt idx="178">
                        <c:v>20.889000000000003</c:v>
                      </c:pt>
                      <c:pt idx="179">
                        <c:v>53.444000000000003</c:v>
                      </c:pt>
                      <c:pt idx="180">
                        <c:v>20.242000000000001</c:v>
                      </c:pt>
                      <c:pt idx="181">
                        <c:v>44.931999999999995</c:v>
                      </c:pt>
                      <c:pt idx="182">
                        <c:v>29.39</c:v>
                      </c:pt>
                      <c:pt idx="183">
                        <c:v>14.471999999999998</c:v>
                      </c:pt>
                      <c:pt idx="184">
                        <c:v>36.266999999999996</c:v>
                      </c:pt>
                      <c:pt idx="185">
                        <c:v>43.24</c:v>
                      </c:pt>
                      <c:pt idx="186">
                        <c:v>39.188000000000002</c:v>
                      </c:pt>
                      <c:pt idx="187">
                        <c:v>46.547000000000004</c:v>
                      </c:pt>
                      <c:pt idx="188">
                        <c:v>7.7540000000000013</c:v>
                      </c:pt>
                      <c:pt idx="189">
                        <c:v>33.351999999999997</c:v>
                      </c:pt>
                      <c:pt idx="190">
                        <c:v>46.850999999999999</c:v>
                      </c:pt>
                      <c:pt idx="191">
                        <c:v>52.133000000000003</c:v>
                      </c:pt>
                      <c:pt idx="192">
                        <c:v>52.300999999999995</c:v>
                      </c:pt>
                      <c:pt idx="193">
                        <c:v>-23.856999999999999</c:v>
                      </c:pt>
                      <c:pt idx="194">
                        <c:v>9.4529999999999994</c:v>
                      </c:pt>
                      <c:pt idx="195">
                        <c:v>56.728999999999999</c:v>
                      </c:pt>
                      <c:pt idx="196">
                        <c:v>37.637</c:v>
                      </c:pt>
                      <c:pt idx="197">
                        <c:v>47.244999999999997</c:v>
                      </c:pt>
                      <c:pt idx="198">
                        <c:v>38.871000000000002</c:v>
                      </c:pt>
                      <c:pt idx="199">
                        <c:v>35.127000000000002</c:v>
                      </c:pt>
                      <c:pt idx="200">
                        <c:v>39.042999999999999</c:v>
                      </c:pt>
                      <c:pt idx="201">
                        <c:v>42.249000000000002</c:v>
                      </c:pt>
                      <c:pt idx="202">
                        <c:v>27.92</c:v>
                      </c:pt>
                      <c:pt idx="203">
                        <c:v>24.787999999999997</c:v>
                      </c:pt>
                      <c:pt idx="204">
                        <c:v>7.2800000000000011</c:v>
                      </c:pt>
                      <c:pt idx="205">
                        <c:v>44.488</c:v>
                      </c:pt>
                      <c:pt idx="206">
                        <c:v>0.12300000000000111</c:v>
                      </c:pt>
                      <c:pt idx="207">
                        <c:v>36.417999999999999</c:v>
                      </c:pt>
                      <c:pt idx="208">
                        <c:v>35.694000000000003</c:v>
                      </c:pt>
                      <c:pt idx="209">
                        <c:v>23.262999999999998</c:v>
                      </c:pt>
                      <c:pt idx="210">
                        <c:v>20.847999999999999</c:v>
                      </c:pt>
                      <c:pt idx="211">
                        <c:v>36.000999999999998</c:v>
                      </c:pt>
                      <c:pt idx="212">
                        <c:v>-19.850999999999999</c:v>
                      </c:pt>
                      <c:pt idx="213">
                        <c:v>-3.5039999999999996</c:v>
                      </c:pt>
                      <c:pt idx="214">
                        <c:v>6.7530000000000001</c:v>
                      </c:pt>
                      <c:pt idx="215">
                        <c:v>6.7519999999999998</c:v>
                      </c:pt>
                      <c:pt idx="216">
                        <c:v>8.8990000000000009</c:v>
                      </c:pt>
                      <c:pt idx="217">
                        <c:v>5.3039999999999994</c:v>
                      </c:pt>
                      <c:pt idx="218">
                        <c:v>14.476000000000001</c:v>
                      </c:pt>
                      <c:pt idx="219">
                        <c:v>16.571000000000002</c:v>
                      </c:pt>
                      <c:pt idx="220">
                        <c:v>18.587</c:v>
                      </c:pt>
                      <c:pt idx="221">
                        <c:v>35.979999999999997</c:v>
                      </c:pt>
                      <c:pt idx="222">
                        <c:v>34.194000000000003</c:v>
                      </c:pt>
                      <c:pt idx="223">
                        <c:v>28.541</c:v>
                      </c:pt>
                      <c:pt idx="224">
                        <c:v>18.533000000000001</c:v>
                      </c:pt>
                      <c:pt idx="225">
                        <c:v>23.274000000000001</c:v>
                      </c:pt>
                      <c:pt idx="226">
                        <c:v>18.138999999999999</c:v>
                      </c:pt>
                      <c:pt idx="227">
                        <c:v>27.039000000000001</c:v>
                      </c:pt>
                      <c:pt idx="228">
                        <c:v>19.483000000000001</c:v>
                      </c:pt>
                      <c:pt idx="229">
                        <c:v>18.376000000000001</c:v>
                      </c:pt>
                      <c:pt idx="230">
                        <c:v>25.954999999999998</c:v>
                      </c:pt>
                      <c:pt idx="231">
                        <c:v>13.659000000000001</c:v>
                      </c:pt>
                      <c:pt idx="232">
                        <c:v>2.8109999999999999</c:v>
                      </c:pt>
                      <c:pt idx="233">
                        <c:v>17.781000000000002</c:v>
                      </c:pt>
                      <c:pt idx="234">
                        <c:v>10.379999999999999</c:v>
                      </c:pt>
                      <c:pt idx="235">
                        <c:v>20.021999999999998</c:v>
                      </c:pt>
                      <c:pt idx="236">
                        <c:v>22.044999999999998</c:v>
                      </c:pt>
                      <c:pt idx="237">
                        <c:v>-8.4640000000000004</c:v>
                      </c:pt>
                      <c:pt idx="238">
                        <c:v>-7.3680000000000003</c:v>
                      </c:pt>
                      <c:pt idx="239">
                        <c:v>13.329000000000001</c:v>
                      </c:pt>
                      <c:pt idx="240">
                        <c:v>7.5549999999999997</c:v>
                      </c:pt>
                      <c:pt idx="241">
                        <c:v>7.1589999999999998</c:v>
                      </c:pt>
                      <c:pt idx="242">
                        <c:v>15.778</c:v>
                      </c:pt>
                      <c:pt idx="243">
                        <c:v>20.616</c:v>
                      </c:pt>
                      <c:pt idx="244">
                        <c:v>10.657999999999999</c:v>
                      </c:pt>
                      <c:pt idx="245">
                        <c:v>-3.3140000000000001</c:v>
                      </c:pt>
                      <c:pt idx="246">
                        <c:v>0.188</c:v>
                      </c:pt>
                      <c:pt idx="247">
                        <c:v>-11.042</c:v>
                      </c:pt>
                      <c:pt idx="248">
                        <c:v>-4.3360000000000003</c:v>
                      </c:pt>
                      <c:pt idx="249">
                        <c:v>-0.48899999999999988</c:v>
                      </c:pt>
                      <c:pt idx="250">
                        <c:v>-0.74699999999999989</c:v>
                      </c:pt>
                      <c:pt idx="251">
                        <c:v>-22.33</c:v>
                      </c:pt>
                      <c:pt idx="252">
                        <c:v>1.032</c:v>
                      </c:pt>
                      <c:pt idx="253">
                        <c:v>2.8139999999999996</c:v>
                      </c:pt>
                      <c:pt idx="254">
                        <c:v>-5.0000000000000711E-2</c:v>
                      </c:pt>
                      <c:pt idx="255">
                        <c:v>-1.0580000000000007</c:v>
                      </c:pt>
                      <c:pt idx="256">
                        <c:v>9.923</c:v>
                      </c:pt>
                      <c:pt idx="257">
                        <c:v>12.037000000000001</c:v>
                      </c:pt>
                      <c:pt idx="258">
                        <c:v>-13.221</c:v>
                      </c:pt>
                      <c:pt idx="259">
                        <c:v>1.3000000000000345E-2</c:v>
                      </c:pt>
                      <c:pt idx="260">
                        <c:v>-4.9269999999999996</c:v>
                      </c:pt>
                      <c:pt idx="261">
                        <c:v>-0.87599999999999989</c:v>
                      </c:pt>
                      <c:pt idx="262">
                        <c:v>-20.177</c:v>
                      </c:pt>
                      <c:pt idx="263">
                        <c:v>-2.8079999999999998</c:v>
                      </c:pt>
                      <c:pt idx="264">
                        <c:v>-11.195999999999998</c:v>
                      </c:pt>
                      <c:pt idx="265">
                        <c:v>-17.835000000000001</c:v>
                      </c:pt>
                      <c:pt idx="266">
                        <c:v>-15.035</c:v>
                      </c:pt>
                      <c:pt idx="267">
                        <c:v>7.3929999999999998</c:v>
                      </c:pt>
                      <c:pt idx="268">
                        <c:v>-1.1479999999999997</c:v>
                      </c:pt>
                      <c:pt idx="269">
                        <c:v>-2.0179999999999989</c:v>
                      </c:pt>
                      <c:pt idx="270">
                        <c:v>3.4769999999999985</c:v>
                      </c:pt>
                      <c:pt idx="271">
                        <c:v>6.8729999999999976</c:v>
                      </c:pt>
                      <c:pt idx="272">
                        <c:v>-15.156000000000002</c:v>
                      </c:pt>
                      <c:pt idx="273">
                        <c:v>14.939</c:v>
                      </c:pt>
                      <c:pt idx="274">
                        <c:v>0.16300000000000026</c:v>
                      </c:pt>
                      <c:pt idx="275">
                        <c:v>0.71499999999999986</c:v>
                      </c:pt>
                      <c:pt idx="276">
                        <c:v>-13.837</c:v>
                      </c:pt>
                      <c:pt idx="277">
                        <c:v>20.401</c:v>
                      </c:pt>
                      <c:pt idx="278">
                        <c:v>10.458</c:v>
                      </c:pt>
                      <c:pt idx="279">
                        <c:v>-12.597000000000001</c:v>
                      </c:pt>
                      <c:pt idx="280">
                        <c:v>6.4139999999999988</c:v>
                      </c:pt>
                      <c:pt idx="281">
                        <c:v>21.318999999999999</c:v>
                      </c:pt>
                      <c:pt idx="282">
                        <c:v>8.9469999999999992</c:v>
                      </c:pt>
                      <c:pt idx="283">
                        <c:v>4.4169999999999998</c:v>
                      </c:pt>
                      <c:pt idx="284">
                        <c:v>9.2369999999999983</c:v>
                      </c:pt>
                      <c:pt idx="285">
                        <c:v>11.375999999999999</c:v>
                      </c:pt>
                      <c:pt idx="286">
                        <c:v>-22.179000000000002</c:v>
                      </c:pt>
                      <c:pt idx="287">
                        <c:v>-8.8569999999999993</c:v>
                      </c:pt>
                      <c:pt idx="288">
                        <c:v>-7.8149999999999995</c:v>
                      </c:pt>
                      <c:pt idx="289">
                        <c:v>1.758</c:v>
                      </c:pt>
                      <c:pt idx="290">
                        <c:v>3.9560000000000004</c:v>
                      </c:pt>
                      <c:pt idx="291">
                        <c:v>12.946999999999999</c:v>
                      </c:pt>
                      <c:pt idx="292">
                        <c:v>11.554</c:v>
                      </c:pt>
                      <c:pt idx="293">
                        <c:v>-3.5729999999999995</c:v>
                      </c:pt>
                      <c:pt idx="294">
                        <c:v>-1.57</c:v>
                      </c:pt>
                      <c:pt idx="295">
                        <c:v>-9.1150000000000002</c:v>
                      </c:pt>
                      <c:pt idx="296">
                        <c:v>-10.873000000000001</c:v>
                      </c:pt>
                      <c:pt idx="297">
                        <c:v>-1.9190000000000003</c:v>
                      </c:pt>
                      <c:pt idx="298">
                        <c:v>18.236000000000001</c:v>
                      </c:pt>
                      <c:pt idx="299">
                        <c:v>15.724</c:v>
                      </c:pt>
                      <c:pt idx="300">
                        <c:v>1.657</c:v>
                      </c:pt>
                      <c:pt idx="301">
                        <c:v>0.92399999999999993</c:v>
                      </c:pt>
                      <c:pt idx="302">
                        <c:v>-24.733000000000001</c:v>
                      </c:pt>
                      <c:pt idx="303">
                        <c:v>15.443999999999999</c:v>
                      </c:pt>
                      <c:pt idx="304">
                        <c:v>-5.5340000000000007</c:v>
                      </c:pt>
                      <c:pt idx="305">
                        <c:v>-9.7420000000000009</c:v>
                      </c:pt>
                      <c:pt idx="306">
                        <c:v>9.2469999999999999</c:v>
                      </c:pt>
                      <c:pt idx="307">
                        <c:v>-1.4970000000000008</c:v>
                      </c:pt>
                      <c:pt idx="308">
                        <c:v>-15.105</c:v>
                      </c:pt>
                      <c:pt idx="309">
                        <c:v>-0.20999999999999996</c:v>
                      </c:pt>
                      <c:pt idx="310">
                        <c:v>6.8780000000000001</c:v>
                      </c:pt>
                      <c:pt idx="311">
                        <c:v>9.213000000000001</c:v>
                      </c:pt>
                      <c:pt idx="312">
                        <c:v>14.061999999999999</c:v>
                      </c:pt>
                      <c:pt idx="313">
                        <c:v>23.621000000000002</c:v>
                      </c:pt>
                      <c:pt idx="314">
                        <c:v>5.1460000000000008</c:v>
                      </c:pt>
                      <c:pt idx="315">
                        <c:v>3.9409999999999998</c:v>
                      </c:pt>
                      <c:pt idx="316">
                        <c:v>-3.1110000000000007</c:v>
                      </c:pt>
                      <c:pt idx="317">
                        <c:v>4.4290000000000003</c:v>
                      </c:pt>
                      <c:pt idx="318">
                        <c:v>2.36</c:v>
                      </c:pt>
                      <c:pt idx="319">
                        <c:v>6.2869999999999999</c:v>
                      </c:pt>
                      <c:pt idx="320">
                        <c:v>7.0670000000000002</c:v>
                      </c:pt>
                      <c:pt idx="321">
                        <c:v>-0.10499999999999998</c:v>
                      </c:pt>
                      <c:pt idx="322">
                        <c:v>5.7890000000000006</c:v>
                      </c:pt>
                      <c:pt idx="323">
                        <c:v>-4.3279999999999994</c:v>
                      </c:pt>
                      <c:pt idx="324">
                        <c:v>-6.1340000000000003</c:v>
                      </c:pt>
                      <c:pt idx="325">
                        <c:v>4.1760000000000002</c:v>
                      </c:pt>
                      <c:pt idx="326">
                        <c:v>13.582000000000001</c:v>
                      </c:pt>
                      <c:pt idx="327">
                        <c:v>10.71</c:v>
                      </c:pt>
                      <c:pt idx="328">
                        <c:v>-4.6120000000000001</c:v>
                      </c:pt>
                      <c:pt idx="329">
                        <c:v>2.7309999999999999</c:v>
                      </c:pt>
                      <c:pt idx="330">
                        <c:v>8.09</c:v>
                      </c:pt>
                      <c:pt idx="331">
                        <c:v>4.3099999999999996</c:v>
                      </c:pt>
                      <c:pt idx="332">
                        <c:v>-2.4580000000000002</c:v>
                      </c:pt>
                      <c:pt idx="333">
                        <c:v>-9.6859999999999999</c:v>
                      </c:pt>
                      <c:pt idx="334">
                        <c:v>-8.8819999999999997</c:v>
                      </c:pt>
                      <c:pt idx="335">
                        <c:v>-25.667000000000002</c:v>
                      </c:pt>
                      <c:pt idx="336">
                        <c:v>-25.667000000000002</c:v>
                      </c:pt>
                      <c:pt idx="337">
                        <c:v>-22.992999999999999</c:v>
                      </c:pt>
                      <c:pt idx="338">
                        <c:v>-13.222000000000001</c:v>
                      </c:pt>
                      <c:pt idx="339">
                        <c:v>3.9059999999999997</c:v>
                      </c:pt>
                      <c:pt idx="340">
                        <c:v>2.8030000000000004</c:v>
                      </c:pt>
                      <c:pt idx="341">
                        <c:v>0.59699999999999998</c:v>
                      </c:pt>
                      <c:pt idx="342">
                        <c:v>-6.8469999999999995</c:v>
                      </c:pt>
                      <c:pt idx="343">
                        <c:v>-19.850999999999999</c:v>
                      </c:pt>
                      <c:pt idx="344">
                        <c:v>-20.832999999999998</c:v>
                      </c:pt>
                      <c:pt idx="345">
                        <c:v>-18.658000000000001</c:v>
                      </c:pt>
                      <c:pt idx="346">
                        <c:v>-19.885999999999999</c:v>
                      </c:pt>
                      <c:pt idx="347">
                        <c:v>6.6669999999999989</c:v>
                      </c:pt>
                      <c:pt idx="348">
                        <c:v>8.2399999999999984</c:v>
                      </c:pt>
                      <c:pt idx="349">
                        <c:v>-12.561</c:v>
                      </c:pt>
                      <c:pt idx="350">
                        <c:v>-6.4450000000000003</c:v>
                      </c:pt>
                      <c:pt idx="351">
                        <c:v>-7.222999999999999</c:v>
                      </c:pt>
                      <c:pt idx="352">
                        <c:v>-0.47100000000000009</c:v>
                      </c:pt>
                      <c:pt idx="353">
                        <c:v>-4.234</c:v>
                      </c:pt>
                      <c:pt idx="354">
                        <c:v>-13.661</c:v>
                      </c:pt>
                      <c:pt idx="355">
                        <c:v>-13.96</c:v>
                      </c:pt>
                      <c:pt idx="356">
                        <c:v>0.97099999999999964</c:v>
                      </c:pt>
                      <c:pt idx="357">
                        <c:v>0.45899999999999963</c:v>
                      </c:pt>
                      <c:pt idx="358">
                        <c:v>5.7490000000000006</c:v>
                      </c:pt>
                      <c:pt idx="359">
                        <c:v>4.6619999999999999</c:v>
                      </c:pt>
                      <c:pt idx="360">
                        <c:v>-24.715</c:v>
                      </c:pt>
                      <c:pt idx="361">
                        <c:v>-42.336999999999996</c:v>
                      </c:pt>
                      <c:pt idx="362">
                        <c:v>-32.690999999999995</c:v>
                      </c:pt>
                      <c:pt idx="363">
                        <c:v>-5.3369999999999997</c:v>
                      </c:pt>
                      <c:pt idx="364">
                        <c:v>0.5939999999999994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B899-43FB-9B00-42D97902B992}"/>
                  </c:ext>
                </c:extLst>
              </c15:ser>
            </c15:filteredLineSeries>
            <c15:filteredLineSeries>
              <c15:ser>
                <c:idx val="8"/>
                <c:order val="8"/>
                <c:tx>
                  <c:v>Reserved injection</c:v>
                </c:tx>
                <c:spPr>
                  <a:ln w="28575"/>
                </c:spPr>
                <c:marker>
                  <c:symbol val="none"/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DK udtræk og injicering'!$T$4641:$T$5763</c15:sqref>
                        </c15:formulaRef>
                      </c:ext>
                    </c:extLst>
                    <c:numCache>
                      <c:formatCode>_ * #,##0_ ;_ * \-#,##0_ ;_ * "-"??_ ;_ @_ </c:formatCode>
                      <c:ptCount val="1123"/>
                      <c:pt idx="0">
                        <c:v>66.528000000000006</c:v>
                      </c:pt>
                      <c:pt idx="1">
                        <c:v>66.528000000000006</c:v>
                      </c:pt>
                      <c:pt idx="2">
                        <c:v>66.528000000000006</c:v>
                      </c:pt>
                      <c:pt idx="3">
                        <c:v>66.528000000000006</c:v>
                      </c:pt>
                      <c:pt idx="4">
                        <c:v>66.528000000000006</c:v>
                      </c:pt>
                      <c:pt idx="5">
                        <c:v>66.528000000000006</c:v>
                      </c:pt>
                      <c:pt idx="6">
                        <c:v>66.528000000000006</c:v>
                      </c:pt>
                      <c:pt idx="7">
                        <c:v>66.528000000000006</c:v>
                      </c:pt>
                      <c:pt idx="8">
                        <c:v>66.528000000000006</c:v>
                      </c:pt>
                      <c:pt idx="9">
                        <c:v>66.528000000000006</c:v>
                      </c:pt>
                      <c:pt idx="10">
                        <c:v>66.528000000000006</c:v>
                      </c:pt>
                      <c:pt idx="11">
                        <c:v>66.528000000000006</c:v>
                      </c:pt>
                      <c:pt idx="12">
                        <c:v>66.528000000000006</c:v>
                      </c:pt>
                      <c:pt idx="13">
                        <c:v>66.528000000000006</c:v>
                      </c:pt>
                      <c:pt idx="14">
                        <c:v>66.528000000000006</c:v>
                      </c:pt>
                      <c:pt idx="15">
                        <c:v>66.528000000000006</c:v>
                      </c:pt>
                      <c:pt idx="16">
                        <c:v>66.528000000000006</c:v>
                      </c:pt>
                      <c:pt idx="17">
                        <c:v>66.528000000000006</c:v>
                      </c:pt>
                      <c:pt idx="18">
                        <c:v>66.528000000000006</c:v>
                      </c:pt>
                      <c:pt idx="19">
                        <c:v>66.528000000000006</c:v>
                      </c:pt>
                      <c:pt idx="20">
                        <c:v>66.528000000000006</c:v>
                      </c:pt>
                      <c:pt idx="21">
                        <c:v>66.528000000000006</c:v>
                      </c:pt>
                      <c:pt idx="22">
                        <c:v>66.528000000000006</c:v>
                      </c:pt>
                      <c:pt idx="23">
                        <c:v>66.528000000000006</c:v>
                      </c:pt>
                      <c:pt idx="24">
                        <c:v>66.528000000000006</c:v>
                      </c:pt>
                      <c:pt idx="25">
                        <c:v>66.528000000000006</c:v>
                      </c:pt>
                      <c:pt idx="26">
                        <c:v>66.528000000000006</c:v>
                      </c:pt>
                      <c:pt idx="27">
                        <c:v>66.528000000000006</c:v>
                      </c:pt>
                      <c:pt idx="28">
                        <c:v>66.528000000000006</c:v>
                      </c:pt>
                      <c:pt idx="29">
                        <c:v>66.528000000000006</c:v>
                      </c:pt>
                      <c:pt idx="30">
                        <c:v>66.528000000000006</c:v>
                      </c:pt>
                      <c:pt idx="31">
                        <c:v>66.528000000000006</c:v>
                      </c:pt>
                      <c:pt idx="32">
                        <c:v>66.528000000000006</c:v>
                      </c:pt>
                      <c:pt idx="33">
                        <c:v>66.528000000000006</c:v>
                      </c:pt>
                      <c:pt idx="34">
                        <c:v>66.528000000000006</c:v>
                      </c:pt>
                      <c:pt idx="35">
                        <c:v>66.528000000000006</c:v>
                      </c:pt>
                      <c:pt idx="36">
                        <c:v>66.528000000000006</c:v>
                      </c:pt>
                      <c:pt idx="37">
                        <c:v>66.528000000000006</c:v>
                      </c:pt>
                      <c:pt idx="38">
                        <c:v>66.528000000000006</c:v>
                      </c:pt>
                      <c:pt idx="39">
                        <c:v>66.528000000000006</c:v>
                      </c:pt>
                      <c:pt idx="40">
                        <c:v>66.528000000000006</c:v>
                      </c:pt>
                      <c:pt idx="41">
                        <c:v>66.528000000000006</c:v>
                      </c:pt>
                      <c:pt idx="42">
                        <c:v>66.528000000000006</c:v>
                      </c:pt>
                      <c:pt idx="43">
                        <c:v>66.528000000000006</c:v>
                      </c:pt>
                      <c:pt idx="44">
                        <c:v>66.528000000000006</c:v>
                      </c:pt>
                      <c:pt idx="45">
                        <c:v>66.528000000000006</c:v>
                      </c:pt>
                      <c:pt idx="46">
                        <c:v>66.528000000000006</c:v>
                      </c:pt>
                      <c:pt idx="47">
                        <c:v>66.528000000000006</c:v>
                      </c:pt>
                      <c:pt idx="48">
                        <c:v>66.528000000000006</c:v>
                      </c:pt>
                      <c:pt idx="49">
                        <c:v>66.528000000000006</c:v>
                      </c:pt>
                      <c:pt idx="50">
                        <c:v>66.528000000000006</c:v>
                      </c:pt>
                      <c:pt idx="51">
                        <c:v>78.311999999999998</c:v>
                      </c:pt>
                      <c:pt idx="52">
                        <c:v>78.311999999999998</c:v>
                      </c:pt>
                      <c:pt idx="53">
                        <c:v>78.311999999999998</c:v>
                      </c:pt>
                      <c:pt idx="54">
                        <c:v>78.311999999999998</c:v>
                      </c:pt>
                      <c:pt idx="55">
                        <c:v>78.311999999999998</c:v>
                      </c:pt>
                      <c:pt idx="56">
                        <c:v>78.311999999999998</c:v>
                      </c:pt>
                      <c:pt idx="57">
                        <c:v>78.311999999999998</c:v>
                      </c:pt>
                      <c:pt idx="58">
                        <c:v>78.311999999999998</c:v>
                      </c:pt>
                      <c:pt idx="59">
                        <c:v>71.400000000000006</c:v>
                      </c:pt>
                      <c:pt idx="60">
                        <c:v>71.400000000000006</c:v>
                      </c:pt>
                      <c:pt idx="61">
                        <c:v>71.400000000000006</c:v>
                      </c:pt>
                      <c:pt idx="62">
                        <c:v>71.400000000000006</c:v>
                      </c:pt>
                      <c:pt idx="63">
                        <c:v>71.400000000000006</c:v>
                      </c:pt>
                      <c:pt idx="64">
                        <c:v>68.040000000000006</c:v>
                      </c:pt>
                      <c:pt idx="65">
                        <c:v>68.040000000000006</c:v>
                      </c:pt>
                      <c:pt idx="66">
                        <c:v>68.040000000000006</c:v>
                      </c:pt>
                      <c:pt idx="67">
                        <c:v>68.040000000000006</c:v>
                      </c:pt>
                      <c:pt idx="68">
                        <c:v>68.040000000000006</c:v>
                      </c:pt>
                      <c:pt idx="69">
                        <c:v>68.040000000000006</c:v>
                      </c:pt>
                      <c:pt idx="70">
                        <c:v>68.040000000000006</c:v>
                      </c:pt>
                      <c:pt idx="71">
                        <c:v>68.040000000000006</c:v>
                      </c:pt>
                      <c:pt idx="72">
                        <c:v>68.040000000000006</c:v>
                      </c:pt>
                      <c:pt idx="73">
                        <c:v>68.040000000000006</c:v>
                      </c:pt>
                      <c:pt idx="74">
                        <c:v>68.040000000000006</c:v>
                      </c:pt>
                      <c:pt idx="75">
                        <c:v>68.040000000000006</c:v>
                      </c:pt>
                      <c:pt idx="76">
                        <c:v>68.040000000000006</c:v>
                      </c:pt>
                      <c:pt idx="77">
                        <c:v>68.040000000000006</c:v>
                      </c:pt>
                      <c:pt idx="78">
                        <c:v>68.040000000000006</c:v>
                      </c:pt>
                      <c:pt idx="79">
                        <c:v>68.040000000000006</c:v>
                      </c:pt>
                      <c:pt idx="80">
                        <c:v>68.040000000000006</c:v>
                      </c:pt>
                      <c:pt idx="81">
                        <c:v>68.040000000000006</c:v>
                      </c:pt>
                      <c:pt idx="82">
                        <c:v>68.040000000000006</c:v>
                      </c:pt>
                      <c:pt idx="83">
                        <c:v>68.040000000000006</c:v>
                      </c:pt>
                      <c:pt idx="84">
                        <c:v>68.040000000000006</c:v>
                      </c:pt>
                      <c:pt idx="85">
                        <c:v>68.040000000000006</c:v>
                      </c:pt>
                      <c:pt idx="86">
                        <c:v>68.040000000000006</c:v>
                      </c:pt>
                      <c:pt idx="87">
                        <c:v>68.040000000000006</c:v>
                      </c:pt>
                      <c:pt idx="88">
                        <c:v>68.040000000000006</c:v>
                      </c:pt>
                      <c:pt idx="89">
                        <c:v>68.040000000000006</c:v>
                      </c:pt>
                      <c:pt idx="90">
                        <c:v>68.040000000000006</c:v>
                      </c:pt>
                      <c:pt idx="91">
                        <c:v>73.343999999999994</c:v>
                      </c:pt>
                      <c:pt idx="92">
                        <c:v>73.343999999999994</c:v>
                      </c:pt>
                      <c:pt idx="93">
                        <c:v>73.343999999999994</c:v>
                      </c:pt>
                      <c:pt idx="94">
                        <c:v>73.343999999999994</c:v>
                      </c:pt>
                      <c:pt idx="95">
                        <c:v>73.343999999999994</c:v>
                      </c:pt>
                      <c:pt idx="96">
                        <c:v>73.343999999999994</c:v>
                      </c:pt>
                      <c:pt idx="97">
                        <c:v>73.343999999999994</c:v>
                      </c:pt>
                      <c:pt idx="98">
                        <c:v>73.343999999999994</c:v>
                      </c:pt>
                      <c:pt idx="99">
                        <c:v>73.343999999999994</c:v>
                      </c:pt>
                      <c:pt idx="100">
                        <c:v>73.343999999999994</c:v>
                      </c:pt>
                      <c:pt idx="101">
                        <c:v>73.343999999999994</c:v>
                      </c:pt>
                      <c:pt idx="102">
                        <c:v>73.343999999999994</c:v>
                      </c:pt>
                      <c:pt idx="103">
                        <c:v>73.343999999999994</c:v>
                      </c:pt>
                      <c:pt idx="104">
                        <c:v>73.343999999999994</c:v>
                      </c:pt>
                      <c:pt idx="105">
                        <c:v>73.343999999999994</c:v>
                      </c:pt>
                      <c:pt idx="106">
                        <c:v>73.343999999999994</c:v>
                      </c:pt>
                      <c:pt idx="107">
                        <c:v>73.343999999999994</c:v>
                      </c:pt>
                      <c:pt idx="108">
                        <c:v>73.343999999999994</c:v>
                      </c:pt>
                      <c:pt idx="109">
                        <c:v>73.343999999999994</c:v>
                      </c:pt>
                      <c:pt idx="110">
                        <c:v>73.343999999999994</c:v>
                      </c:pt>
                      <c:pt idx="111">
                        <c:v>73.343999999999994</c:v>
                      </c:pt>
                      <c:pt idx="112">
                        <c:v>73.343999999999994</c:v>
                      </c:pt>
                      <c:pt idx="113">
                        <c:v>73.343999999999994</c:v>
                      </c:pt>
                      <c:pt idx="114">
                        <c:v>73.343999999999994</c:v>
                      </c:pt>
                      <c:pt idx="115">
                        <c:v>73.343999999999994</c:v>
                      </c:pt>
                      <c:pt idx="116">
                        <c:v>73.343999999999994</c:v>
                      </c:pt>
                      <c:pt idx="117">
                        <c:v>73.343999999999994</c:v>
                      </c:pt>
                      <c:pt idx="118">
                        <c:v>73.343999999999994</c:v>
                      </c:pt>
                      <c:pt idx="119">
                        <c:v>73.343999999999994</c:v>
                      </c:pt>
                      <c:pt idx="120">
                        <c:v>73.343999999999994</c:v>
                      </c:pt>
                      <c:pt idx="121">
                        <c:v>62.4</c:v>
                      </c:pt>
                      <c:pt idx="122">
                        <c:v>62.4</c:v>
                      </c:pt>
                      <c:pt idx="123">
                        <c:v>62.4</c:v>
                      </c:pt>
                      <c:pt idx="124">
                        <c:v>62.4</c:v>
                      </c:pt>
                      <c:pt idx="125">
                        <c:v>62.4</c:v>
                      </c:pt>
                      <c:pt idx="126">
                        <c:v>62.4</c:v>
                      </c:pt>
                      <c:pt idx="127">
                        <c:v>62.4</c:v>
                      </c:pt>
                      <c:pt idx="128">
                        <c:v>62.4</c:v>
                      </c:pt>
                      <c:pt idx="129">
                        <c:v>62.4</c:v>
                      </c:pt>
                      <c:pt idx="130">
                        <c:v>62.4</c:v>
                      </c:pt>
                      <c:pt idx="131">
                        <c:v>62.4</c:v>
                      </c:pt>
                      <c:pt idx="132">
                        <c:v>62.4</c:v>
                      </c:pt>
                      <c:pt idx="133">
                        <c:v>62.4</c:v>
                      </c:pt>
                      <c:pt idx="134">
                        <c:v>62.4</c:v>
                      </c:pt>
                      <c:pt idx="135">
                        <c:v>62.4</c:v>
                      </c:pt>
                      <c:pt idx="136">
                        <c:v>62.4</c:v>
                      </c:pt>
                      <c:pt idx="137">
                        <c:v>62.4</c:v>
                      </c:pt>
                      <c:pt idx="138">
                        <c:v>62.4</c:v>
                      </c:pt>
                      <c:pt idx="139">
                        <c:v>62.4</c:v>
                      </c:pt>
                      <c:pt idx="140">
                        <c:v>62.4</c:v>
                      </c:pt>
                      <c:pt idx="141">
                        <c:v>62.4</c:v>
                      </c:pt>
                      <c:pt idx="142">
                        <c:v>62.4</c:v>
                      </c:pt>
                      <c:pt idx="143">
                        <c:v>62.4</c:v>
                      </c:pt>
                      <c:pt idx="144">
                        <c:v>62.4</c:v>
                      </c:pt>
                      <c:pt idx="145">
                        <c:v>62.4</c:v>
                      </c:pt>
                      <c:pt idx="146">
                        <c:v>62.4</c:v>
                      </c:pt>
                      <c:pt idx="147">
                        <c:v>62.4</c:v>
                      </c:pt>
                      <c:pt idx="148">
                        <c:v>62.4</c:v>
                      </c:pt>
                      <c:pt idx="149">
                        <c:v>62.4</c:v>
                      </c:pt>
                      <c:pt idx="150">
                        <c:v>62.4</c:v>
                      </c:pt>
                      <c:pt idx="151">
                        <c:v>62.4</c:v>
                      </c:pt>
                      <c:pt idx="152">
                        <c:v>62.4</c:v>
                      </c:pt>
                      <c:pt idx="153">
                        <c:v>62.4</c:v>
                      </c:pt>
                      <c:pt idx="154">
                        <c:v>62.4</c:v>
                      </c:pt>
                      <c:pt idx="155">
                        <c:v>62.4</c:v>
                      </c:pt>
                      <c:pt idx="156">
                        <c:v>62.4</c:v>
                      </c:pt>
                      <c:pt idx="157">
                        <c:v>62.4</c:v>
                      </c:pt>
                      <c:pt idx="158">
                        <c:v>62.4</c:v>
                      </c:pt>
                      <c:pt idx="159">
                        <c:v>62.4</c:v>
                      </c:pt>
                      <c:pt idx="160">
                        <c:v>62.4</c:v>
                      </c:pt>
                      <c:pt idx="161">
                        <c:v>62.4</c:v>
                      </c:pt>
                      <c:pt idx="162">
                        <c:v>62.4</c:v>
                      </c:pt>
                      <c:pt idx="163">
                        <c:v>62.4</c:v>
                      </c:pt>
                      <c:pt idx="164">
                        <c:v>62.4</c:v>
                      </c:pt>
                      <c:pt idx="165">
                        <c:v>62.4</c:v>
                      </c:pt>
                      <c:pt idx="166">
                        <c:v>62.4</c:v>
                      </c:pt>
                      <c:pt idx="167">
                        <c:v>62.4</c:v>
                      </c:pt>
                      <c:pt idx="168">
                        <c:v>62.4</c:v>
                      </c:pt>
                      <c:pt idx="169">
                        <c:v>62.4</c:v>
                      </c:pt>
                      <c:pt idx="170">
                        <c:v>62.4</c:v>
                      </c:pt>
                      <c:pt idx="171">
                        <c:v>62.4</c:v>
                      </c:pt>
                      <c:pt idx="172">
                        <c:v>62.4</c:v>
                      </c:pt>
                      <c:pt idx="173">
                        <c:v>62.4</c:v>
                      </c:pt>
                      <c:pt idx="174">
                        <c:v>62.4</c:v>
                      </c:pt>
                      <c:pt idx="175">
                        <c:v>62.4</c:v>
                      </c:pt>
                      <c:pt idx="176">
                        <c:v>62.4</c:v>
                      </c:pt>
                      <c:pt idx="177">
                        <c:v>62.4</c:v>
                      </c:pt>
                      <c:pt idx="178">
                        <c:v>62.4</c:v>
                      </c:pt>
                      <c:pt idx="179">
                        <c:v>62.4</c:v>
                      </c:pt>
                      <c:pt idx="180">
                        <c:v>62.4</c:v>
                      </c:pt>
                      <c:pt idx="181">
                        <c:v>62.4</c:v>
                      </c:pt>
                      <c:pt idx="182">
                        <c:v>79.103999999999999</c:v>
                      </c:pt>
                      <c:pt idx="183">
                        <c:v>79.103999999999999</c:v>
                      </c:pt>
                      <c:pt idx="184">
                        <c:v>79.103999999999999</c:v>
                      </c:pt>
                      <c:pt idx="185">
                        <c:v>79.103999999999999</c:v>
                      </c:pt>
                      <c:pt idx="186">
                        <c:v>79.103999999999999</c:v>
                      </c:pt>
                      <c:pt idx="187">
                        <c:v>79.103999999999999</c:v>
                      </c:pt>
                      <c:pt idx="188">
                        <c:v>79.103999999999999</c:v>
                      </c:pt>
                      <c:pt idx="189">
                        <c:v>79.103999999999999</c:v>
                      </c:pt>
                      <c:pt idx="190">
                        <c:v>79.103999999999999</c:v>
                      </c:pt>
                      <c:pt idx="191">
                        <c:v>79.103999999999999</c:v>
                      </c:pt>
                      <c:pt idx="192">
                        <c:v>79.103999999999999</c:v>
                      </c:pt>
                      <c:pt idx="193">
                        <c:v>79.103999999999999</c:v>
                      </c:pt>
                      <c:pt idx="194">
                        <c:v>79.103999999999999</c:v>
                      </c:pt>
                      <c:pt idx="195">
                        <c:v>79.103999999999999</c:v>
                      </c:pt>
                      <c:pt idx="196">
                        <c:v>79.103999999999999</c:v>
                      </c:pt>
                      <c:pt idx="197">
                        <c:v>79.103999999999999</c:v>
                      </c:pt>
                      <c:pt idx="198">
                        <c:v>79.103999999999999</c:v>
                      </c:pt>
                      <c:pt idx="199">
                        <c:v>79.103999999999999</c:v>
                      </c:pt>
                      <c:pt idx="200">
                        <c:v>79.103999999999999</c:v>
                      </c:pt>
                      <c:pt idx="201">
                        <c:v>79.103999999999999</c:v>
                      </c:pt>
                      <c:pt idx="202">
                        <c:v>79.103999999999999</c:v>
                      </c:pt>
                      <c:pt idx="203">
                        <c:v>79.103999999999999</c:v>
                      </c:pt>
                      <c:pt idx="204">
                        <c:v>79.103999999999999</c:v>
                      </c:pt>
                      <c:pt idx="205">
                        <c:v>79.103999999999999</c:v>
                      </c:pt>
                      <c:pt idx="206">
                        <c:v>79.103999999999999</c:v>
                      </c:pt>
                      <c:pt idx="207">
                        <c:v>79.103999999999999</c:v>
                      </c:pt>
                      <c:pt idx="208">
                        <c:v>79.103999999999999</c:v>
                      </c:pt>
                      <c:pt idx="209">
                        <c:v>79.103999999999999</c:v>
                      </c:pt>
                      <c:pt idx="210">
                        <c:v>79.103999999999999</c:v>
                      </c:pt>
                      <c:pt idx="211">
                        <c:v>79.103999999999999</c:v>
                      </c:pt>
                      <c:pt idx="212">
                        <c:v>79.103999999999999</c:v>
                      </c:pt>
                      <c:pt idx="213">
                        <c:v>79.103999999999999</c:v>
                      </c:pt>
                      <c:pt idx="214">
                        <c:v>79.103999999999999</c:v>
                      </c:pt>
                      <c:pt idx="215">
                        <c:v>79.103999999999999</c:v>
                      </c:pt>
                      <c:pt idx="216">
                        <c:v>79.103999999999999</c:v>
                      </c:pt>
                      <c:pt idx="217">
                        <c:v>79.103999999999999</c:v>
                      </c:pt>
                      <c:pt idx="218">
                        <c:v>79.103999999999999</c:v>
                      </c:pt>
                      <c:pt idx="219">
                        <c:v>79.103999999999999</c:v>
                      </c:pt>
                      <c:pt idx="220">
                        <c:v>79.103999999999999</c:v>
                      </c:pt>
                      <c:pt idx="221">
                        <c:v>79.103999999999999</c:v>
                      </c:pt>
                      <c:pt idx="222">
                        <c:v>79.103999999999999</c:v>
                      </c:pt>
                      <c:pt idx="223">
                        <c:v>79.103999999999999</c:v>
                      </c:pt>
                      <c:pt idx="224">
                        <c:v>79.103999999999999</c:v>
                      </c:pt>
                      <c:pt idx="225">
                        <c:v>79.103999999999999</c:v>
                      </c:pt>
                      <c:pt idx="226">
                        <c:v>79.103999999999999</c:v>
                      </c:pt>
                      <c:pt idx="227">
                        <c:v>79.103999999999999</c:v>
                      </c:pt>
                      <c:pt idx="228">
                        <c:v>79.103999999999999</c:v>
                      </c:pt>
                      <c:pt idx="229">
                        <c:v>79.103999999999999</c:v>
                      </c:pt>
                      <c:pt idx="230">
                        <c:v>79.103999999999999</c:v>
                      </c:pt>
                      <c:pt idx="231">
                        <c:v>79.103999999999999</c:v>
                      </c:pt>
                      <c:pt idx="232">
                        <c:v>79.103999999999999</c:v>
                      </c:pt>
                      <c:pt idx="233">
                        <c:v>79.103999999999999</c:v>
                      </c:pt>
                      <c:pt idx="234">
                        <c:v>79.103999999999999</c:v>
                      </c:pt>
                      <c:pt idx="235">
                        <c:v>79.103999999999999</c:v>
                      </c:pt>
                      <c:pt idx="236">
                        <c:v>79.103999999999999</c:v>
                      </c:pt>
                      <c:pt idx="237">
                        <c:v>79.103999999999999</c:v>
                      </c:pt>
                      <c:pt idx="238">
                        <c:v>79.103999999999999</c:v>
                      </c:pt>
                      <c:pt idx="239">
                        <c:v>79.103999999999999</c:v>
                      </c:pt>
                      <c:pt idx="240">
                        <c:v>79.103999999999999</c:v>
                      </c:pt>
                      <c:pt idx="241">
                        <c:v>79.103999999999999</c:v>
                      </c:pt>
                      <c:pt idx="242">
                        <c:v>79.103999999999999</c:v>
                      </c:pt>
                      <c:pt idx="243">
                        <c:v>79.103999999999999</c:v>
                      </c:pt>
                      <c:pt idx="244">
                        <c:v>79.103999999999999</c:v>
                      </c:pt>
                      <c:pt idx="245">
                        <c:v>79.103999999999999</c:v>
                      </c:pt>
                      <c:pt idx="246">
                        <c:v>79.103999999999999</c:v>
                      </c:pt>
                      <c:pt idx="247">
                        <c:v>79.103999999999999</c:v>
                      </c:pt>
                      <c:pt idx="248">
                        <c:v>79.103999999999999</c:v>
                      </c:pt>
                      <c:pt idx="249">
                        <c:v>79.103999999999999</c:v>
                      </c:pt>
                      <c:pt idx="250">
                        <c:v>79.103999999999999</c:v>
                      </c:pt>
                      <c:pt idx="251">
                        <c:v>79.103999999999999</c:v>
                      </c:pt>
                      <c:pt idx="252">
                        <c:v>79.103999999999999</c:v>
                      </c:pt>
                      <c:pt idx="253">
                        <c:v>79.103999999999999</c:v>
                      </c:pt>
                      <c:pt idx="254">
                        <c:v>79.103999999999999</c:v>
                      </c:pt>
                      <c:pt idx="255">
                        <c:v>79.103999999999999</c:v>
                      </c:pt>
                      <c:pt idx="256">
                        <c:v>79.103999999999999</c:v>
                      </c:pt>
                      <c:pt idx="257">
                        <c:v>79.103999999999999</c:v>
                      </c:pt>
                      <c:pt idx="258">
                        <c:v>79.103999999999999</c:v>
                      </c:pt>
                      <c:pt idx="259">
                        <c:v>79.103999999999999</c:v>
                      </c:pt>
                      <c:pt idx="260">
                        <c:v>79.103999999999999</c:v>
                      </c:pt>
                      <c:pt idx="261">
                        <c:v>79.103999999999999</c:v>
                      </c:pt>
                      <c:pt idx="262">
                        <c:v>79.103999999999999</c:v>
                      </c:pt>
                      <c:pt idx="263">
                        <c:v>79.103999999999999</c:v>
                      </c:pt>
                      <c:pt idx="264">
                        <c:v>79.103999999999999</c:v>
                      </c:pt>
                      <c:pt idx="265">
                        <c:v>79.103999999999999</c:v>
                      </c:pt>
                      <c:pt idx="266">
                        <c:v>79.103999999999999</c:v>
                      </c:pt>
                      <c:pt idx="267">
                        <c:v>79.103999999999999</c:v>
                      </c:pt>
                      <c:pt idx="268">
                        <c:v>79.103999999999999</c:v>
                      </c:pt>
                      <c:pt idx="269">
                        <c:v>79.103999999999999</c:v>
                      </c:pt>
                      <c:pt idx="270">
                        <c:v>79.103999999999999</c:v>
                      </c:pt>
                      <c:pt idx="271">
                        <c:v>79.103999999999999</c:v>
                      </c:pt>
                      <c:pt idx="272">
                        <c:v>79.103999999999999</c:v>
                      </c:pt>
                      <c:pt idx="273">
                        <c:v>79.103999999999999</c:v>
                      </c:pt>
                      <c:pt idx="274">
                        <c:v>79.103999999999999</c:v>
                      </c:pt>
                      <c:pt idx="275">
                        <c:v>79.103999999999999</c:v>
                      </c:pt>
                      <c:pt idx="276">
                        <c:v>79.103999999999999</c:v>
                      </c:pt>
                      <c:pt idx="277">
                        <c:v>79.103999999999999</c:v>
                      </c:pt>
                      <c:pt idx="278">
                        <c:v>79.103999999999999</c:v>
                      </c:pt>
                      <c:pt idx="279">
                        <c:v>79.103999999999999</c:v>
                      </c:pt>
                      <c:pt idx="280">
                        <c:v>79.103999999999999</c:v>
                      </c:pt>
                      <c:pt idx="281">
                        <c:v>79.103999999999999</c:v>
                      </c:pt>
                      <c:pt idx="282">
                        <c:v>79.103999999999999</c:v>
                      </c:pt>
                      <c:pt idx="283">
                        <c:v>79.103999999999999</c:v>
                      </c:pt>
                      <c:pt idx="284">
                        <c:v>79.103999999999999</c:v>
                      </c:pt>
                      <c:pt idx="285">
                        <c:v>79.103999999999999</c:v>
                      </c:pt>
                      <c:pt idx="286">
                        <c:v>79.103999999999999</c:v>
                      </c:pt>
                      <c:pt idx="287">
                        <c:v>79.103999999999999</c:v>
                      </c:pt>
                      <c:pt idx="288">
                        <c:v>79.103999999999999</c:v>
                      </c:pt>
                      <c:pt idx="289">
                        <c:v>79.103999999999999</c:v>
                      </c:pt>
                      <c:pt idx="290">
                        <c:v>79.103999999999999</c:v>
                      </c:pt>
                      <c:pt idx="291">
                        <c:v>79.103999999999999</c:v>
                      </c:pt>
                      <c:pt idx="292">
                        <c:v>79.103999999999999</c:v>
                      </c:pt>
                      <c:pt idx="293">
                        <c:v>79.103999999999999</c:v>
                      </c:pt>
                      <c:pt idx="294">
                        <c:v>79.103999999999999</c:v>
                      </c:pt>
                      <c:pt idx="295">
                        <c:v>79.103999999999999</c:v>
                      </c:pt>
                      <c:pt idx="296">
                        <c:v>79.103999999999999</c:v>
                      </c:pt>
                      <c:pt idx="297">
                        <c:v>79.103999999999999</c:v>
                      </c:pt>
                      <c:pt idx="298">
                        <c:v>79.103999999999999</c:v>
                      </c:pt>
                      <c:pt idx="299">
                        <c:v>79.103999999999999</c:v>
                      </c:pt>
                      <c:pt idx="300">
                        <c:v>79.103999999999999</c:v>
                      </c:pt>
                      <c:pt idx="301">
                        <c:v>79.103999999999999</c:v>
                      </c:pt>
                      <c:pt idx="302">
                        <c:v>79.103999999999999</c:v>
                      </c:pt>
                      <c:pt idx="303">
                        <c:v>64.872</c:v>
                      </c:pt>
                      <c:pt idx="304">
                        <c:v>64.872</c:v>
                      </c:pt>
                      <c:pt idx="305">
                        <c:v>64.872</c:v>
                      </c:pt>
                      <c:pt idx="306">
                        <c:v>64.872</c:v>
                      </c:pt>
                      <c:pt idx="307">
                        <c:v>64.872</c:v>
                      </c:pt>
                      <c:pt idx="308">
                        <c:v>64.872</c:v>
                      </c:pt>
                      <c:pt idx="309">
                        <c:v>64.872</c:v>
                      </c:pt>
                      <c:pt idx="310">
                        <c:v>64.872</c:v>
                      </c:pt>
                      <c:pt idx="311">
                        <c:v>64.872</c:v>
                      </c:pt>
                      <c:pt idx="312">
                        <c:v>64.872</c:v>
                      </c:pt>
                      <c:pt idx="313">
                        <c:v>64.872</c:v>
                      </c:pt>
                      <c:pt idx="314">
                        <c:v>64.872</c:v>
                      </c:pt>
                      <c:pt idx="315">
                        <c:v>64.872</c:v>
                      </c:pt>
                      <c:pt idx="316">
                        <c:v>64.872</c:v>
                      </c:pt>
                      <c:pt idx="317">
                        <c:v>64.872</c:v>
                      </c:pt>
                      <c:pt idx="318">
                        <c:v>64.872</c:v>
                      </c:pt>
                      <c:pt idx="319">
                        <c:v>64.872</c:v>
                      </c:pt>
                      <c:pt idx="320">
                        <c:v>64.872</c:v>
                      </c:pt>
                      <c:pt idx="321">
                        <c:v>64.872</c:v>
                      </c:pt>
                      <c:pt idx="322">
                        <c:v>64.872</c:v>
                      </c:pt>
                      <c:pt idx="323">
                        <c:v>64.872</c:v>
                      </c:pt>
                      <c:pt idx="324">
                        <c:v>64.872</c:v>
                      </c:pt>
                      <c:pt idx="325">
                        <c:v>64.872</c:v>
                      </c:pt>
                      <c:pt idx="326">
                        <c:v>64.872</c:v>
                      </c:pt>
                      <c:pt idx="327">
                        <c:v>64.872</c:v>
                      </c:pt>
                      <c:pt idx="328">
                        <c:v>64.872</c:v>
                      </c:pt>
                      <c:pt idx="329">
                        <c:v>64.872</c:v>
                      </c:pt>
                      <c:pt idx="330">
                        <c:v>64.872</c:v>
                      </c:pt>
                      <c:pt idx="331">
                        <c:v>64.872</c:v>
                      </c:pt>
                      <c:pt idx="332">
                        <c:v>64.872</c:v>
                      </c:pt>
                      <c:pt idx="333">
                        <c:v>64.872</c:v>
                      </c:pt>
                      <c:pt idx="334">
                        <c:v>64.872</c:v>
                      </c:pt>
                      <c:pt idx="335">
                        <c:v>64.872</c:v>
                      </c:pt>
                      <c:pt idx="336">
                        <c:v>64.872</c:v>
                      </c:pt>
                      <c:pt idx="337">
                        <c:v>64.872</c:v>
                      </c:pt>
                      <c:pt idx="338">
                        <c:v>64.872</c:v>
                      </c:pt>
                      <c:pt idx="339">
                        <c:v>64.872</c:v>
                      </c:pt>
                      <c:pt idx="340">
                        <c:v>64.872</c:v>
                      </c:pt>
                      <c:pt idx="341">
                        <c:v>64.872</c:v>
                      </c:pt>
                      <c:pt idx="342">
                        <c:v>64.872</c:v>
                      </c:pt>
                      <c:pt idx="343">
                        <c:v>64.872</c:v>
                      </c:pt>
                      <c:pt idx="344">
                        <c:v>64.872</c:v>
                      </c:pt>
                      <c:pt idx="345">
                        <c:v>64.872</c:v>
                      </c:pt>
                      <c:pt idx="346">
                        <c:v>64.872</c:v>
                      </c:pt>
                      <c:pt idx="347">
                        <c:v>64.872</c:v>
                      </c:pt>
                      <c:pt idx="348">
                        <c:v>64.872</c:v>
                      </c:pt>
                      <c:pt idx="349">
                        <c:v>64.872</c:v>
                      </c:pt>
                      <c:pt idx="350">
                        <c:v>64.872</c:v>
                      </c:pt>
                      <c:pt idx="351">
                        <c:v>64.872</c:v>
                      </c:pt>
                      <c:pt idx="352">
                        <c:v>64.872</c:v>
                      </c:pt>
                      <c:pt idx="353">
                        <c:v>64.872</c:v>
                      </c:pt>
                      <c:pt idx="354">
                        <c:v>64.872</c:v>
                      </c:pt>
                      <c:pt idx="355">
                        <c:v>64.872</c:v>
                      </c:pt>
                      <c:pt idx="356">
                        <c:v>64.872</c:v>
                      </c:pt>
                      <c:pt idx="357">
                        <c:v>64.872</c:v>
                      </c:pt>
                      <c:pt idx="358">
                        <c:v>64.872</c:v>
                      </c:pt>
                      <c:pt idx="359">
                        <c:v>64.872</c:v>
                      </c:pt>
                      <c:pt idx="360">
                        <c:v>64.872</c:v>
                      </c:pt>
                      <c:pt idx="361">
                        <c:v>64.872</c:v>
                      </c:pt>
                      <c:pt idx="362">
                        <c:v>64.872</c:v>
                      </c:pt>
                      <c:pt idx="363">
                        <c:v>64.872</c:v>
                      </c:pt>
                      <c:pt idx="364">
                        <c:v>64.872</c:v>
                      </c:pt>
                      <c:pt idx="365">
                        <c:v>64.872</c:v>
                      </c:pt>
                      <c:pt idx="366">
                        <c:v>64.872</c:v>
                      </c:pt>
                      <c:pt idx="367">
                        <c:v>64.872</c:v>
                      </c:pt>
                      <c:pt idx="368">
                        <c:v>64.872</c:v>
                      </c:pt>
                      <c:pt idx="369">
                        <c:v>64.872</c:v>
                      </c:pt>
                      <c:pt idx="370">
                        <c:v>64.872</c:v>
                      </c:pt>
                      <c:pt idx="371">
                        <c:v>64.872</c:v>
                      </c:pt>
                      <c:pt idx="372">
                        <c:v>64.872</c:v>
                      </c:pt>
                      <c:pt idx="373">
                        <c:v>64.872</c:v>
                      </c:pt>
                      <c:pt idx="374">
                        <c:v>64.872</c:v>
                      </c:pt>
                      <c:pt idx="375">
                        <c:v>64.872</c:v>
                      </c:pt>
                      <c:pt idx="376">
                        <c:v>64.872</c:v>
                      </c:pt>
                      <c:pt idx="377">
                        <c:v>64.872</c:v>
                      </c:pt>
                      <c:pt idx="378">
                        <c:v>64.872</c:v>
                      </c:pt>
                      <c:pt idx="379">
                        <c:v>64.872</c:v>
                      </c:pt>
                      <c:pt idx="380">
                        <c:v>64.872</c:v>
                      </c:pt>
                      <c:pt idx="381">
                        <c:v>64.872</c:v>
                      </c:pt>
                      <c:pt idx="382">
                        <c:v>64.872</c:v>
                      </c:pt>
                      <c:pt idx="383">
                        <c:v>64.872</c:v>
                      </c:pt>
                      <c:pt idx="384">
                        <c:v>64.872</c:v>
                      </c:pt>
                      <c:pt idx="385">
                        <c:v>64.872</c:v>
                      </c:pt>
                      <c:pt idx="386">
                        <c:v>64.872</c:v>
                      </c:pt>
                      <c:pt idx="387">
                        <c:v>64.872</c:v>
                      </c:pt>
                      <c:pt idx="388">
                        <c:v>64.872</c:v>
                      </c:pt>
                      <c:pt idx="389">
                        <c:v>64.872</c:v>
                      </c:pt>
                      <c:pt idx="390">
                        <c:v>64.872</c:v>
                      </c:pt>
                      <c:pt idx="391">
                        <c:v>64.872</c:v>
                      </c:pt>
                      <c:pt idx="392">
                        <c:v>64.872</c:v>
                      </c:pt>
                      <c:pt idx="393">
                        <c:v>64.872</c:v>
                      </c:pt>
                      <c:pt idx="394">
                        <c:v>64.872</c:v>
                      </c:pt>
                      <c:pt idx="395">
                        <c:v>64.872</c:v>
                      </c:pt>
                      <c:pt idx="396">
                        <c:v>64.872</c:v>
                      </c:pt>
                      <c:pt idx="397">
                        <c:v>64.872</c:v>
                      </c:pt>
                      <c:pt idx="398">
                        <c:v>64.872</c:v>
                      </c:pt>
                      <c:pt idx="399">
                        <c:v>64.872</c:v>
                      </c:pt>
                      <c:pt idx="400">
                        <c:v>64.872</c:v>
                      </c:pt>
                      <c:pt idx="401">
                        <c:v>64.872</c:v>
                      </c:pt>
                      <c:pt idx="402">
                        <c:v>64.872</c:v>
                      </c:pt>
                      <c:pt idx="403">
                        <c:v>64.872</c:v>
                      </c:pt>
                      <c:pt idx="404">
                        <c:v>64.872</c:v>
                      </c:pt>
                      <c:pt idx="405">
                        <c:v>64.872</c:v>
                      </c:pt>
                      <c:pt idx="406">
                        <c:v>64.872</c:v>
                      </c:pt>
                      <c:pt idx="407">
                        <c:v>64.872</c:v>
                      </c:pt>
                      <c:pt idx="408">
                        <c:v>64.872</c:v>
                      </c:pt>
                      <c:pt idx="409">
                        <c:v>64.872</c:v>
                      </c:pt>
                      <c:pt idx="410">
                        <c:v>64.872</c:v>
                      </c:pt>
                      <c:pt idx="411">
                        <c:v>64.872</c:v>
                      </c:pt>
                      <c:pt idx="412">
                        <c:v>64.872</c:v>
                      </c:pt>
                      <c:pt idx="413">
                        <c:v>64.872</c:v>
                      </c:pt>
                      <c:pt idx="414">
                        <c:v>64.872</c:v>
                      </c:pt>
                      <c:pt idx="415">
                        <c:v>64.872</c:v>
                      </c:pt>
                      <c:pt idx="416">
                        <c:v>64.872</c:v>
                      </c:pt>
                      <c:pt idx="417">
                        <c:v>64.872</c:v>
                      </c:pt>
                      <c:pt idx="418">
                        <c:v>64.872</c:v>
                      </c:pt>
                      <c:pt idx="419">
                        <c:v>64.872</c:v>
                      </c:pt>
                      <c:pt idx="420">
                        <c:v>64.872</c:v>
                      </c:pt>
                      <c:pt idx="421">
                        <c:v>64.872</c:v>
                      </c:pt>
                      <c:pt idx="422">
                        <c:v>64.872</c:v>
                      </c:pt>
                      <c:pt idx="423">
                        <c:v>64.872</c:v>
                      </c:pt>
                      <c:pt idx="424">
                        <c:v>64.872</c:v>
                      </c:pt>
                      <c:pt idx="425">
                        <c:v>64.872</c:v>
                      </c:pt>
                      <c:pt idx="426">
                        <c:v>64.872</c:v>
                      </c:pt>
                      <c:pt idx="427">
                        <c:v>64.872</c:v>
                      </c:pt>
                      <c:pt idx="428">
                        <c:v>64.872</c:v>
                      </c:pt>
                      <c:pt idx="429">
                        <c:v>64.872</c:v>
                      </c:pt>
                      <c:pt idx="430">
                        <c:v>64.872</c:v>
                      </c:pt>
                      <c:pt idx="431">
                        <c:v>64.872</c:v>
                      </c:pt>
                      <c:pt idx="432">
                        <c:v>64.872</c:v>
                      </c:pt>
                      <c:pt idx="433">
                        <c:v>64.872</c:v>
                      </c:pt>
                      <c:pt idx="434">
                        <c:v>64.872</c:v>
                      </c:pt>
                      <c:pt idx="435">
                        <c:v>64.872</c:v>
                      </c:pt>
                      <c:pt idx="436">
                        <c:v>64.872</c:v>
                      </c:pt>
                      <c:pt idx="437">
                        <c:v>64.872</c:v>
                      </c:pt>
                      <c:pt idx="438">
                        <c:v>64.872</c:v>
                      </c:pt>
                      <c:pt idx="439">
                        <c:v>64.872</c:v>
                      </c:pt>
                      <c:pt idx="440">
                        <c:v>64.872</c:v>
                      </c:pt>
                      <c:pt idx="441">
                        <c:v>64.872</c:v>
                      </c:pt>
                      <c:pt idx="442">
                        <c:v>64.872</c:v>
                      </c:pt>
                      <c:pt idx="443">
                        <c:v>64.872</c:v>
                      </c:pt>
                      <c:pt idx="444">
                        <c:v>64.872</c:v>
                      </c:pt>
                      <c:pt idx="445">
                        <c:v>64.872</c:v>
                      </c:pt>
                      <c:pt idx="446">
                        <c:v>64.872</c:v>
                      </c:pt>
                      <c:pt idx="447">
                        <c:v>64.872</c:v>
                      </c:pt>
                      <c:pt idx="448">
                        <c:v>64.872</c:v>
                      </c:pt>
                      <c:pt idx="449">
                        <c:v>64.872</c:v>
                      </c:pt>
                      <c:pt idx="450">
                        <c:v>64.872</c:v>
                      </c:pt>
                      <c:pt idx="451">
                        <c:v>64.872</c:v>
                      </c:pt>
                      <c:pt idx="452">
                        <c:v>64.872</c:v>
                      </c:pt>
                      <c:pt idx="453">
                        <c:v>64.872</c:v>
                      </c:pt>
                      <c:pt idx="454">
                        <c:v>64.872</c:v>
                      </c:pt>
                      <c:pt idx="455">
                        <c:v>64.872</c:v>
                      </c:pt>
                      <c:pt idx="456">
                        <c:v>64.872</c:v>
                      </c:pt>
                      <c:pt idx="457">
                        <c:v>64.872</c:v>
                      </c:pt>
                      <c:pt idx="458">
                        <c:v>64.872</c:v>
                      </c:pt>
                      <c:pt idx="459">
                        <c:v>64.872</c:v>
                      </c:pt>
                      <c:pt idx="460">
                        <c:v>64.872</c:v>
                      </c:pt>
                      <c:pt idx="461">
                        <c:v>64.872</c:v>
                      </c:pt>
                      <c:pt idx="462">
                        <c:v>64.872</c:v>
                      </c:pt>
                      <c:pt idx="463">
                        <c:v>64.872</c:v>
                      </c:pt>
                      <c:pt idx="464">
                        <c:v>64.872</c:v>
                      </c:pt>
                      <c:pt idx="465">
                        <c:v>64.872</c:v>
                      </c:pt>
                      <c:pt idx="466">
                        <c:v>64.872</c:v>
                      </c:pt>
                      <c:pt idx="467">
                        <c:v>64.872</c:v>
                      </c:pt>
                      <c:pt idx="468">
                        <c:v>64.872</c:v>
                      </c:pt>
                      <c:pt idx="469">
                        <c:v>64.872</c:v>
                      </c:pt>
                      <c:pt idx="470">
                        <c:v>64.872</c:v>
                      </c:pt>
                      <c:pt idx="471">
                        <c:v>64.872</c:v>
                      </c:pt>
                      <c:pt idx="472">
                        <c:v>64.872</c:v>
                      </c:pt>
                      <c:pt idx="473">
                        <c:v>64.872</c:v>
                      </c:pt>
                      <c:pt idx="474">
                        <c:v>64.872</c:v>
                      </c:pt>
                      <c:pt idx="475">
                        <c:v>64.872</c:v>
                      </c:pt>
                      <c:pt idx="476">
                        <c:v>64.872</c:v>
                      </c:pt>
                      <c:pt idx="477">
                        <c:v>64.872</c:v>
                      </c:pt>
                      <c:pt idx="478">
                        <c:v>64.872</c:v>
                      </c:pt>
                      <c:pt idx="479">
                        <c:v>64.872</c:v>
                      </c:pt>
                      <c:pt idx="480">
                        <c:v>64.872</c:v>
                      </c:pt>
                      <c:pt idx="481">
                        <c:v>64.872</c:v>
                      </c:pt>
                      <c:pt idx="482">
                        <c:v>64.872</c:v>
                      </c:pt>
                      <c:pt idx="483">
                        <c:v>64.872</c:v>
                      </c:pt>
                      <c:pt idx="484">
                        <c:v>64.872</c:v>
                      </c:pt>
                      <c:pt idx="485">
                        <c:v>64.872</c:v>
                      </c:pt>
                      <c:pt idx="486">
                        <c:v>37.368000000000002</c:v>
                      </c:pt>
                      <c:pt idx="487">
                        <c:v>37.368000000000002</c:v>
                      </c:pt>
                      <c:pt idx="488">
                        <c:v>37.368000000000002</c:v>
                      </c:pt>
                      <c:pt idx="489">
                        <c:v>37.368000000000002</c:v>
                      </c:pt>
                      <c:pt idx="490">
                        <c:v>37.368000000000002</c:v>
                      </c:pt>
                      <c:pt idx="491">
                        <c:v>37.368000000000002</c:v>
                      </c:pt>
                      <c:pt idx="492">
                        <c:v>37.368000000000002</c:v>
                      </c:pt>
                      <c:pt idx="493">
                        <c:v>37.368000000000002</c:v>
                      </c:pt>
                      <c:pt idx="494">
                        <c:v>37.368000000000002</c:v>
                      </c:pt>
                      <c:pt idx="495">
                        <c:v>37.368000000000002</c:v>
                      </c:pt>
                      <c:pt idx="496">
                        <c:v>37.368000000000002</c:v>
                      </c:pt>
                      <c:pt idx="497">
                        <c:v>37.368000000000002</c:v>
                      </c:pt>
                      <c:pt idx="498">
                        <c:v>37.368000000000002</c:v>
                      </c:pt>
                      <c:pt idx="499">
                        <c:v>37.368000000000002</c:v>
                      </c:pt>
                      <c:pt idx="500">
                        <c:v>37.368000000000002</c:v>
                      </c:pt>
                      <c:pt idx="501">
                        <c:v>37.368000000000002</c:v>
                      </c:pt>
                      <c:pt idx="502">
                        <c:v>37.368000000000002</c:v>
                      </c:pt>
                      <c:pt idx="503">
                        <c:v>37.368000000000002</c:v>
                      </c:pt>
                      <c:pt idx="504">
                        <c:v>37.368000000000002</c:v>
                      </c:pt>
                      <c:pt idx="505">
                        <c:v>37.368000000000002</c:v>
                      </c:pt>
                      <c:pt idx="506">
                        <c:v>37.368000000000002</c:v>
                      </c:pt>
                      <c:pt idx="507">
                        <c:v>37.368000000000002</c:v>
                      </c:pt>
                      <c:pt idx="508">
                        <c:v>37.368000000000002</c:v>
                      </c:pt>
                      <c:pt idx="509">
                        <c:v>37.368000000000002</c:v>
                      </c:pt>
                      <c:pt idx="510">
                        <c:v>37.368000000000002</c:v>
                      </c:pt>
                      <c:pt idx="511">
                        <c:v>37.368000000000002</c:v>
                      </c:pt>
                      <c:pt idx="512">
                        <c:v>37.368000000000002</c:v>
                      </c:pt>
                      <c:pt idx="513">
                        <c:v>37.368000000000002</c:v>
                      </c:pt>
                      <c:pt idx="514">
                        <c:v>37.368000000000002</c:v>
                      </c:pt>
                      <c:pt idx="515">
                        <c:v>37.368000000000002</c:v>
                      </c:pt>
                      <c:pt idx="516">
                        <c:v>37.368000000000002</c:v>
                      </c:pt>
                      <c:pt idx="517">
                        <c:v>37.368000000000002</c:v>
                      </c:pt>
                      <c:pt idx="518">
                        <c:v>37.368000000000002</c:v>
                      </c:pt>
                      <c:pt idx="519">
                        <c:v>37.368000000000002</c:v>
                      </c:pt>
                      <c:pt idx="520">
                        <c:v>37.368000000000002</c:v>
                      </c:pt>
                      <c:pt idx="521">
                        <c:v>37.368000000000002</c:v>
                      </c:pt>
                      <c:pt idx="522">
                        <c:v>37.368000000000002</c:v>
                      </c:pt>
                      <c:pt idx="523">
                        <c:v>37.368000000000002</c:v>
                      </c:pt>
                      <c:pt idx="524">
                        <c:v>37.368000000000002</c:v>
                      </c:pt>
                      <c:pt idx="525">
                        <c:v>37.368000000000002</c:v>
                      </c:pt>
                      <c:pt idx="526">
                        <c:v>37.368000000000002</c:v>
                      </c:pt>
                      <c:pt idx="527">
                        <c:v>37.368000000000002</c:v>
                      </c:pt>
                      <c:pt idx="528">
                        <c:v>37.368000000000002</c:v>
                      </c:pt>
                      <c:pt idx="529">
                        <c:v>37.368000000000002</c:v>
                      </c:pt>
                      <c:pt idx="530">
                        <c:v>37.368000000000002</c:v>
                      </c:pt>
                      <c:pt idx="531">
                        <c:v>37.368000000000002</c:v>
                      </c:pt>
                      <c:pt idx="532">
                        <c:v>37.368000000000002</c:v>
                      </c:pt>
                      <c:pt idx="533">
                        <c:v>37.368000000000002</c:v>
                      </c:pt>
                      <c:pt idx="534">
                        <c:v>37.368000000000002</c:v>
                      </c:pt>
                      <c:pt idx="535">
                        <c:v>37.368000000000002</c:v>
                      </c:pt>
                      <c:pt idx="536">
                        <c:v>37.368000000000002</c:v>
                      </c:pt>
                      <c:pt idx="537">
                        <c:v>37.368000000000002</c:v>
                      </c:pt>
                      <c:pt idx="538">
                        <c:v>37.368000000000002</c:v>
                      </c:pt>
                      <c:pt idx="539">
                        <c:v>37.368000000000002</c:v>
                      </c:pt>
                      <c:pt idx="540">
                        <c:v>38.183999999999997</c:v>
                      </c:pt>
                      <c:pt idx="541">
                        <c:v>38.183999999999997</c:v>
                      </c:pt>
                      <c:pt idx="542">
                        <c:v>38.183999999999997</c:v>
                      </c:pt>
                      <c:pt idx="543">
                        <c:v>38.183999999999997</c:v>
                      </c:pt>
                      <c:pt idx="544">
                        <c:v>38.183999999999997</c:v>
                      </c:pt>
                      <c:pt idx="545">
                        <c:v>38.183999999999997</c:v>
                      </c:pt>
                      <c:pt idx="546">
                        <c:v>38.183999999999997</c:v>
                      </c:pt>
                      <c:pt idx="547">
                        <c:v>38.183999999999997</c:v>
                      </c:pt>
                      <c:pt idx="548">
                        <c:v>38.183999999999997</c:v>
                      </c:pt>
                      <c:pt idx="549">
                        <c:v>38.183999999999997</c:v>
                      </c:pt>
                      <c:pt idx="550">
                        <c:v>38.183999999999997</c:v>
                      </c:pt>
                      <c:pt idx="551">
                        <c:v>38.183999999999997</c:v>
                      </c:pt>
                      <c:pt idx="552">
                        <c:v>38.183999999999997</c:v>
                      </c:pt>
                      <c:pt idx="553">
                        <c:v>38.183999999999997</c:v>
                      </c:pt>
                      <c:pt idx="554">
                        <c:v>38.183999999999997</c:v>
                      </c:pt>
                      <c:pt idx="555">
                        <c:v>38.183999999999997</c:v>
                      </c:pt>
                      <c:pt idx="556">
                        <c:v>38.183999999999997</c:v>
                      </c:pt>
                      <c:pt idx="557">
                        <c:v>38.183999999999997</c:v>
                      </c:pt>
                      <c:pt idx="558">
                        <c:v>38.183999999999997</c:v>
                      </c:pt>
                      <c:pt idx="559">
                        <c:v>39.6</c:v>
                      </c:pt>
                      <c:pt idx="560">
                        <c:v>39.6</c:v>
                      </c:pt>
                      <c:pt idx="561">
                        <c:v>39.6</c:v>
                      </c:pt>
                      <c:pt idx="562">
                        <c:v>40.103999999999999</c:v>
                      </c:pt>
                      <c:pt idx="563">
                        <c:v>40.103999999999999</c:v>
                      </c:pt>
                      <c:pt idx="564">
                        <c:v>40.103999999999999</c:v>
                      </c:pt>
                      <c:pt idx="565">
                        <c:v>40.103999999999999</c:v>
                      </c:pt>
                      <c:pt idx="566">
                        <c:v>40.103999999999999</c:v>
                      </c:pt>
                      <c:pt idx="567">
                        <c:v>40.103999999999999</c:v>
                      </c:pt>
                      <c:pt idx="568">
                        <c:v>40.103999999999999</c:v>
                      </c:pt>
                      <c:pt idx="569">
                        <c:v>40.103999999999999</c:v>
                      </c:pt>
                      <c:pt idx="570">
                        <c:v>40.103999999999999</c:v>
                      </c:pt>
                      <c:pt idx="571">
                        <c:v>40.103999999999999</c:v>
                      </c:pt>
                      <c:pt idx="572">
                        <c:v>40.103999999999999</c:v>
                      </c:pt>
                      <c:pt idx="573">
                        <c:v>40.103999999999999</c:v>
                      </c:pt>
                      <c:pt idx="574">
                        <c:v>40.103999999999999</c:v>
                      </c:pt>
                      <c:pt idx="575">
                        <c:v>40.103999999999999</c:v>
                      </c:pt>
                      <c:pt idx="576">
                        <c:v>40.103999999999999</c:v>
                      </c:pt>
                      <c:pt idx="577">
                        <c:v>40.103999999999999</c:v>
                      </c:pt>
                      <c:pt idx="578">
                        <c:v>43.44</c:v>
                      </c:pt>
                      <c:pt idx="579">
                        <c:v>43.44</c:v>
                      </c:pt>
                      <c:pt idx="580">
                        <c:v>43.44</c:v>
                      </c:pt>
                      <c:pt idx="581">
                        <c:v>43.44</c:v>
                      </c:pt>
                      <c:pt idx="582">
                        <c:v>43.44</c:v>
                      </c:pt>
                      <c:pt idx="583">
                        <c:v>43.44</c:v>
                      </c:pt>
                      <c:pt idx="584">
                        <c:v>43.44</c:v>
                      </c:pt>
                      <c:pt idx="585">
                        <c:v>43.44</c:v>
                      </c:pt>
                      <c:pt idx="586">
                        <c:v>43.44</c:v>
                      </c:pt>
                      <c:pt idx="587">
                        <c:v>43.44</c:v>
                      </c:pt>
                      <c:pt idx="588">
                        <c:v>43.44</c:v>
                      </c:pt>
                      <c:pt idx="589">
                        <c:v>43.44</c:v>
                      </c:pt>
                      <c:pt idx="590">
                        <c:v>43.44</c:v>
                      </c:pt>
                      <c:pt idx="591">
                        <c:v>43.44</c:v>
                      </c:pt>
                      <c:pt idx="592">
                        <c:v>43.44</c:v>
                      </c:pt>
                      <c:pt idx="593">
                        <c:v>43.44</c:v>
                      </c:pt>
                      <c:pt idx="594">
                        <c:v>43.44</c:v>
                      </c:pt>
                      <c:pt idx="595">
                        <c:v>43.44</c:v>
                      </c:pt>
                      <c:pt idx="596">
                        <c:v>43.44</c:v>
                      </c:pt>
                      <c:pt idx="597">
                        <c:v>43.44</c:v>
                      </c:pt>
                      <c:pt idx="598">
                        <c:v>43.44</c:v>
                      </c:pt>
                      <c:pt idx="599">
                        <c:v>43.44</c:v>
                      </c:pt>
                      <c:pt idx="600">
                        <c:v>43.44</c:v>
                      </c:pt>
                      <c:pt idx="601">
                        <c:v>43.44</c:v>
                      </c:pt>
                      <c:pt idx="602">
                        <c:v>43.44</c:v>
                      </c:pt>
                      <c:pt idx="603">
                        <c:v>43.44</c:v>
                      </c:pt>
                      <c:pt idx="604">
                        <c:v>43.44</c:v>
                      </c:pt>
                      <c:pt idx="605">
                        <c:v>43.44</c:v>
                      </c:pt>
                      <c:pt idx="606">
                        <c:v>43.44</c:v>
                      </c:pt>
                      <c:pt idx="607">
                        <c:v>43.44</c:v>
                      </c:pt>
                      <c:pt idx="608">
                        <c:v>43.44</c:v>
                      </c:pt>
                      <c:pt idx="609">
                        <c:v>43.44</c:v>
                      </c:pt>
                      <c:pt idx="610">
                        <c:v>43.44</c:v>
                      </c:pt>
                      <c:pt idx="611">
                        <c:v>43.44</c:v>
                      </c:pt>
                      <c:pt idx="612">
                        <c:v>43.44</c:v>
                      </c:pt>
                      <c:pt idx="613">
                        <c:v>43.44</c:v>
                      </c:pt>
                      <c:pt idx="614">
                        <c:v>43.44</c:v>
                      </c:pt>
                      <c:pt idx="615">
                        <c:v>43.44</c:v>
                      </c:pt>
                      <c:pt idx="616">
                        <c:v>43.44</c:v>
                      </c:pt>
                      <c:pt idx="617">
                        <c:v>43.44</c:v>
                      </c:pt>
                      <c:pt idx="618">
                        <c:v>43.44</c:v>
                      </c:pt>
                      <c:pt idx="619">
                        <c:v>43.44</c:v>
                      </c:pt>
                      <c:pt idx="620">
                        <c:v>43.44</c:v>
                      </c:pt>
                      <c:pt idx="621">
                        <c:v>43.44</c:v>
                      </c:pt>
                      <c:pt idx="622">
                        <c:v>43.44</c:v>
                      </c:pt>
                      <c:pt idx="623">
                        <c:v>43.44</c:v>
                      </c:pt>
                      <c:pt idx="624">
                        <c:v>43.44</c:v>
                      </c:pt>
                      <c:pt idx="625">
                        <c:v>43.44</c:v>
                      </c:pt>
                      <c:pt idx="626">
                        <c:v>43.44</c:v>
                      </c:pt>
                      <c:pt idx="627">
                        <c:v>43.44</c:v>
                      </c:pt>
                      <c:pt idx="628">
                        <c:v>43.44</c:v>
                      </c:pt>
                      <c:pt idx="629">
                        <c:v>43.44</c:v>
                      </c:pt>
                      <c:pt idx="630">
                        <c:v>43.44</c:v>
                      </c:pt>
                      <c:pt idx="631">
                        <c:v>43.44</c:v>
                      </c:pt>
                      <c:pt idx="632">
                        <c:v>43.44</c:v>
                      </c:pt>
                      <c:pt idx="633">
                        <c:v>43.44</c:v>
                      </c:pt>
                      <c:pt idx="634">
                        <c:v>43.44</c:v>
                      </c:pt>
                      <c:pt idx="635">
                        <c:v>43.44</c:v>
                      </c:pt>
                      <c:pt idx="636">
                        <c:v>43.44</c:v>
                      </c:pt>
                      <c:pt idx="637">
                        <c:v>43.44</c:v>
                      </c:pt>
                      <c:pt idx="638">
                        <c:v>43.44</c:v>
                      </c:pt>
                      <c:pt idx="639">
                        <c:v>45.095999999999997</c:v>
                      </c:pt>
                      <c:pt idx="640">
                        <c:v>45.095999999999997</c:v>
                      </c:pt>
                      <c:pt idx="641">
                        <c:v>45.095999999999997</c:v>
                      </c:pt>
                      <c:pt idx="642">
                        <c:v>45.095999999999997</c:v>
                      </c:pt>
                      <c:pt idx="643">
                        <c:v>45.095999999999997</c:v>
                      </c:pt>
                      <c:pt idx="644">
                        <c:v>45.095999999999997</c:v>
                      </c:pt>
                      <c:pt idx="645">
                        <c:v>45.095999999999997</c:v>
                      </c:pt>
                      <c:pt idx="646">
                        <c:v>45.095999999999997</c:v>
                      </c:pt>
                      <c:pt idx="647">
                        <c:v>45.095999999999997</c:v>
                      </c:pt>
                      <c:pt idx="648">
                        <c:v>45.095999999999997</c:v>
                      </c:pt>
                      <c:pt idx="649">
                        <c:v>45.095999999999997</c:v>
                      </c:pt>
                      <c:pt idx="650">
                        <c:v>45.095999999999997</c:v>
                      </c:pt>
                      <c:pt idx="651">
                        <c:v>45.095999999999997</c:v>
                      </c:pt>
                      <c:pt idx="652">
                        <c:v>45.095999999999997</c:v>
                      </c:pt>
                      <c:pt idx="653">
                        <c:v>45.095999999999997</c:v>
                      </c:pt>
                      <c:pt idx="654">
                        <c:v>45.095999999999997</c:v>
                      </c:pt>
                      <c:pt idx="655">
                        <c:v>45.095999999999997</c:v>
                      </c:pt>
                      <c:pt idx="656">
                        <c:v>45.095999999999997</c:v>
                      </c:pt>
                      <c:pt idx="657">
                        <c:v>45.095999999999997</c:v>
                      </c:pt>
                      <c:pt idx="658">
                        <c:v>45.095999999999997</c:v>
                      </c:pt>
                      <c:pt idx="659">
                        <c:v>45.095999999999997</c:v>
                      </c:pt>
                      <c:pt idx="660">
                        <c:v>45.095999999999997</c:v>
                      </c:pt>
                      <c:pt idx="661">
                        <c:v>45.095999999999997</c:v>
                      </c:pt>
                      <c:pt idx="662">
                        <c:v>45.095999999999997</c:v>
                      </c:pt>
                      <c:pt idx="663">
                        <c:v>45.095999999999997</c:v>
                      </c:pt>
                      <c:pt idx="664">
                        <c:v>45.095999999999997</c:v>
                      </c:pt>
                      <c:pt idx="665">
                        <c:v>45.095999999999997</c:v>
                      </c:pt>
                      <c:pt idx="666">
                        <c:v>45.095999999999997</c:v>
                      </c:pt>
                      <c:pt idx="667">
                        <c:v>45.095999999999997</c:v>
                      </c:pt>
                      <c:pt idx="668">
                        <c:v>45.095999999999997</c:v>
                      </c:pt>
                      <c:pt idx="669">
                        <c:v>45.095999999999997</c:v>
                      </c:pt>
                      <c:pt idx="670">
                        <c:v>45.095999999999997</c:v>
                      </c:pt>
                      <c:pt idx="671">
                        <c:v>45.095999999999997</c:v>
                      </c:pt>
                      <c:pt idx="672">
                        <c:v>45.095999999999997</c:v>
                      </c:pt>
                      <c:pt idx="673">
                        <c:v>45.095999999999997</c:v>
                      </c:pt>
                      <c:pt idx="674">
                        <c:v>45.095999999999997</c:v>
                      </c:pt>
                      <c:pt idx="675">
                        <c:v>45.095999999999997</c:v>
                      </c:pt>
                      <c:pt idx="676">
                        <c:v>45.095999999999997</c:v>
                      </c:pt>
                      <c:pt idx="677">
                        <c:v>45.095999999999997</c:v>
                      </c:pt>
                      <c:pt idx="678">
                        <c:v>45.095999999999997</c:v>
                      </c:pt>
                      <c:pt idx="679">
                        <c:v>45.095999999999997</c:v>
                      </c:pt>
                      <c:pt idx="680">
                        <c:v>45.095999999999997</c:v>
                      </c:pt>
                      <c:pt idx="681">
                        <c:v>45.095999999999997</c:v>
                      </c:pt>
                      <c:pt idx="682">
                        <c:v>45.095999999999997</c:v>
                      </c:pt>
                      <c:pt idx="683">
                        <c:v>45.095999999999997</c:v>
                      </c:pt>
                      <c:pt idx="684">
                        <c:v>45.095999999999997</c:v>
                      </c:pt>
                      <c:pt idx="685">
                        <c:v>45.095999999999997</c:v>
                      </c:pt>
                      <c:pt idx="686">
                        <c:v>45.095999999999997</c:v>
                      </c:pt>
                      <c:pt idx="687">
                        <c:v>45.095999999999997</c:v>
                      </c:pt>
                      <c:pt idx="688">
                        <c:v>45.095999999999997</c:v>
                      </c:pt>
                      <c:pt idx="689">
                        <c:v>45.095999999999997</c:v>
                      </c:pt>
                      <c:pt idx="690">
                        <c:v>45.095999999999997</c:v>
                      </c:pt>
                      <c:pt idx="691">
                        <c:v>45.095999999999997</c:v>
                      </c:pt>
                      <c:pt idx="692">
                        <c:v>45.095999999999997</c:v>
                      </c:pt>
                      <c:pt idx="693">
                        <c:v>45.095999999999997</c:v>
                      </c:pt>
                      <c:pt idx="694">
                        <c:v>45.095999999999997</c:v>
                      </c:pt>
                      <c:pt idx="695">
                        <c:v>45.095999999999997</c:v>
                      </c:pt>
                      <c:pt idx="696">
                        <c:v>45.095999999999997</c:v>
                      </c:pt>
                      <c:pt idx="697">
                        <c:v>45.095999999999997</c:v>
                      </c:pt>
                      <c:pt idx="698">
                        <c:v>45.095999999999997</c:v>
                      </c:pt>
                      <c:pt idx="699">
                        <c:v>45.095999999999997</c:v>
                      </c:pt>
                      <c:pt idx="700">
                        <c:v>45.095999999999997</c:v>
                      </c:pt>
                      <c:pt idx="701">
                        <c:v>45.095999999999997</c:v>
                      </c:pt>
                      <c:pt idx="702">
                        <c:v>45.095999999999997</c:v>
                      </c:pt>
                      <c:pt idx="703">
                        <c:v>45.095999999999997</c:v>
                      </c:pt>
                      <c:pt idx="704">
                        <c:v>45.095999999999997</c:v>
                      </c:pt>
                      <c:pt idx="705">
                        <c:v>45.095999999999997</c:v>
                      </c:pt>
                      <c:pt idx="706">
                        <c:v>45.095999999999997</c:v>
                      </c:pt>
                      <c:pt idx="707">
                        <c:v>45.095999999999997</c:v>
                      </c:pt>
                      <c:pt idx="708">
                        <c:v>45.095999999999997</c:v>
                      </c:pt>
                      <c:pt idx="709">
                        <c:v>45.095999999999997</c:v>
                      </c:pt>
                      <c:pt idx="710">
                        <c:v>45.095999999999997</c:v>
                      </c:pt>
                      <c:pt idx="711">
                        <c:v>45.095999999999997</c:v>
                      </c:pt>
                      <c:pt idx="712">
                        <c:v>45.095999999999997</c:v>
                      </c:pt>
                      <c:pt idx="713">
                        <c:v>45.095999999999997</c:v>
                      </c:pt>
                      <c:pt idx="714">
                        <c:v>45.095999999999997</c:v>
                      </c:pt>
                      <c:pt idx="715">
                        <c:v>45.095999999999997</c:v>
                      </c:pt>
                      <c:pt idx="716">
                        <c:v>45.095999999999997</c:v>
                      </c:pt>
                      <c:pt idx="717">
                        <c:v>45.095999999999997</c:v>
                      </c:pt>
                      <c:pt idx="718">
                        <c:v>45.095999999999997</c:v>
                      </c:pt>
                      <c:pt idx="719">
                        <c:v>45.095999999999997</c:v>
                      </c:pt>
                      <c:pt idx="720">
                        <c:v>45.095999999999997</c:v>
                      </c:pt>
                      <c:pt idx="721">
                        <c:v>45.095999999999997</c:v>
                      </c:pt>
                      <c:pt idx="722">
                        <c:v>45.095999999999997</c:v>
                      </c:pt>
                      <c:pt idx="723">
                        <c:v>45.095999999999997</c:v>
                      </c:pt>
                      <c:pt idx="724">
                        <c:v>45.095999999999997</c:v>
                      </c:pt>
                      <c:pt idx="725">
                        <c:v>45.095999999999997</c:v>
                      </c:pt>
                      <c:pt idx="726">
                        <c:v>45.095999999999997</c:v>
                      </c:pt>
                      <c:pt idx="727">
                        <c:v>45.095999999999997</c:v>
                      </c:pt>
                      <c:pt idx="728">
                        <c:v>45.095999999999997</c:v>
                      </c:pt>
                      <c:pt idx="729">
                        <c:v>45.095999999999997</c:v>
                      </c:pt>
                      <c:pt idx="730">
                        <c:v>45.095999999999997</c:v>
                      </c:pt>
                      <c:pt idx="731">
                        <c:v>45.095999999999997</c:v>
                      </c:pt>
                      <c:pt idx="732">
                        <c:v>45.095999999999997</c:v>
                      </c:pt>
                      <c:pt idx="733">
                        <c:v>45.095999999999997</c:v>
                      </c:pt>
                      <c:pt idx="734">
                        <c:v>45.095999999999997</c:v>
                      </c:pt>
                      <c:pt idx="735">
                        <c:v>45.095999999999997</c:v>
                      </c:pt>
                      <c:pt idx="736">
                        <c:v>45.095999999999997</c:v>
                      </c:pt>
                      <c:pt idx="737">
                        <c:v>45.095999999999997</c:v>
                      </c:pt>
                      <c:pt idx="738">
                        <c:v>45.095999999999997</c:v>
                      </c:pt>
                      <c:pt idx="739">
                        <c:v>45.095999999999997</c:v>
                      </c:pt>
                      <c:pt idx="740">
                        <c:v>45.095999999999997</c:v>
                      </c:pt>
                      <c:pt idx="741">
                        <c:v>45.095999999999997</c:v>
                      </c:pt>
                      <c:pt idx="742">
                        <c:v>45.095999999999997</c:v>
                      </c:pt>
                      <c:pt idx="743">
                        <c:v>45.095999999999997</c:v>
                      </c:pt>
                      <c:pt idx="744">
                        <c:v>45.095999999999997</c:v>
                      </c:pt>
                      <c:pt idx="745">
                        <c:v>45.095999999999997</c:v>
                      </c:pt>
                      <c:pt idx="746">
                        <c:v>45.095999999999997</c:v>
                      </c:pt>
                      <c:pt idx="747">
                        <c:v>45.095999999999997</c:v>
                      </c:pt>
                      <c:pt idx="748">
                        <c:v>45.095999999999997</c:v>
                      </c:pt>
                      <c:pt idx="749">
                        <c:v>45.095999999999997</c:v>
                      </c:pt>
                      <c:pt idx="750">
                        <c:v>45.095999999999997</c:v>
                      </c:pt>
                      <c:pt idx="751">
                        <c:v>45.095999999999997</c:v>
                      </c:pt>
                      <c:pt idx="752">
                        <c:v>45.095999999999997</c:v>
                      </c:pt>
                      <c:pt idx="753">
                        <c:v>45.095999999999997</c:v>
                      </c:pt>
                      <c:pt idx="754">
                        <c:v>45.095999999999997</c:v>
                      </c:pt>
                      <c:pt idx="755">
                        <c:v>45.095999999999997</c:v>
                      </c:pt>
                      <c:pt idx="756">
                        <c:v>45.095999999999997</c:v>
                      </c:pt>
                      <c:pt idx="757">
                        <c:v>45.095999999999997</c:v>
                      </c:pt>
                      <c:pt idx="758">
                        <c:v>45.095999999999997</c:v>
                      </c:pt>
                      <c:pt idx="759">
                        <c:v>45.095999999999997</c:v>
                      </c:pt>
                      <c:pt idx="760">
                        <c:v>45.095999999999997</c:v>
                      </c:pt>
                      <c:pt idx="761">
                        <c:v>45.095999999999997</c:v>
                      </c:pt>
                      <c:pt idx="762">
                        <c:v>45.095999999999997</c:v>
                      </c:pt>
                      <c:pt idx="763">
                        <c:v>45.095999999999997</c:v>
                      </c:pt>
                      <c:pt idx="764">
                        <c:v>45.095999999999997</c:v>
                      </c:pt>
                      <c:pt idx="765">
                        <c:v>45.095999999999997</c:v>
                      </c:pt>
                      <c:pt idx="766">
                        <c:v>45.095999999999997</c:v>
                      </c:pt>
                      <c:pt idx="767">
                        <c:v>45.095999999999997</c:v>
                      </c:pt>
                      <c:pt idx="768">
                        <c:v>45.095999999999997</c:v>
                      </c:pt>
                      <c:pt idx="769">
                        <c:v>45.095999999999997</c:v>
                      </c:pt>
                      <c:pt idx="770">
                        <c:v>45.095999999999997</c:v>
                      </c:pt>
                      <c:pt idx="771">
                        <c:v>45.095999999999997</c:v>
                      </c:pt>
                      <c:pt idx="772">
                        <c:v>45.095999999999997</c:v>
                      </c:pt>
                      <c:pt idx="773">
                        <c:v>45.095999999999997</c:v>
                      </c:pt>
                      <c:pt idx="774">
                        <c:v>45.095999999999997</c:v>
                      </c:pt>
                      <c:pt idx="775">
                        <c:v>45.095999999999997</c:v>
                      </c:pt>
                      <c:pt idx="776">
                        <c:v>45.095999999999997</c:v>
                      </c:pt>
                      <c:pt idx="777">
                        <c:v>45.095999999999997</c:v>
                      </c:pt>
                      <c:pt idx="778">
                        <c:v>45.095999999999997</c:v>
                      </c:pt>
                      <c:pt idx="779">
                        <c:v>45.095999999999997</c:v>
                      </c:pt>
                      <c:pt idx="780">
                        <c:v>45.095999999999997</c:v>
                      </c:pt>
                      <c:pt idx="781">
                        <c:v>45.095999999999997</c:v>
                      </c:pt>
                      <c:pt idx="782">
                        <c:v>45.095999999999997</c:v>
                      </c:pt>
                      <c:pt idx="783">
                        <c:v>45.095999999999997</c:v>
                      </c:pt>
                      <c:pt idx="784">
                        <c:v>45.095999999999997</c:v>
                      </c:pt>
                      <c:pt idx="785">
                        <c:v>45.095999999999997</c:v>
                      </c:pt>
                      <c:pt idx="786">
                        <c:v>45.095999999999997</c:v>
                      </c:pt>
                      <c:pt idx="787">
                        <c:v>45.095999999999997</c:v>
                      </c:pt>
                      <c:pt idx="788">
                        <c:v>45.095999999999997</c:v>
                      </c:pt>
                      <c:pt idx="789">
                        <c:v>45.095999999999997</c:v>
                      </c:pt>
                      <c:pt idx="790">
                        <c:v>45.095999999999997</c:v>
                      </c:pt>
                      <c:pt idx="791">
                        <c:v>45.095999999999997</c:v>
                      </c:pt>
                      <c:pt idx="792">
                        <c:v>45.095999999999997</c:v>
                      </c:pt>
                      <c:pt idx="793">
                        <c:v>45.095999999999997</c:v>
                      </c:pt>
                      <c:pt idx="794">
                        <c:v>45.095999999999997</c:v>
                      </c:pt>
                      <c:pt idx="795">
                        <c:v>45.095999999999997</c:v>
                      </c:pt>
                      <c:pt idx="796">
                        <c:v>45.095999999999997</c:v>
                      </c:pt>
                      <c:pt idx="797">
                        <c:v>45.095999999999997</c:v>
                      </c:pt>
                      <c:pt idx="798">
                        <c:v>45.095999999999997</c:v>
                      </c:pt>
                      <c:pt idx="799">
                        <c:v>45.095999999999997</c:v>
                      </c:pt>
                      <c:pt idx="800">
                        <c:v>45.095999999999997</c:v>
                      </c:pt>
                      <c:pt idx="801">
                        <c:v>45.095999999999997</c:v>
                      </c:pt>
                      <c:pt idx="802">
                        <c:v>45.095999999999997</c:v>
                      </c:pt>
                      <c:pt idx="803">
                        <c:v>45.095999999999997</c:v>
                      </c:pt>
                      <c:pt idx="804">
                        <c:v>45.095999999999997</c:v>
                      </c:pt>
                      <c:pt idx="805">
                        <c:v>45.095999999999997</c:v>
                      </c:pt>
                      <c:pt idx="806">
                        <c:v>45.095999999999997</c:v>
                      </c:pt>
                      <c:pt idx="807">
                        <c:v>45.095999999999997</c:v>
                      </c:pt>
                      <c:pt idx="808">
                        <c:v>45.095999999999997</c:v>
                      </c:pt>
                      <c:pt idx="809">
                        <c:v>45.095999999999997</c:v>
                      </c:pt>
                      <c:pt idx="810">
                        <c:v>45.095999999999997</c:v>
                      </c:pt>
                      <c:pt idx="811">
                        <c:v>45.095999999999997</c:v>
                      </c:pt>
                      <c:pt idx="812">
                        <c:v>45.095999999999997</c:v>
                      </c:pt>
                      <c:pt idx="813">
                        <c:v>45.095999999999997</c:v>
                      </c:pt>
                      <c:pt idx="814">
                        <c:v>45.095999999999997</c:v>
                      </c:pt>
                      <c:pt idx="815">
                        <c:v>45.095999999999997</c:v>
                      </c:pt>
                      <c:pt idx="816">
                        <c:v>45.095999999999997</c:v>
                      </c:pt>
                      <c:pt idx="817">
                        <c:v>45.095999999999997</c:v>
                      </c:pt>
                      <c:pt idx="818">
                        <c:v>45.095999999999997</c:v>
                      </c:pt>
                      <c:pt idx="819">
                        <c:v>45.095999999999997</c:v>
                      </c:pt>
                      <c:pt idx="820">
                        <c:v>45.095999999999997</c:v>
                      </c:pt>
                      <c:pt idx="821">
                        <c:v>63.768000000000001</c:v>
                      </c:pt>
                      <c:pt idx="822">
                        <c:v>63.768000000000001</c:v>
                      </c:pt>
                      <c:pt idx="823">
                        <c:v>63.768000000000001</c:v>
                      </c:pt>
                      <c:pt idx="824">
                        <c:v>63.768000000000001</c:v>
                      </c:pt>
                      <c:pt idx="825">
                        <c:v>63.768000000000001</c:v>
                      </c:pt>
                      <c:pt idx="826">
                        <c:v>63.768000000000001</c:v>
                      </c:pt>
                      <c:pt idx="827">
                        <c:v>63.768000000000001</c:v>
                      </c:pt>
                      <c:pt idx="828">
                        <c:v>63.768000000000001</c:v>
                      </c:pt>
                      <c:pt idx="829">
                        <c:v>63.768000000000001</c:v>
                      </c:pt>
                      <c:pt idx="830">
                        <c:v>63.768000000000001</c:v>
                      </c:pt>
                      <c:pt idx="831">
                        <c:v>63.768000000000001</c:v>
                      </c:pt>
                      <c:pt idx="832">
                        <c:v>63.768000000000001</c:v>
                      </c:pt>
                      <c:pt idx="833">
                        <c:v>63.768000000000001</c:v>
                      </c:pt>
                      <c:pt idx="834">
                        <c:v>63.768000000000001</c:v>
                      </c:pt>
                      <c:pt idx="835">
                        <c:v>63.768000000000001</c:v>
                      </c:pt>
                      <c:pt idx="836">
                        <c:v>63.768000000000001</c:v>
                      </c:pt>
                      <c:pt idx="837">
                        <c:v>63.768000000000001</c:v>
                      </c:pt>
                      <c:pt idx="838">
                        <c:v>63.768000000000001</c:v>
                      </c:pt>
                      <c:pt idx="839">
                        <c:v>63.768000000000001</c:v>
                      </c:pt>
                      <c:pt idx="840">
                        <c:v>63.768000000000001</c:v>
                      </c:pt>
                      <c:pt idx="841">
                        <c:v>63.768000000000001</c:v>
                      </c:pt>
                      <c:pt idx="842">
                        <c:v>63.768000000000001</c:v>
                      </c:pt>
                      <c:pt idx="843">
                        <c:v>63.768000000000001</c:v>
                      </c:pt>
                      <c:pt idx="844">
                        <c:v>63.768000000000001</c:v>
                      </c:pt>
                      <c:pt idx="845">
                        <c:v>63.768000000000001</c:v>
                      </c:pt>
                      <c:pt idx="846">
                        <c:v>63.768000000000001</c:v>
                      </c:pt>
                      <c:pt idx="847">
                        <c:v>65.016000000000005</c:v>
                      </c:pt>
                      <c:pt idx="848">
                        <c:v>65.016000000000005</c:v>
                      </c:pt>
                      <c:pt idx="849">
                        <c:v>65.016000000000005</c:v>
                      </c:pt>
                      <c:pt idx="850">
                        <c:v>65.016000000000005</c:v>
                      </c:pt>
                      <c:pt idx="851">
                        <c:v>53.16</c:v>
                      </c:pt>
                      <c:pt idx="852">
                        <c:v>53.16</c:v>
                      </c:pt>
                      <c:pt idx="853">
                        <c:v>36</c:v>
                      </c:pt>
                      <c:pt idx="854">
                        <c:v>38.136000000000003</c:v>
                      </c:pt>
                      <c:pt idx="855">
                        <c:v>38.975999999999999</c:v>
                      </c:pt>
                      <c:pt idx="856">
                        <c:v>38.975999999999999</c:v>
                      </c:pt>
                      <c:pt idx="857">
                        <c:v>43.776000000000003</c:v>
                      </c:pt>
                      <c:pt idx="858">
                        <c:v>43.776000000000003</c:v>
                      </c:pt>
                      <c:pt idx="859">
                        <c:v>43.776000000000003</c:v>
                      </c:pt>
                      <c:pt idx="860">
                        <c:v>46.176000000000002</c:v>
                      </c:pt>
                      <c:pt idx="861">
                        <c:v>46.728000000000002</c:v>
                      </c:pt>
                      <c:pt idx="862">
                        <c:v>46.728000000000002</c:v>
                      </c:pt>
                      <c:pt idx="863">
                        <c:v>61.128</c:v>
                      </c:pt>
                      <c:pt idx="864">
                        <c:v>56.112000000000002</c:v>
                      </c:pt>
                      <c:pt idx="865">
                        <c:v>56.112000000000002</c:v>
                      </c:pt>
                      <c:pt idx="866">
                        <c:v>56.112000000000002</c:v>
                      </c:pt>
                      <c:pt idx="867">
                        <c:v>68.111999999999995</c:v>
                      </c:pt>
                      <c:pt idx="868">
                        <c:v>68.111999999999995</c:v>
                      </c:pt>
                      <c:pt idx="869">
                        <c:v>68.111999999999995</c:v>
                      </c:pt>
                      <c:pt idx="870">
                        <c:v>68.111999999999995</c:v>
                      </c:pt>
                      <c:pt idx="871">
                        <c:v>75.215999999999994</c:v>
                      </c:pt>
                      <c:pt idx="872">
                        <c:v>75.215999999999994</c:v>
                      </c:pt>
                      <c:pt idx="873">
                        <c:v>75.215999999999994</c:v>
                      </c:pt>
                      <c:pt idx="874">
                        <c:v>71.616</c:v>
                      </c:pt>
                      <c:pt idx="875">
                        <c:v>83.28</c:v>
                      </c:pt>
                      <c:pt idx="876">
                        <c:v>84.168000000000006</c:v>
                      </c:pt>
                      <c:pt idx="877">
                        <c:v>90.72</c:v>
                      </c:pt>
                      <c:pt idx="878">
                        <c:v>90.72</c:v>
                      </c:pt>
                      <c:pt idx="879">
                        <c:v>90.72</c:v>
                      </c:pt>
                      <c:pt idx="880">
                        <c:v>90.72</c:v>
                      </c:pt>
                      <c:pt idx="881">
                        <c:v>76.968000000000004</c:v>
                      </c:pt>
                      <c:pt idx="882">
                        <c:v>57.72</c:v>
                      </c:pt>
                      <c:pt idx="883">
                        <c:v>64.92</c:v>
                      </c:pt>
                      <c:pt idx="884">
                        <c:v>64.92</c:v>
                      </c:pt>
                      <c:pt idx="885">
                        <c:v>64.92</c:v>
                      </c:pt>
                      <c:pt idx="886">
                        <c:v>64.92</c:v>
                      </c:pt>
                      <c:pt idx="887">
                        <c:v>64.92</c:v>
                      </c:pt>
                      <c:pt idx="888">
                        <c:v>57.72</c:v>
                      </c:pt>
                      <c:pt idx="889">
                        <c:v>57.72</c:v>
                      </c:pt>
                      <c:pt idx="890">
                        <c:v>57.72</c:v>
                      </c:pt>
                      <c:pt idx="891">
                        <c:v>57.72</c:v>
                      </c:pt>
                      <c:pt idx="892">
                        <c:v>57.72</c:v>
                      </c:pt>
                      <c:pt idx="893">
                        <c:v>57.72</c:v>
                      </c:pt>
                      <c:pt idx="894">
                        <c:v>57.72</c:v>
                      </c:pt>
                      <c:pt idx="895">
                        <c:v>57.72</c:v>
                      </c:pt>
                      <c:pt idx="896">
                        <c:v>57.72</c:v>
                      </c:pt>
                      <c:pt idx="897">
                        <c:v>57.72</c:v>
                      </c:pt>
                      <c:pt idx="898">
                        <c:v>57.72</c:v>
                      </c:pt>
                      <c:pt idx="899">
                        <c:v>57.72</c:v>
                      </c:pt>
                      <c:pt idx="900">
                        <c:v>57.72</c:v>
                      </c:pt>
                      <c:pt idx="901">
                        <c:v>57.72</c:v>
                      </c:pt>
                      <c:pt idx="902">
                        <c:v>57.72</c:v>
                      </c:pt>
                      <c:pt idx="903">
                        <c:v>57.72</c:v>
                      </c:pt>
                      <c:pt idx="904">
                        <c:v>57.72</c:v>
                      </c:pt>
                      <c:pt idx="905">
                        <c:v>57.72</c:v>
                      </c:pt>
                      <c:pt idx="906">
                        <c:v>57.72</c:v>
                      </c:pt>
                      <c:pt idx="907">
                        <c:v>57.72</c:v>
                      </c:pt>
                      <c:pt idx="908">
                        <c:v>57.72</c:v>
                      </c:pt>
                      <c:pt idx="909">
                        <c:v>57.72</c:v>
                      </c:pt>
                      <c:pt idx="910">
                        <c:v>57.72</c:v>
                      </c:pt>
                      <c:pt idx="911">
                        <c:v>57.72</c:v>
                      </c:pt>
                      <c:pt idx="912">
                        <c:v>53.616</c:v>
                      </c:pt>
                      <c:pt idx="913">
                        <c:v>53.616</c:v>
                      </c:pt>
                      <c:pt idx="914">
                        <c:v>53.616</c:v>
                      </c:pt>
                      <c:pt idx="915">
                        <c:v>53.616</c:v>
                      </c:pt>
                      <c:pt idx="916">
                        <c:v>53.616</c:v>
                      </c:pt>
                      <c:pt idx="917">
                        <c:v>53.616</c:v>
                      </c:pt>
                      <c:pt idx="918">
                        <c:v>53.616</c:v>
                      </c:pt>
                      <c:pt idx="919">
                        <c:v>53.616</c:v>
                      </c:pt>
                      <c:pt idx="920">
                        <c:v>53.616</c:v>
                      </c:pt>
                      <c:pt idx="921">
                        <c:v>53.616</c:v>
                      </c:pt>
                      <c:pt idx="922">
                        <c:v>53.616</c:v>
                      </c:pt>
                      <c:pt idx="923">
                        <c:v>53.616</c:v>
                      </c:pt>
                      <c:pt idx="924">
                        <c:v>53.616</c:v>
                      </c:pt>
                      <c:pt idx="925">
                        <c:v>53.616</c:v>
                      </c:pt>
                      <c:pt idx="926">
                        <c:v>53.616</c:v>
                      </c:pt>
                      <c:pt idx="927">
                        <c:v>53.616</c:v>
                      </c:pt>
                      <c:pt idx="928">
                        <c:v>53.616</c:v>
                      </c:pt>
                      <c:pt idx="929">
                        <c:v>53.616</c:v>
                      </c:pt>
                      <c:pt idx="930">
                        <c:v>53.616</c:v>
                      </c:pt>
                      <c:pt idx="931">
                        <c:v>53.616</c:v>
                      </c:pt>
                      <c:pt idx="932">
                        <c:v>53.616</c:v>
                      </c:pt>
                      <c:pt idx="933">
                        <c:v>53.616</c:v>
                      </c:pt>
                      <c:pt idx="934">
                        <c:v>53.616</c:v>
                      </c:pt>
                      <c:pt idx="935">
                        <c:v>53.616</c:v>
                      </c:pt>
                      <c:pt idx="936">
                        <c:v>53.616</c:v>
                      </c:pt>
                      <c:pt idx="937">
                        <c:v>53.616</c:v>
                      </c:pt>
                      <c:pt idx="938">
                        <c:v>53.616</c:v>
                      </c:pt>
                      <c:pt idx="939">
                        <c:v>53.616</c:v>
                      </c:pt>
                      <c:pt idx="940">
                        <c:v>53.616</c:v>
                      </c:pt>
                      <c:pt idx="941">
                        <c:v>53.616</c:v>
                      </c:pt>
                      <c:pt idx="942">
                        <c:v>53.616</c:v>
                      </c:pt>
                      <c:pt idx="943">
                        <c:v>57.816000000000003</c:v>
                      </c:pt>
                      <c:pt idx="944">
                        <c:v>57.816000000000003</c:v>
                      </c:pt>
                      <c:pt idx="945">
                        <c:v>57.816000000000003</c:v>
                      </c:pt>
                      <c:pt idx="946">
                        <c:v>57.816000000000003</c:v>
                      </c:pt>
                      <c:pt idx="947">
                        <c:v>57.816000000000003</c:v>
                      </c:pt>
                      <c:pt idx="948">
                        <c:v>57.816000000000003</c:v>
                      </c:pt>
                      <c:pt idx="949">
                        <c:v>57.816000000000003</c:v>
                      </c:pt>
                      <c:pt idx="950">
                        <c:v>57.816000000000003</c:v>
                      </c:pt>
                      <c:pt idx="951">
                        <c:v>57.816000000000003</c:v>
                      </c:pt>
                      <c:pt idx="952">
                        <c:v>57.816000000000003</c:v>
                      </c:pt>
                      <c:pt idx="953">
                        <c:v>57.816000000000003</c:v>
                      </c:pt>
                      <c:pt idx="954">
                        <c:v>57.816000000000003</c:v>
                      </c:pt>
                      <c:pt idx="955">
                        <c:v>57.816000000000003</c:v>
                      </c:pt>
                      <c:pt idx="956">
                        <c:v>57.816000000000003</c:v>
                      </c:pt>
                      <c:pt idx="957">
                        <c:v>57.816000000000003</c:v>
                      </c:pt>
                      <c:pt idx="958">
                        <c:v>57.816000000000003</c:v>
                      </c:pt>
                      <c:pt idx="959">
                        <c:v>57.816000000000003</c:v>
                      </c:pt>
                      <c:pt idx="960">
                        <c:v>57.816000000000003</c:v>
                      </c:pt>
                      <c:pt idx="961">
                        <c:v>57.816000000000003</c:v>
                      </c:pt>
                      <c:pt idx="962">
                        <c:v>57.816000000000003</c:v>
                      </c:pt>
                      <c:pt idx="963">
                        <c:v>57.816000000000003</c:v>
                      </c:pt>
                      <c:pt idx="964">
                        <c:v>57.816000000000003</c:v>
                      </c:pt>
                      <c:pt idx="965">
                        <c:v>57.816000000000003</c:v>
                      </c:pt>
                      <c:pt idx="966">
                        <c:v>57.816000000000003</c:v>
                      </c:pt>
                      <c:pt idx="967">
                        <c:v>57.816000000000003</c:v>
                      </c:pt>
                      <c:pt idx="968">
                        <c:v>57.816000000000003</c:v>
                      </c:pt>
                      <c:pt idx="969">
                        <c:v>57.816000000000003</c:v>
                      </c:pt>
                      <c:pt idx="970">
                        <c:v>57.816000000000003</c:v>
                      </c:pt>
                      <c:pt idx="971">
                        <c:v>57.816000000000003</c:v>
                      </c:pt>
                      <c:pt idx="972">
                        <c:v>57.816000000000003</c:v>
                      </c:pt>
                      <c:pt idx="973">
                        <c:v>57.816000000000003</c:v>
                      </c:pt>
                      <c:pt idx="974">
                        <c:v>57.816000000000003</c:v>
                      </c:pt>
                      <c:pt idx="975">
                        <c:v>57.816000000000003</c:v>
                      </c:pt>
                      <c:pt idx="976">
                        <c:v>57.816000000000003</c:v>
                      </c:pt>
                      <c:pt idx="977">
                        <c:v>57.816000000000003</c:v>
                      </c:pt>
                      <c:pt idx="978">
                        <c:v>57.816000000000003</c:v>
                      </c:pt>
                      <c:pt idx="979">
                        <c:v>57.816000000000003</c:v>
                      </c:pt>
                      <c:pt idx="980">
                        <c:v>57.816000000000003</c:v>
                      </c:pt>
                      <c:pt idx="981">
                        <c:v>57.816000000000003</c:v>
                      </c:pt>
                      <c:pt idx="982">
                        <c:v>57.816000000000003</c:v>
                      </c:pt>
                      <c:pt idx="983">
                        <c:v>57.816000000000003</c:v>
                      </c:pt>
                      <c:pt idx="984">
                        <c:v>57.816000000000003</c:v>
                      </c:pt>
                      <c:pt idx="985">
                        <c:v>57.816000000000003</c:v>
                      </c:pt>
                      <c:pt idx="986">
                        <c:v>57.816000000000003</c:v>
                      </c:pt>
                      <c:pt idx="987">
                        <c:v>57.816000000000003</c:v>
                      </c:pt>
                      <c:pt idx="988">
                        <c:v>57.816000000000003</c:v>
                      </c:pt>
                      <c:pt idx="989">
                        <c:v>57.816000000000003</c:v>
                      </c:pt>
                      <c:pt idx="990">
                        <c:v>57.816000000000003</c:v>
                      </c:pt>
                      <c:pt idx="991">
                        <c:v>57.816000000000003</c:v>
                      </c:pt>
                      <c:pt idx="992">
                        <c:v>57.816000000000003</c:v>
                      </c:pt>
                      <c:pt idx="993">
                        <c:v>57.816000000000003</c:v>
                      </c:pt>
                      <c:pt idx="994">
                        <c:v>57.816000000000003</c:v>
                      </c:pt>
                      <c:pt idx="995">
                        <c:v>57.816000000000003</c:v>
                      </c:pt>
                      <c:pt idx="996">
                        <c:v>57.816000000000003</c:v>
                      </c:pt>
                      <c:pt idx="997">
                        <c:v>57.816000000000003</c:v>
                      </c:pt>
                      <c:pt idx="998">
                        <c:v>57.816000000000003</c:v>
                      </c:pt>
                      <c:pt idx="999">
                        <c:v>57.816000000000003</c:v>
                      </c:pt>
                      <c:pt idx="1000">
                        <c:v>57.816000000000003</c:v>
                      </c:pt>
                      <c:pt idx="1001">
                        <c:v>57.816000000000003</c:v>
                      </c:pt>
                      <c:pt idx="1002">
                        <c:v>57.816000000000003</c:v>
                      </c:pt>
                      <c:pt idx="1003">
                        <c:v>57.816000000000003</c:v>
                      </c:pt>
                      <c:pt idx="1004">
                        <c:v>50.448</c:v>
                      </c:pt>
                      <c:pt idx="1005">
                        <c:v>50.448</c:v>
                      </c:pt>
                      <c:pt idx="1006">
                        <c:v>50.448</c:v>
                      </c:pt>
                      <c:pt idx="1007">
                        <c:v>50.448</c:v>
                      </c:pt>
                      <c:pt idx="1008">
                        <c:v>50.448</c:v>
                      </c:pt>
                      <c:pt idx="1009">
                        <c:v>50.448</c:v>
                      </c:pt>
                      <c:pt idx="1010">
                        <c:v>50.448</c:v>
                      </c:pt>
                      <c:pt idx="1011">
                        <c:v>50.448</c:v>
                      </c:pt>
                      <c:pt idx="1012">
                        <c:v>50.448</c:v>
                      </c:pt>
                      <c:pt idx="1013">
                        <c:v>50.448</c:v>
                      </c:pt>
                      <c:pt idx="1014">
                        <c:v>50.448</c:v>
                      </c:pt>
                      <c:pt idx="1015">
                        <c:v>50.448</c:v>
                      </c:pt>
                      <c:pt idx="1016">
                        <c:v>50.448</c:v>
                      </c:pt>
                      <c:pt idx="1017">
                        <c:v>50.448</c:v>
                      </c:pt>
                      <c:pt idx="1018">
                        <c:v>51.192</c:v>
                      </c:pt>
                      <c:pt idx="1019">
                        <c:v>51.192</c:v>
                      </c:pt>
                      <c:pt idx="1020">
                        <c:v>50.448</c:v>
                      </c:pt>
                      <c:pt idx="1021">
                        <c:v>50.448</c:v>
                      </c:pt>
                      <c:pt idx="1022">
                        <c:v>50.448</c:v>
                      </c:pt>
                      <c:pt idx="1023">
                        <c:v>50.448</c:v>
                      </c:pt>
                      <c:pt idx="1024">
                        <c:v>50.448</c:v>
                      </c:pt>
                      <c:pt idx="1025">
                        <c:v>50.448</c:v>
                      </c:pt>
                      <c:pt idx="1026">
                        <c:v>50.448</c:v>
                      </c:pt>
                      <c:pt idx="1027">
                        <c:v>50.448</c:v>
                      </c:pt>
                      <c:pt idx="1028">
                        <c:v>50.448</c:v>
                      </c:pt>
                      <c:pt idx="1029">
                        <c:v>50.448</c:v>
                      </c:pt>
                      <c:pt idx="1030">
                        <c:v>50.448</c:v>
                      </c:pt>
                      <c:pt idx="1031">
                        <c:v>50.448</c:v>
                      </c:pt>
                      <c:pt idx="1032">
                        <c:v>50.448</c:v>
                      </c:pt>
                      <c:pt idx="1033">
                        <c:v>50.448</c:v>
                      </c:pt>
                      <c:pt idx="1034">
                        <c:v>50.448</c:v>
                      </c:pt>
                      <c:pt idx="1035">
                        <c:v>50.448</c:v>
                      </c:pt>
                      <c:pt idx="1036">
                        <c:v>113.44799999999999</c:v>
                      </c:pt>
                      <c:pt idx="1037">
                        <c:v>113.44799999999999</c:v>
                      </c:pt>
                      <c:pt idx="1038">
                        <c:v>113.44799999999999</c:v>
                      </c:pt>
                      <c:pt idx="1039">
                        <c:v>50.448</c:v>
                      </c:pt>
                      <c:pt idx="1040">
                        <c:v>50.448</c:v>
                      </c:pt>
                      <c:pt idx="1041">
                        <c:v>113.44799999999999</c:v>
                      </c:pt>
                      <c:pt idx="1042">
                        <c:v>113.44799999999999</c:v>
                      </c:pt>
                      <c:pt idx="1043">
                        <c:v>113.44799999999999</c:v>
                      </c:pt>
                      <c:pt idx="1044">
                        <c:v>113.44799999999999</c:v>
                      </c:pt>
                      <c:pt idx="1045">
                        <c:v>110.44799999999999</c:v>
                      </c:pt>
                      <c:pt idx="1046">
                        <c:v>50.448</c:v>
                      </c:pt>
                      <c:pt idx="1047">
                        <c:v>50.448</c:v>
                      </c:pt>
                      <c:pt idx="1048">
                        <c:v>110.44799999999999</c:v>
                      </c:pt>
                      <c:pt idx="1049">
                        <c:v>83.447999999999993</c:v>
                      </c:pt>
                      <c:pt idx="1050">
                        <c:v>95.447999999999993</c:v>
                      </c:pt>
                      <c:pt idx="1051">
                        <c:v>110.44799999999999</c:v>
                      </c:pt>
                      <c:pt idx="1052">
                        <c:v>50.783999999999999</c:v>
                      </c:pt>
                      <c:pt idx="1053">
                        <c:v>50.783999999999999</c:v>
                      </c:pt>
                      <c:pt idx="1054">
                        <c:v>50.783999999999999</c:v>
                      </c:pt>
                      <c:pt idx="1055">
                        <c:v>50.783999999999999</c:v>
                      </c:pt>
                      <c:pt idx="1056">
                        <c:v>50.783999999999999</c:v>
                      </c:pt>
                      <c:pt idx="1057">
                        <c:v>50.783999999999999</c:v>
                      </c:pt>
                      <c:pt idx="1058">
                        <c:v>50.783999999999999</c:v>
                      </c:pt>
                      <c:pt idx="1059">
                        <c:v>50.783999999999999</c:v>
                      </c:pt>
                      <c:pt idx="1060">
                        <c:v>50.783999999999999</c:v>
                      </c:pt>
                      <c:pt idx="1061">
                        <c:v>50.783999999999999</c:v>
                      </c:pt>
                      <c:pt idx="1062">
                        <c:v>50.783999999999999</c:v>
                      </c:pt>
                      <c:pt idx="1063">
                        <c:v>50.783999999999999</c:v>
                      </c:pt>
                      <c:pt idx="1064">
                        <c:v>50.783999999999999</c:v>
                      </c:pt>
                      <c:pt idx="1065">
                        <c:v>74.063999999999993</c:v>
                      </c:pt>
                      <c:pt idx="1066">
                        <c:v>74.063999999999993</c:v>
                      </c:pt>
                      <c:pt idx="1067">
                        <c:v>74.063999999999993</c:v>
                      </c:pt>
                      <c:pt idx="1068">
                        <c:v>74.063999999999993</c:v>
                      </c:pt>
                      <c:pt idx="1069">
                        <c:v>74.063999999999993</c:v>
                      </c:pt>
                      <c:pt idx="1070">
                        <c:v>74.063999999999993</c:v>
                      </c:pt>
                      <c:pt idx="1071">
                        <c:v>74.063999999999993</c:v>
                      </c:pt>
                      <c:pt idx="1072">
                        <c:v>74.063999999999993</c:v>
                      </c:pt>
                      <c:pt idx="1073">
                        <c:v>74.063999999999993</c:v>
                      </c:pt>
                      <c:pt idx="1074">
                        <c:v>74.063999999999993</c:v>
                      </c:pt>
                      <c:pt idx="1075">
                        <c:v>74.063999999999993</c:v>
                      </c:pt>
                      <c:pt idx="1076">
                        <c:v>74.063999999999993</c:v>
                      </c:pt>
                      <c:pt idx="1077">
                        <c:v>74.063999999999993</c:v>
                      </c:pt>
                      <c:pt idx="1078">
                        <c:v>74.063999999999993</c:v>
                      </c:pt>
                      <c:pt idx="1079">
                        <c:v>74.063999999999993</c:v>
                      </c:pt>
                      <c:pt idx="1080">
                        <c:v>74.063999999999993</c:v>
                      </c:pt>
                      <c:pt idx="1081">
                        <c:v>74.063999999999993</c:v>
                      </c:pt>
                      <c:pt idx="1082">
                        <c:v>74.063999999999993</c:v>
                      </c:pt>
                      <c:pt idx="1083">
                        <c:v>74.063999999999993</c:v>
                      </c:pt>
                      <c:pt idx="1084">
                        <c:v>74.063999999999993</c:v>
                      </c:pt>
                      <c:pt idx="1085">
                        <c:v>74.063999999999993</c:v>
                      </c:pt>
                      <c:pt idx="1086">
                        <c:v>74.063999999999993</c:v>
                      </c:pt>
                      <c:pt idx="1087">
                        <c:v>74.063999999999993</c:v>
                      </c:pt>
                      <c:pt idx="1088">
                        <c:v>76.512</c:v>
                      </c:pt>
                      <c:pt idx="1089">
                        <c:v>76.512</c:v>
                      </c:pt>
                      <c:pt idx="1090">
                        <c:v>76.512</c:v>
                      </c:pt>
                      <c:pt idx="1091">
                        <c:v>76.512</c:v>
                      </c:pt>
                      <c:pt idx="1092">
                        <c:v>74.063999999999993</c:v>
                      </c:pt>
                      <c:pt idx="1093">
                        <c:v>74.063999999999993</c:v>
                      </c:pt>
                      <c:pt idx="1094">
                        <c:v>74.063999999999993</c:v>
                      </c:pt>
                      <c:pt idx="1095">
                        <c:v>74.063999999999993</c:v>
                      </c:pt>
                      <c:pt idx="1096">
                        <c:v>74.063999999999993</c:v>
                      </c:pt>
                      <c:pt idx="1097">
                        <c:v>74.063999999999993</c:v>
                      </c:pt>
                      <c:pt idx="1098">
                        <c:v>74.063999999999993</c:v>
                      </c:pt>
                      <c:pt idx="1099">
                        <c:v>74.063999999999993</c:v>
                      </c:pt>
                      <c:pt idx="1100">
                        <c:v>74.063999999999993</c:v>
                      </c:pt>
                      <c:pt idx="1101">
                        <c:v>74.063999999999993</c:v>
                      </c:pt>
                      <c:pt idx="1102">
                        <c:v>74.063999999999993</c:v>
                      </c:pt>
                      <c:pt idx="1103">
                        <c:v>74.063999999999993</c:v>
                      </c:pt>
                      <c:pt idx="1104">
                        <c:v>74.063999999999993</c:v>
                      </c:pt>
                      <c:pt idx="1105">
                        <c:v>74.063999999999993</c:v>
                      </c:pt>
                      <c:pt idx="1106">
                        <c:v>74.063999999999993</c:v>
                      </c:pt>
                      <c:pt idx="1107">
                        <c:v>74.063999999999993</c:v>
                      </c:pt>
                      <c:pt idx="1108">
                        <c:v>74.063999999999993</c:v>
                      </c:pt>
                      <c:pt idx="1109">
                        <c:v>74.063999999999993</c:v>
                      </c:pt>
                      <c:pt idx="1110">
                        <c:v>74.063999999999993</c:v>
                      </c:pt>
                      <c:pt idx="1111">
                        <c:v>74.063999999999993</c:v>
                      </c:pt>
                      <c:pt idx="1112">
                        <c:v>74.063999999999993</c:v>
                      </c:pt>
                      <c:pt idx="1113">
                        <c:v>74.063999999999993</c:v>
                      </c:pt>
                      <c:pt idx="1114">
                        <c:v>74.063999999999993</c:v>
                      </c:pt>
                      <c:pt idx="1115">
                        <c:v>74.063999999999993</c:v>
                      </c:pt>
                      <c:pt idx="1116">
                        <c:v>74.063999999999993</c:v>
                      </c:pt>
                      <c:pt idx="1117">
                        <c:v>74.063999999999993</c:v>
                      </c:pt>
                      <c:pt idx="1118">
                        <c:v>74.063999999999993</c:v>
                      </c:pt>
                      <c:pt idx="1119">
                        <c:v>74.063999999999993</c:v>
                      </c:pt>
                      <c:pt idx="1120">
                        <c:v>74.063999999999993</c:v>
                      </c:pt>
                      <c:pt idx="1121">
                        <c:v>74.063999999999993</c:v>
                      </c:pt>
                      <c:pt idx="1122">
                        <c:v>74.06399999999999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B899-43FB-9B00-42D97902B992}"/>
                  </c:ext>
                </c:extLst>
              </c15:ser>
            </c15:filteredLineSeries>
            <c15:filteredLineSeries>
              <c15:ser>
                <c:idx val="9"/>
                <c:order val="9"/>
                <c:tx>
                  <c:v>Reserved withdrawal</c:v>
                </c:tx>
                <c:spPr>
                  <a:ln w="28575"/>
                </c:spPr>
                <c:marker>
                  <c:symbol val="none"/>
                </c:marker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DK udtræk og injicering'!$U$4641:$U$5763</c15:sqref>
                        </c15:formulaRef>
                      </c:ext>
                    </c:extLst>
                    <c:numCache>
                      <c:formatCode>_ * #,##0_ ;_ * \-#,##0_ ;_ * "-"??_ ;_ @_ </c:formatCode>
                      <c:ptCount val="1123"/>
                      <c:pt idx="0">
                        <c:v>-101.52</c:v>
                      </c:pt>
                      <c:pt idx="1">
                        <c:v>-101.52</c:v>
                      </c:pt>
                      <c:pt idx="2">
                        <c:v>-101.52</c:v>
                      </c:pt>
                      <c:pt idx="3">
                        <c:v>-101.52</c:v>
                      </c:pt>
                      <c:pt idx="4">
                        <c:v>-101.52</c:v>
                      </c:pt>
                      <c:pt idx="5">
                        <c:v>-101.52</c:v>
                      </c:pt>
                      <c:pt idx="6">
                        <c:v>-101.52</c:v>
                      </c:pt>
                      <c:pt idx="7">
                        <c:v>-101.52</c:v>
                      </c:pt>
                      <c:pt idx="8">
                        <c:v>-101.52</c:v>
                      </c:pt>
                      <c:pt idx="9">
                        <c:v>-101.52</c:v>
                      </c:pt>
                      <c:pt idx="10">
                        <c:v>-101.52</c:v>
                      </c:pt>
                      <c:pt idx="11">
                        <c:v>-101.52</c:v>
                      </c:pt>
                      <c:pt idx="12">
                        <c:v>-101.52</c:v>
                      </c:pt>
                      <c:pt idx="13">
                        <c:v>-101.52</c:v>
                      </c:pt>
                      <c:pt idx="14">
                        <c:v>-101.52</c:v>
                      </c:pt>
                      <c:pt idx="15">
                        <c:v>-101.52</c:v>
                      </c:pt>
                      <c:pt idx="16">
                        <c:v>-101.52</c:v>
                      </c:pt>
                      <c:pt idx="17">
                        <c:v>-101.52</c:v>
                      </c:pt>
                      <c:pt idx="18">
                        <c:v>-101.52</c:v>
                      </c:pt>
                      <c:pt idx="19">
                        <c:v>-101.52</c:v>
                      </c:pt>
                      <c:pt idx="20">
                        <c:v>-101.52</c:v>
                      </c:pt>
                      <c:pt idx="21">
                        <c:v>-101.52</c:v>
                      </c:pt>
                      <c:pt idx="22">
                        <c:v>-101.52</c:v>
                      </c:pt>
                      <c:pt idx="23">
                        <c:v>-101.52</c:v>
                      </c:pt>
                      <c:pt idx="24">
                        <c:v>-101.52</c:v>
                      </c:pt>
                      <c:pt idx="25">
                        <c:v>-101.52</c:v>
                      </c:pt>
                      <c:pt idx="26">
                        <c:v>-101.52</c:v>
                      </c:pt>
                      <c:pt idx="27">
                        <c:v>-101.52</c:v>
                      </c:pt>
                      <c:pt idx="28">
                        <c:v>-101.52</c:v>
                      </c:pt>
                      <c:pt idx="29">
                        <c:v>-101.52</c:v>
                      </c:pt>
                      <c:pt idx="30">
                        <c:v>-101.52</c:v>
                      </c:pt>
                      <c:pt idx="31">
                        <c:v>-101.52</c:v>
                      </c:pt>
                      <c:pt idx="32">
                        <c:v>-101.52</c:v>
                      </c:pt>
                      <c:pt idx="33">
                        <c:v>-101.52</c:v>
                      </c:pt>
                      <c:pt idx="34">
                        <c:v>-101.52</c:v>
                      </c:pt>
                      <c:pt idx="35">
                        <c:v>-101.52</c:v>
                      </c:pt>
                      <c:pt idx="36">
                        <c:v>-101.52</c:v>
                      </c:pt>
                      <c:pt idx="37">
                        <c:v>-101.52</c:v>
                      </c:pt>
                      <c:pt idx="38">
                        <c:v>-101.52</c:v>
                      </c:pt>
                      <c:pt idx="39">
                        <c:v>-101.52</c:v>
                      </c:pt>
                      <c:pt idx="40">
                        <c:v>-101.52</c:v>
                      </c:pt>
                      <c:pt idx="41">
                        <c:v>-101.52</c:v>
                      </c:pt>
                      <c:pt idx="42">
                        <c:v>-101.52</c:v>
                      </c:pt>
                      <c:pt idx="43">
                        <c:v>-101.52</c:v>
                      </c:pt>
                      <c:pt idx="44">
                        <c:v>-101.52</c:v>
                      </c:pt>
                      <c:pt idx="45">
                        <c:v>-101.52</c:v>
                      </c:pt>
                      <c:pt idx="46">
                        <c:v>-101.52</c:v>
                      </c:pt>
                      <c:pt idx="47">
                        <c:v>-101.52</c:v>
                      </c:pt>
                      <c:pt idx="48">
                        <c:v>-101.52</c:v>
                      </c:pt>
                      <c:pt idx="49">
                        <c:v>-101.52</c:v>
                      </c:pt>
                      <c:pt idx="50">
                        <c:v>-101.52</c:v>
                      </c:pt>
                      <c:pt idx="51">
                        <c:v>-101.52</c:v>
                      </c:pt>
                      <c:pt idx="52">
                        <c:v>-101.52</c:v>
                      </c:pt>
                      <c:pt idx="53">
                        <c:v>-101.52</c:v>
                      </c:pt>
                      <c:pt idx="54">
                        <c:v>-101.52</c:v>
                      </c:pt>
                      <c:pt idx="55">
                        <c:v>-101.52</c:v>
                      </c:pt>
                      <c:pt idx="56">
                        <c:v>-101.52</c:v>
                      </c:pt>
                      <c:pt idx="57">
                        <c:v>-101.52</c:v>
                      </c:pt>
                      <c:pt idx="58">
                        <c:v>-101.52</c:v>
                      </c:pt>
                      <c:pt idx="59">
                        <c:v>-101.52</c:v>
                      </c:pt>
                      <c:pt idx="60">
                        <c:v>-101.52</c:v>
                      </c:pt>
                      <c:pt idx="61">
                        <c:v>-101.52</c:v>
                      </c:pt>
                      <c:pt idx="62">
                        <c:v>-101.52</c:v>
                      </c:pt>
                      <c:pt idx="63">
                        <c:v>-101.52</c:v>
                      </c:pt>
                      <c:pt idx="64">
                        <c:v>-101.52</c:v>
                      </c:pt>
                      <c:pt idx="65">
                        <c:v>-101.52</c:v>
                      </c:pt>
                      <c:pt idx="66">
                        <c:v>-101.52</c:v>
                      </c:pt>
                      <c:pt idx="67">
                        <c:v>-101.52</c:v>
                      </c:pt>
                      <c:pt idx="68">
                        <c:v>-101.52</c:v>
                      </c:pt>
                      <c:pt idx="69">
                        <c:v>-101.52</c:v>
                      </c:pt>
                      <c:pt idx="70">
                        <c:v>-101.52</c:v>
                      </c:pt>
                      <c:pt idx="71">
                        <c:v>-101.52</c:v>
                      </c:pt>
                      <c:pt idx="72">
                        <c:v>-101.52</c:v>
                      </c:pt>
                      <c:pt idx="73">
                        <c:v>-101.52</c:v>
                      </c:pt>
                      <c:pt idx="74">
                        <c:v>-101.52</c:v>
                      </c:pt>
                      <c:pt idx="75">
                        <c:v>-101.52</c:v>
                      </c:pt>
                      <c:pt idx="76">
                        <c:v>-101.52</c:v>
                      </c:pt>
                      <c:pt idx="77">
                        <c:v>-101.52</c:v>
                      </c:pt>
                      <c:pt idx="78">
                        <c:v>-101.52</c:v>
                      </c:pt>
                      <c:pt idx="79">
                        <c:v>-101.52</c:v>
                      </c:pt>
                      <c:pt idx="80">
                        <c:v>-101.52</c:v>
                      </c:pt>
                      <c:pt idx="81">
                        <c:v>-101.52</c:v>
                      </c:pt>
                      <c:pt idx="82">
                        <c:v>-101.52</c:v>
                      </c:pt>
                      <c:pt idx="83">
                        <c:v>-101.52</c:v>
                      </c:pt>
                      <c:pt idx="84">
                        <c:v>-101.52</c:v>
                      </c:pt>
                      <c:pt idx="85">
                        <c:v>-101.52</c:v>
                      </c:pt>
                      <c:pt idx="86">
                        <c:v>-101.52</c:v>
                      </c:pt>
                      <c:pt idx="87">
                        <c:v>-101.52</c:v>
                      </c:pt>
                      <c:pt idx="88">
                        <c:v>-101.52</c:v>
                      </c:pt>
                      <c:pt idx="89">
                        <c:v>-101.52</c:v>
                      </c:pt>
                      <c:pt idx="90">
                        <c:v>-101.52</c:v>
                      </c:pt>
                      <c:pt idx="91">
                        <c:v>-101.52</c:v>
                      </c:pt>
                      <c:pt idx="92">
                        <c:v>-101.52</c:v>
                      </c:pt>
                      <c:pt idx="93">
                        <c:v>-101.52</c:v>
                      </c:pt>
                      <c:pt idx="94">
                        <c:v>-101.52</c:v>
                      </c:pt>
                      <c:pt idx="95">
                        <c:v>-101.52</c:v>
                      </c:pt>
                      <c:pt idx="96">
                        <c:v>-101.52</c:v>
                      </c:pt>
                      <c:pt idx="97">
                        <c:v>-101.52</c:v>
                      </c:pt>
                      <c:pt idx="98">
                        <c:v>-101.52</c:v>
                      </c:pt>
                      <c:pt idx="99">
                        <c:v>-101.52</c:v>
                      </c:pt>
                      <c:pt idx="100">
                        <c:v>-101.52</c:v>
                      </c:pt>
                      <c:pt idx="101">
                        <c:v>-101.52</c:v>
                      </c:pt>
                      <c:pt idx="102">
                        <c:v>-101.52</c:v>
                      </c:pt>
                      <c:pt idx="103">
                        <c:v>-101.52</c:v>
                      </c:pt>
                      <c:pt idx="104">
                        <c:v>-101.52</c:v>
                      </c:pt>
                      <c:pt idx="105">
                        <c:v>-101.52</c:v>
                      </c:pt>
                      <c:pt idx="106">
                        <c:v>-101.52</c:v>
                      </c:pt>
                      <c:pt idx="107">
                        <c:v>-101.52</c:v>
                      </c:pt>
                      <c:pt idx="108">
                        <c:v>-101.52</c:v>
                      </c:pt>
                      <c:pt idx="109">
                        <c:v>-101.52</c:v>
                      </c:pt>
                      <c:pt idx="110">
                        <c:v>-101.52</c:v>
                      </c:pt>
                      <c:pt idx="111">
                        <c:v>-101.52</c:v>
                      </c:pt>
                      <c:pt idx="112">
                        <c:v>-101.52</c:v>
                      </c:pt>
                      <c:pt idx="113">
                        <c:v>-101.52</c:v>
                      </c:pt>
                      <c:pt idx="114">
                        <c:v>-101.52</c:v>
                      </c:pt>
                      <c:pt idx="115">
                        <c:v>-101.52</c:v>
                      </c:pt>
                      <c:pt idx="116">
                        <c:v>-101.52</c:v>
                      </c:pt>
                      <c:pt idx="117">
                        <c:v>-101.52</c:v>
                      </c:pt>
                      <c:pt idx="118">
                        <c:v>-101.52</c:v>
                      </c:pt>
                      <c:pt idx="119">
                        <c:v>-101.52</c:v>
                      </c:pt>
                      <c:pt idx="120">
                        <c:v>-101.52</c:v>
                      </c:pt>
                      <c:pt idx="121">
                        <c:v>-115.128</c:v>
                      </c:pt>
                      <c:pt idx="122">
                        <c:v>-115.128</c:v>
                      </c:pt>
                      <c:pt idx="123">
                        <c:v>-115.128</c:v>
                      </c:pt>
                      <c:pt idx="124">
                        <c:v>-115.128</c:v>
                      </c:pt>
                      <c:pt idx="125">
                        <c:v>-115.128</c:v>
                      </c:pt>
                      <c:pt idx="126">
                        <c:v>-115.128</c:v>
                      </c:pt>
                      <c:pt idx="127">
                        <c:v>-115.128</c:v>
                      </c:pt>
                      <c:pt idx="128">
                        <c:v>-115.128</c:v>
                      </c:pt>
                      <c:pt idx="129">
                        <c:v>-115.128</c:v>
                      </c:pt>
                      <c:pt idx="130">
                        <c:v>-115.128</c:v>
                      </c:pt>
                      <c:pt idx="131">
                        <c:v>-115.128</c:v>
                      </c:pt>
                      <c:pt idx="132">
                        <c:v>-115.128</c:v>
                      </c:pt>
                      <c:pt idx="133">
                        <c:v>-115.128</c:v>
                      </c:pt>
                      <c:pt idx="134">
                        <c:v>-115.128</c:v>
                      </c:pt>
                      <c:pt idx="135">
                        <c:v>-115.128</c:v>
                      </c:pt>
                      <c:pt idx="136">
                        <c:v>-115.128</c:v>
                      </c:pt>
                      <c:pt idx="137">
                        <c:v>-115.128</c:v>
                      </c:pt>
                      <c:pt idx="138">
                        <c:v>-115.128</c:v>
                      </c:pt>
                      <c:pt idx="139">
                        <c:v>-115.128</c:v>
                      </c:pt>
                      <c:pt idx="140">
                        <c:v>-115.128</c:v>
                      </c:pt>
                      <c:pt idx="141">
                        <c:v>-115.128</c:v>
                      </c:pt>
                      <c:pt idx="142">
                        <c:v>-115.128</c:v>
                      </c:pt>
                      <c:pt idx="143">
                        <c:v>-115.128</c:v>
                      </c:pt>
                      <c:pt idx="144">
                        <c:v>-115.128</c:v>
                      </c:pt>
                      <c:pt idx="145">
                        <c:v>-115.128</c:v>
                      </c:pt>
                      <c:pt idx="146">
                        <c:v>-115.128</c:v>
                      </c:pt>
                      <c:pt idx="147">
                        <c:v>-115.128</c:v>
                      </c:pt>
                      <c:pt idx="148">
                        <c:v>-115.128</c:v>
                      </c:pt>
                      <c:pt idx="149">
                        <c:v>-115.128</c:v>
                      </c:pt>
                      <c:pt idx="150">
                        <c:v>-115.128</c:v>
                      </c:pt>
                      <c:pt idx="151">
                        <c:v>-115.128</c:v>
                      </c:pt>
                      <c:pt idx="152">
                        <c:v>-115.128</c:v>
                      </c:pt>
                      <c:pt idx="153">
                        <c:v>-115.128</c:v>
                      </c:pt>
                      <c:pt idx="154">
                        <c:v>-115.128</c:v>
                      </c:pt>
                      <c:pt idx="155">
                        <c:v>-115.128</c:v>
                      </c:pt>
                      <c:pt idx="156">
                        <c:v>-115.128</c:v>
                      </c:pt>
                      <c:pt idx="157">
                        <c:v>-115.128</c:v>
                      </c:pt>
                      <c:pt idx="158">
                        <c:v>-115.128</c:v>
                      </c:pt>
                      <c:pt idx="159">
                        <c:v>-115.128</c:v>
                      </c:pt>
                      <c:pt idx="160">
                        <c:v>-115.128</c:v>
                      </c:pt>
                      <c:pt idx="161">
                        <c:v>-115.128</c:v>
                      </c:pt>
                      <c:pt idx="162">
                        <c:v>-115.128</c:v>
                      </c:pt>
                      <c:pt idx="163">
                        <c:v>-115.128</c:v>
                      </c:pt>
                      <c:pt idx="164">
                        <c:v>-115.128</c:v>
                      </c:pt>
                      <c:pt idx="165">
                        <c:v>-115.128</c:v>
                      </c:pt>
                      <c:pt idx="166">
                        <c:v>-115.128</c:v>
                      </c:pt>
                      <c:pt idx="167">
                        <c:v>-115.128</c:v>
                      </c:pt>
                      <c:pt idx="168">
                        <c:v>-115.128</c:v>
                      </c:pt>
                      <c:pt idx="169">
                        <c:v>-115.128</c:v>
                      </c:pt>
                      <c:pt idx="170">
                        <c:v>-115.128</c:v>
                      </c:pt>
                      <c:pt idx="171">
                        <c:v>-115.128</c:v>
                      </c:pt>
                      <c:pt idx="172">
                        <c:v>-115.128</c:v>
                      </c:pt>
                      <c:pt idx="173">
                        <c:v>-115.128</c:v>
                      </c:pt>
                      <c:pt idx="174">
                        <c:v>-115.128</c:v>
                      </c:pt>
                      <c:pt idx="175">
                        <c:v>-115.128</c:v>
                      </c:pt>
                      <c:pt idx="176">
                        <c:v>-115.128</c:v>
                      </c:pt>
                      <c:pt idx="177">
                        <c:v>-115.128</c:v>
                      </c:pt>
                      <c:pt idx="178">
                        <c:v>-115.128</c:v>
                      </c:pt>
                      <c:pt idx="179">
                        <c:v>-115.128</c:v>
                      </c:pt>
                      <c:pt idx="180">
                        <c:v>-115.128</c:v>
                      </c:pt>
                      <c:pt idx="181">
                        <c:v>-115.128</c:v>
                      </c:pt>
                      <c:pt idx="182">
                        <c:v>-128.47200000000001</c:v>
                      </c:pt>
                      <c:pt idx="183">
                        <c:v>-128.47200000000001</c:v>
                      </c:pt>
                      <c:pt idx="184">
                        <c:v>-128.47200000000001</c:v>
                      </c:pt>
                      <c:pt idx="185">
                        <c:v>-128.47200000000001</c:v>
                      </c:pt>
                      <c:pt idx="186">
                        <c:v>-128.47200000000001</c:v>
                      </c:pt>
                      <c:pt idx="187">
                        <c:v>-128.47200000000001</c:v>
                      </c:pt>
                      <c:pt idx="188">
                        <c:v>-128.47200000000001</c:v>
                      </c:pt>
                      <c:pt idx="189">
                        <c:v>-128.47200000000001</c:v>
                      </c:pt>
                      <c:pt idx="190">
                        <c:v>-128.47200000000001</c:v>
                      </c:pt>
                      <c:pt idx="191">
                        <c:v>-128.47200000000001</c:v>
                      </c:pt>
                      <c:pt idx="192">
                        <c:v>-128.47200000000001</c:v>
                      </c:pt>
                      <c:pt idx="193">
                        <c:v>-128.47200000000001</c:v>
                      </c:pt>
                      <c:pt idx="194">
                        <c:v>-128.47200000000001</c:v>
                      </c:pt>
                      <c:pt idx="195">
                        <c:v>-128.47200000000001</c:v>
                      </c:pt>
                      <c:pt idx="196">
                        <c:v>-128.47200000000001</c:v>
                      </c:pt>
                      <c:pt idx="197">
                        <c:v>-128.47200000000001</c:v>
                      </c:pt>
                      <c:pt idx="198">
                        <c:v>-128.47200000000001</c:v>
                      </c:pt>
                      <c:pt idx="199">
                        <c:v>-128.47200000000001</c:v>
                      </c:pt>
                      <c:pt idx="200">
                        <c:v>-128.47200000000001</c:v>
                      </c:pt>
                      <c:pt idx="201">
                        <c:v>-128.47200000000001</c:v>
                      </c:pt>
                      <c:pt idx="202">
                        <c:v>-128.47200000000001</c:v>
                      </c:pt>
                      <c:pt idx="203">
                        <c:v>-128.47200000000001</c:v>
                      </c:pt>
                      <c:pt idx="204">
                        <c:v>-128.47200000000001</c:v>
                      </c:pt>
                      <c:pt idx="205">
                        <c:v>-128.47200000000001</c:v>
                      </c:pt>
                      <c:pt idx="206">
                        <c:v>-128.47200000000001</c:v>
                      </c:pt>
                      <c:pt idx="207">
                        <c:v>-128.47200000000001</c:v>
                      </c:pt>
                      <c:pt idx="208">
                        <c:v>-128.47200000000001</c:v>
                      </c:pt>
                      <c:pt idx="209">
                        <c:v>-128.47200000000001</c:v>
                      </c:pt>
                      <c:pt idx="210">
                        <c:v>-128.47200000000001</c:v>
                      </c:pt>
                      <c:pt idx="211">
                        <c:v>-128.47200000000001</c:v>
                      </c:pt>
                      <c:pt idx="212">
                        <c:v>-128.47200000000001</c:v>
                      </c:pt>
                      <c:pt idx="213">
                        <c:v>-128.47200000000001</c:v>
                      </c:pt>
                      <c:pt idx="214">
                        <c:v>-128.47200000000001</c:v>
                      </c:pt>
                      <c:pt idx="215">
                        <c:v>-128.47200000000001</c:v>
                      </c:pt>
                      <c:pt idx="216">
                        <c:v>-128.47200000000001</c:v>
                      </c:pt>
                      <c:pt idx="217">
                        <c:v>-128.47200000000001</c:v>
                      </c:pt>
                      <c:pt idx="218">
                        <c:v>-128.47200000000001</c:v>
                      </c:pt>
                      <c:pt idx="219">
                        <c:v>-128.47200000000001</c:v>
                      </c:pt>
                      <c:pt idx="220">
                        <c:v>-128.47200000000001</c:v>
                      </c:pt>
                      <c:pt idx="221">
                        <c:v>-128.47200000000001</c:v>
                      </c:pt>
                      <c:pt idx="222">
                        <c:v>-128.47200000000001</c:v>
                      </c:pt>
                      <c:pt idx="223">
                        <c:v>-128.47200000000001</c:v>
                      </c:pt>
                      <c:pt idx="224">
                        <c:v>-128.47200000000001</c:v>
                      </c:pt>
                      <c:pt idx="225">
                        <c:v>-128.47200000000001</c:v>
                      </c:pt>
                      <c:pt idx="226">
                        <c:v>-128.47200000000001</c:v>
                      </c:pt>
                      <c:pt idx="227">
                        <c:v>-128.47200000000001</c:v>
                      </c:pt>
                      <c:pt idx="228">
                        <c:v>-128.47200000000001</c:v>
                      </c:pt>
                      <c:pt idx="229">
                        <c:v>-128.47200000000001</c:v>
                      </c:pt>
                      <c:pt idx="230">
                        <c:v>-128.47200000000001</c:v>
                      </c:pt>
                      <c:pt idx="231">
                        <c:v>-128.47200000000001</c:v>
                      </c:pt>
                      <c:pt idx="232">
                        <c:v>-128.47200000000001</c:v>
                      </c:pt>
                      <c:pt idx="233">
                        <c:v>-128.47200000000001</c:v>
                      </c:pt>
                      <c:pt idx="234">
                        <c:v>-128.47200000000001</c:v>
                      </c:pt>
                      <c:pt idx="235">
                        <c:v>-128.47200000000001</c:v>
                      </c:pt>
                      <c:pt idx="236">
                        <c:v>-128.47200000000001</c:v>
                      </c:pt>
                      <c:pt idx="237">
                        <c:v>-128.47200000000001</c:v>
                      </c:pt>
                      <c:pt idx="238">
                        <c:v>-128.47200000000001</c:v>
                      </c:pt>
                      <c:pt idx="239">
                        <c:v>-128.47200000000001</c:v>
                      </c:pt>
                      <c:pt idx="240">
                        <c:v>-128.47200000000001</c:v>
                      </c:pt>
                      <c:pt idx="241">
                        <c:v>-128.47200000000001</c:v>
                      </c:pt>
                      <c:pt idx="242">
                        <c:v>-128.47200000000001</c:v>
                      </c:pt>
                      <c:pt idx="243">
                        <c:v>-128.47200000000001</c:v>
                      </c:pt>
                      <c:pt idx="244">
                        <c:v>-128.47200000000001</c:v>
                      </c:pt>
                      <c:pt idx="245">
                        <c:v>-128.47200000000001</c:v>
                      </c:pt>
                      <c:pt idx="246">
                        <c:v>-128.47200000000001</c:v>
                      </c:pt>
                      <c:pt idx="247">
                        <c:v>-128.47200000000001</c:v>
                      </c:pt>
                      <c:pt idx="248">
                        <c:v>-128.47200000000001</c:v>
                      </c:pt>
                      <c:pt idx="249">
                        <c:v>-128.47200000000001</c:v>
                      </c:pt>
                      <c:pt idx="250">
                        <c:v>-128.47200000000001</c:v>
                      </c:pt>
                      <c:pt idx="251">
                        <c:v>-128.47200000000001</c:v>
                      </c:pt>
                      <c:pt idx="252">
                        <c:v>-128.47200000000001</c:v>
                      </c:pt>
                      <c:pt idx="253">
                        <c:v>-128.47200000000001</c:v>
                      </c:pt>
                      <c:pt idx="254">
                        <c:v>-128.47200000000001</c:v>
                      </c:pt>
                      <c:pt idx="255">
                        <c:v>-128.47200000000001</c:v>
                      </c:pt>
                      <c:pt idx="256">
                        <c:v>-128.47200000000001</c:v>
                      </c:pt>
                      <c:pt idx="257">
                        <c:v>-128.47200000000001</c:v>
                      </c:pt>
                      <c:pt idx="258">
                        <c:v>-128.47200000000001</c:v>
                      </c:pt>
                      <c:pt idx="259">
                        <c:v>-128.47200000000001</c:v>
                      </c:pt>
                      <c:pt idx="260">
                        <c:v>-128.47200000000001</c:v>
                      </c:pt>
                      <c:pt idx="261">
                        <c:v>-128.47200000000001</c:v>
                      </c:pt>
                      <c:pt idx="262">
                        <c:v>-128.47200000000001</c:v>
                      </c:pt>
                      <c:pt idx="263">
                        <c:v>-128.47200000000001</c:v>
                      </c:pt>
                      <c:pt idx="264">
                        <c:v>-128.47200000000001</c:v>
                      </c:pt>
                      <c:pt idx="265">
                        <c:v>-128.47200000000001</c:v>
                      </c:pt>
                      <c:pt idx="266">
                        <c:v>-128.47200000000001</c:v>
                      </c:pt>
                      <c:pt idx="267">
                        <c:v>-128.47200000000001</c:v>
                      </c:pt>
                      <c:pt idx="268">
                        <c:v>-128.47200000000001</c:v>
                      </c:pt>
                      <c:pt idx="269">
                        <c:v>-128.47200000000001</c:v>
                      </c:pt>
                      <c:pt idx="270">
                        <c:v>-128.47200000000001</c:v>
                      </c:pt>
                      <c:pt idx="271">
                        <c:v>-128.47200000000001</c:v>
                      </c:pt>
                      <c:pt idx="272">
                        <c:v>-128.47200000000001</c:v>
                      </c:pt>
                      <c:pt idx="273">
                        <c:v>-128.47200000000001</c:v>
                      </c:pt>
                      <c:pt idx="274">
                        <c:v>-128.47200000000001</c:v>
                      </c:pt>
                      <c:pt idx="275">
                        <c:v>-128.47200000000001</c:v>
                      </c:pt>
                      <c:pt idx="276">
                        <c:v>-128.47200000000001</c:v>
                      </c:pt>
                      <c:pt idx="277">
                        <c:v>-128.47200000000001</c:v>
                      </c:pt>
                      <c:pt idx="278">
                        <c:v>-128.47200000000001</c:v>
                      </c:pt>
                      <c:pt idx="279">
                        <c:v>-128.47200000000001</c:v>
                      </c:pt>
                      <c:pt idx="280">
                        <c:v>-128.47200000000001</c:v>
                      </c:pt>
                      <c:pt idx="281">
                        <c:v>-128.47200000000001</c:v>
                      </c:pt>
                      <c:pt idx="282">
                        <c:v>-128.47200000000001</c:v>
                      </c:pt>
                      <c:pt idx="283">
                        <c:v>-128.47200000000001</c:v>
                      </c:pt>
                      <c:pt idx="284">
                        <c:v>-128.47200000000001</c:v>
                      </c:pt>
                      <c:pt idx="285">
                        <c:v>-128.47200000000001</c:v>
                      </c:pt>
                      <c:pt idx="286">
                        <c:v>-128.47200000000001</c:v>
                      </c:pt>
                      <c:pt idx="287">
                        <c:v>-128.47200000000001</c:v>
                      </c:pt>
                      <c:pt idx="288">
                        <c:v>-128.47200000000001</c:v>
                      </c:pt>
                      <c:pt idx="289">
                        <c:v>-128.47200000000001</c:v>
                      </c:pt>
                      <c:pt idx="290">
                        <c:v>-128.47200000000001</c:v>
                      </c:pt>
                      <c:pt idx="291">
                        <c:v>-128.47200000000001</c:v>
                      </c:pt>
                      <c:pt idx="292">
                        <c:v>-128.47200000000001</c:v>
                      </c:pt>
                      <c:pt idx="293">
                        <c:v>-128.47200000000001</c:v>
                      </c:pt>
                      <c:pt idx="294">
                        <c:v>-128.47200000000001</c:v>
                      </c:pt>
                      <c:pt idx="295">
                        <c:v>-128.47200000000001</c:v>
                      </c:pt>
                      <c:pt idx="296">
                        <c:v>-128.47200000000001</c:v>
                      </c:pt>
                      <c:pt idx="297">
                        <c:v>-128.47200000000001</c:v>
                      </c:pt>
                      <c:pt idx="298">
                        <c:v>-128.47200000000001</c:v>
                      </c:pt>
                      <c:pt idx="299">
                        <c:v>-128.47200000000001</c:v>
                      </c:pt>
                      <c:pt idx="300">
                        <c:v>-128.47200000000001</c:v>
                      </c:pt>
                      <c:pt idx="301">
                        <c:v>-128.47200000000001</c:v>
                      </c:pt>
                      <c:pt idx="302">
                        <c:v>-128.47200000000001</c:v>
                      </c:pt>
                      <c:pt idx="303">
                        <c:v>-120.072</c:v>
                      </c:pt>
                      <c:pt idx="304">
                        <c:v>-120.072</c:v>
                      </c:pt>
                      <c:pt idx="305">
                        <c:v>-120.072</c:v>
                      </c:pt>
                      <c:pt idx="306">
                        <c:v>-120.072</c:v>
                      </c:pt>
                      <c:pt idx="307">
                        <c:v>-120.072</c:v>
                      </c:pt>
                      <c:pt idx="308">
                        <c:v>-120.072</c:v>
                      </c:pt>
                      <c:pt idx="309">
                        <c:v>-120.072</c:v>
                      </c:pt>
                      <c:pt idx="310">
                        <c:v>-120.072</c:v>
                      </c:pt>
                      <c:pt idx="311">
                        <c:v>-120.072</c:v>
                      </c:pt>
                      <c:pt idx="312">
                        <c:v>-120.072</c:v>
                      </c:pt>
                      <c:pt idx="313">
                        <c:v>-120.072</c:v>
                      </c:pt>
                      <c:pt idx="314">
                        <c:v>-120.072</c:v>
                      </c:pt>
                      <c:pt idx="315">
                        <c:v>-120.072</c:v>
                      </c:pt>
                      <c:pt idx="316">
                        <c:v>-120.072</c:v>
                      </c:pt>
                      <c:pt idx="317">
                        <c:v>-120.072</c:v>
                      </c:pt>
                      <c:pt idx="318">
                        <c:v>-120.072</c:v>
                      </c:pt>
                      <c:pt idx="319">
                        <c:v>-120.072</c:v>
                      </c:pt>
                      <c:pt idx="320">
                        <c:v>-120.072</c:v>
                      </c:pt>
                      <c:pt idx="321">
                        <c:v>-120.072</c:v>
                      </c:pt>
                      <c:pt idx="322">
                        <c:v>-120.072</c:v>
                      </c:pt>
                      <c:pt idx="323">
                        <c:v>-120.072</c:v>
                      </c:pt>
                      <c:pt idx="324">
                        <c:v>-120.072</c:v>
                      </c:pt>
                      <c:pt idx="325">
                        <c:v>-120.072</c:v>
                      </c:pt>
                      <c:pt idx="326">
                        <c:v>-120.072</c:v>
                      </c:pt>
                      <c:pt idx="327">
                        <c:v>-120.072</c:v>
                      </c:pt>
                      <c:pt idx="328">
                        <c:v>-120.072</c:v>
                      </c:pt>
                      <c:pt idx="329">
                        <c:v>-120.072</c:v>
                      </c:pt>
                      <c:pt idx="330">
                        <c:v>-120.072</c:v>
                      </c:pt>
                      <c:pt idx="331">
                        <c:v>-120.072</c:v>
                      </c:pt>
                      <c:pt idx="332">
                        <c:v>-120.072</c:v>
                      </c:pt>
                      <c:pt idx="333">
                        <c:v>-120.072</c:v>
                      </c:pt>
                      <c:pt idx="334">
                        <c:v>-120.072</c:v>
                      </c:pt>
                      <c:pt idx="335">
                        <c:v>-120.072</c:v>
                      </c:pt>
                      <c:pt idx="336">
                        <c:v>-120.072</c:v>
                      </c:pt>
                      <c:pt idx="337">
                        <c:v>-120.072</c:v>
                      </c:pt>
                      <c:pt idx="338">
                        <c:v>-120.072</c:v>
                      </c:pt>
                      <c:pt idx="339">
                        <c:v>-120.072</c:v>
                      </c:pt>
                      <c:pt idx="340">
                        <c:v>-120.072</c:v>
                      </c:pt>
                      <c:pt idx="341">
                        <c:v>-120.072</c:v>
                      </c:pt>
                      <c:pt idx="342">
                        <c:v>-120.072</c:v>
                      </c:pt>
                      <c:pt idx="343">
                        <c:v>-120.072</c:v>
                      </c:pt>
                      <c:pt idx="344">
                        <c:v>-120.072</c:v>
                      </c:pt>
                      <c:pt idx="345">
                        <c:v>-120.072</c:v>
                      </c:pt>
                      <c:pt idx="346">
                        <c:v>-120.072</c:v>
                      </c:pt>
                      <c:pt idx="347">
                        <c:v>-120.072</c:v>
                      </c:pt>
                      <c:pt idx="348">
                        <c:v>-120.072</c:v>
                      </c:pt>
                      <c:pt idx="349">
                        <c:v>-120.072</c:v>
                      </c:pt>
                      <c:pt idx="350">
                        <c:v>-120.072</c:v>
                      </c:pt>
                      <c:pt idx="351">
                        <c:v>-120.072</c:v>
                      </c:pt>
                      <c:pt idx="352">
                        <c:v>-120.072</c:v>
                      </c:pt>
                      <c:pt idx="353">
                        <c:v>-120.072</c:v>
                      </c:pt>
                      <c:pt idx="354">
                        <c:v>-120.072</c:v>
                      </c:pt>
                      <c:pt idx="355">
                        <c:v>-120.072</c:v>
                      </c:pt>
                      <c:pt idx="356">
                        <c:v>-120.072</c:v>
                      </c:pt>
                      <c:pt idx="357">
                        <c:v>-120.072</c:v>
                      </c:pt>
                      <c:pt idx="358">
                        <c:v>-120.072</c:v>
                      </c:pt>
                      <c:pt idx="359">
                        <c:v>-120.072</c:v>
                      </c:pt>
                      <c:pt idx="360">
                        <c:v>-120.072</c:v>
                      </c:pt>
                      <c:pt idx="361">
                        <c:v>-120.072</c:v>
                      </c:pt>
                      <c:pt idx="362">
                        <c:v>-120.072</c:v>
                      </c:pt>
                      <c:pt idx="363">
                        <c:v>-120.072</c:v>
                      </c:pt>
                      <c:pt idx="364">
                        <c:v>-120.072</c:v>
                      </c:pt>
                      <c:pt idx="365">
                        <c:v>-120.072</c:v>
                      </c:pt>
                      <c:pt idx="366">
                        <c:v>-120.072</c:v>
                      </c:pt>
                      <c:pt idx="367">
                        <c:v>-120.072</c:v>
                      </c:pt>
                      <c:pt idx="368">
                        <c:v>-120.072</c:v>
                      </c:pt>
                      <c:pt idx="369">
                        <c:v>-120.072</c:v>
                      </c:pt>
                      <c:pt idx="370">
                        <c:v>-120.072</c:v>
                      </c:pt>
                      <c:pt idx="371">
                        <c:v>-120.072</c:v>
                      </c:pt>
                      <c:pt idx="372">
                        <c:v>-120.072</c:v>
                      </c:pt>
                      <c:pt idx="373">
                        <c:v>-120.072</c:v>
                      </c:pt>
                      <c:pt idx="374">
                        <c:v>-120.072</c:v>
                      </c:pt>
                      <c:pt idx="375">
                        <c:v>-120.072</c:v>
                      </c:pt>
                      <c:pt idx="376">
                        <c:v>-120.072</c:v>
                      </c:pt>
                      <c:pt idx="377">
                        <c:v>-120.072</c:v>
                      </c:pt>
                      <c:pt idx="378">
                        <c:v>-120.072</c:v>
                      </c:pt>
                      <c:pt idx="379">
                        <c:v>-120.072</c:v>
                      </c:pt>
                      <c:pt idx="380">
                        <c:v>-120.072</c:v>
                      </c:pt>
                      <c:pt idx="381">
                        <c:v>-120.072</c:v>
                      </c:pt>
                      <c:pt idx="382">
                        <c:v>-120.072</c:v>
                      </c:pt>
                      <c:pt idx="383">
                        <c:v>-120.072</c:v>
                      </c:pt>
                      <c:pt idx="384">
                        <c:v>-120.072</c:v>
                      </c:pt>
                      <c:pt idx="385">
                        <c:v>-120.072</c:v>
                      </c:pt>
                      <c:pt idx="386">
                        <c:v>-120.072</c:v>
                      </c:pt>
                      <c:pt idx="387">
                        <c:v>-120.072</c:v>
                      </c:pt>
                      <c:pt idx="388">
                        <c:v>-120.072</c:v>
                      </c:pt>
                      <c:pt idx="389">
                        <c:v>-120.072</c:v>
                      </c:pt>
                      <c:pt idx="390">
                        <c:v>-120.072</c:v>
                      </c:pt>
                      <c:pt idx="391">
                        <c:v>-120.072</c:v>
                      </c:pt>
                      <c:pt idx="392">
                        <c:v>-120.072</c:v>
                      </c:pt>
                      <c:pt idx="393">
                        <c:v>-120.072</c:v>
                      </c:pt>
                      <c:pt idx="394">
                        <c:v>-120.072</c:v>
                      </c:pt>
                      <c:pt idx="395">
                        <c:v>-120.072</c:v>
                      </c:pt>
                      <c:pt idx="396">
                        <c:v>-120.072</c:v>
                      </c:pt>
                      <c:pt idx="397">
                        <c:v>-120.072</c:v>
                      </c:pt>
                      <c:pt idx="398">
                        <c:v>-120.072</c:v>
                      </c:pt>
                      <c:pt idx="399">
                        <c:v>-120.072</c:v>
                      </c:pt>
                      <c:pt idx="400">
                        <c:v>-120.072</c:v>
                      </c:pt>
                      <c:pt idx="401">
                        <c:v>-120.072</c:v>
                      </c:pt>
                      <c:pt idx="402">
                        <c:v>-120.072</c:v>
                      </c:pt>
                      <c:pt idx="403">
                        <c:v>-120.072</c:v>
                      </c:pt>
                      <c:pt idx="404">
                        <c:v>-120.072</c:v>
                      </c:pt>
                      <c:pt idx="405">
                        <c:v>-120.072</c:v>
                      </c:pt>
                      <c:pt idx="406">
                        <c:v>-120.072</c:v>
                      </c:pt>
                      <c:pt idx="407">
                        <c:v>-120.072</c:v>
                      </c:pt>
                      <c:pt idx="408">
                        <c:v>-120.072</c:v>
                      </c:pt>
                      <c:pt idx="409">
                        <c:v>-120.072</c:v>
                      </c:pt>
                      <c:pt idx="410">
                        <c:v>-120.072</c:v>
                      </c:pt>
                      <c:pt idx="411">
                        <c:v>-120.072</c:v>
                      </c:pt>
                      <c:pt idx="412">
                        <c:v>-120.072</c:v>
                      </c:pt>
                      <c:pt idx="413">
                        <c:v>-120.072</c:v>
                      </c:pt>
                      <c:pt idx="414">
                        <c:v>-120.072</c:v>
                      </c:pt>
                      <c:pt idx="415">
                        <c:v>-120.072</c:v>
                      </c:pt>
                      <c:pt idx="416">
                        <c:v>-120.072</c:v>
                      </c:pt>
                      <c:pt idx="417">
                        <c:v>-120.072</c:v>
                      </c:pt>
                      <c:pt idx="418">
                        <c:v>-120.072</c:v>
                      </c:pt>
                      <c:pt idx="419">
                        <c:v>-120.072</c:v>
                      </c:pt>
                      <c:pt idx="420">
                        <c:v>-120.072</c:v>
                      </c:pt>
                      <c:pt idx="421">
                        <c:v>-120.072</c:v>
                      </c:pt>
                      <c:pt idx="422">
                        <c:v>-120.072</c:v>
                      </c:pt>
                      <c:pt idx="423">
                        <c:v>-120.072</c:v>
                      </c:pt>
                      <c:pt idx="424">
                        <c:v>-120.072</c:v>
                      </c:pt>
                      <c:pt idx="425">
                        <c:v>-120.072</c:v>
                      </c:pt>
                      <c:pt idx="426">
                        <c:v>-120.072</c:v>
                      </c:pt>
                      <c:pt idx="427">
                        <c:v>-120.072</c:v>
                      </c:pt>
                      <c:pt idx="428">
                        <c:v>-120.072</c:v>
                      </c:pt>
                      <c:pt idx="429">
                        <c:v>-120.072</c:v>
                      </c:pt>
                      <c:pt idx="430">
                        <c:v>-120.072</c:v>
                      </c:pt>
                      <c:pt idx="431">
                        <c:v>-120.072</c:v>
                      </c:pt>
                      <c:pt idx="432">
                        <c:v>-120.072</c:v>
                      </c:pt>
                      <c:pt idx="433">
                        <c:v>-120.072</c:v>
                      </c:pt>
                      <c:pt idx="434">
                        <c:v>-120.072</c:v>
                      </c:pt>
                      <c:pt idx="435">
                        <c:v>-120.072</c:v>
                      </c:pt>
                      <c:pt idx="436">
                        <c:v>-120.072</c:v>
                      </c:pt>
                      <c:pt idx="437">
                        <c:v>-120.072</c:v>
                      </c:pt>
                      <c:pt idx="438">
                        <c:v>-120.072</c:v>
                      </c:pt>
                      <c:pt idx="439">
                        <c:v>-120.072</c:v>
                      </c:pt>
                      <c:pt idx="440">
                        <c:v>-120.072</c:v>
                      </c:pt>
                      <c:pt idx="441">
                        <c:v>-120.072</c:v>
                      </c:pt>
                      <c:pt idx="442">
                        <c:v>-120.072</c:v>
                      </c:pt>
                      <c:pt idx="443">
                        <c:v>-120.072</c:v>
                      </c:pt>
                      <c:pt idx="444">
                        <c:v>-120.072</c:v>
                      </c:pt>
                      <c:pt idx="445">
                        <c:v>-120.072</c:v>
                      </c:pt>
                      <c:pt idx="446">
                        <c:v>-120.072</c:v>
                      </c:pt>
                      <c:pt idx="447">
                        <c:v>-120.072</c:v>
                      </c:pt>
                      <c:pt idx="448">
                        <c:v>-120.072</c:v>
                      </c:pt>
                      <c:pt idx="449">
                        <c:v>-120.072</c:v>
                      </c:pt>
                      <c:pt idx="450">
                        <c:v>-120.072</c:v>
                      </c:pt>
                      <c:pt idx="451">
                        <c:v>-120.072</c:v>
                      </c:pt>
                      <c:pt idx="452">
                        <c:v>-120.072</c:v>
                      </c:pt>
                      <c:pt idx="453">
                        <c:v>-120.072</c:v>
                      </c:pt>
                      <c:pt idx="454">
                        <c:v>-120.072</c:v>
                      </c:pt>
                      <c:pt idx="455">
                        <c:v>-120.072</c:v>
                      </c:pt>
                      <c:pt idx="456">
                        <c:v>-120.072</c:v>
                      </c:pt>
                      <c:pt idx="457">
                        <c:v>-120.072</c:v>
                      </c:pt>
                      <c:pt idx="458">
                        <c:v>-120.072</c:v>
                      </c:pt>
                      <c:pt idx="459">
                        <c:v>-120.072</c:v>
                      </c:pt>
                      <c:pt idx="460">
                        <c:v>-120.072</c:v>
                      </c:pt>
                      <c:pt idx="461">
                        <c:v>-120.072</c:v>
                      </c:pt>
                      <c:pt idx="462">
                        <c:v>-120.072</c:v>
                      </c:pt>
                      <c:pt idx="463">
                        <c:v>-120.072</c:v>
                      </c:pt>
                      <c:pt idx="464">
                        <c:v>-120.072</c:v>
                      </c:pt>
                      <c:pt idx="465">
                        <c:v>-120.072</c:v>
                      </c:pt>
                      <c:pt idx="466">
                        <c:v>-120.072</c:v>
                      </c:pt>
                      <c:pt idx="467">
                        <c:v>-120.072</c:v>
                      </c:pt>
                      <c:pt idx="468">
                        <c:v>-120.072</c:v>
                      </c:pt>
                      <c:pt idx="469">
                        <c:v>-120.072</c:v>
                      </c:pt>
                      <c:pt idx="470">
                        <c:v>-120.072</c:v>
                      </c:pt>
                      <c:pt idx="471">
                        <c:v>-120.072</c:v>
                      </c:pt>
                      <c:pt idx="472">
                        <c:v>-120.072</c:v>
                      </c:pt>
                      <c:pt idx="473">
                        <c:v>-120.072</c:v>
                      </c:pt>
                      <c:pt idx="474">
                        <c:v>-120.072</c:v>
                      </c:pt>
                      <c:pt idx="475">
                        <c:v>-120.072</c:v>
                      </c:pt>
                      <c:pt idx="476">
                        <c:v>-120.072</c:v>
                      </c:pt>
                      <c:pt idx="477">
                        <c:v>-120.072</c:v>
                      </c:pt>
                      <c:pt idx="478">
                        <c:v>-120.072</c:v>
                      </c:pt>
                      <c:pt idx="479">
                        <c:v>-120.072</c:v>
                      </c:pt>
                      <c:pt idx="480">
                        <c:v>-120.072</c:v>
                      </c:pt>
                      <c:pt idx="481">
                        <c:v>-120.072</c:v>
                      </c:pt>
                      <c:pt idx="482">
                        <c:v>-120.072</c:v>
                      </c:pt>
                      <c:pt idx="483">
                        <c:v>-120.072</c:v>
                      </c:pt>
                      <c:pt idx="484">
                        <c:v>-120.072</c:v>
                      </c:pt>
                      <c:pt idx="485">
                        <c:v>-120.072</c:v>
                      </c:pt>
                      <c:pt idx="486">
                        <c:v>-69.191999999999993</c:v>
                      </c:pt>
                      <c:pt idx="487">
                        <c:v>-69.191999999999993</c:v>
                      </c:pt>
                      <c:pt idx="488">
                        <c:v>-69.191999999999993</c:v>
                      </c:pt>
                      <c:pt idx="489">
                        <c:v>-69.191999999999993</c:v>
                      </c:pt>
                      <c:pt idx="490">
                        <c:v>-69.191999999999993</c:v>
                      </c:pt>
                      <c:pt idx="491">
                        <c:v>-69.191999999999993</c:v>
                      </c:pt>
                      <c:pt idx="492">
                        <c:v>-69.191999999999993</c:v>
                      </c:pt>
                      <c:pt idx="493">
                        <c:v>-69.191999999999993</c:v>
                      </c:pt>
                      <c:pt idx="494">
                        <c:v>-69.191999999999993</c:v>
                      </c:pt>
                      <c:pt idx="495">
                        <c:v>-69.191999999999993</c:v>
                      </c:pt>
                      <c:pt idx="496">
                        <c:v>-69.191999999999993</c:v>
                      </c:pt>
                      <c:pt idx="497">
                        <c:v>-69.191999999999993</c:v>
                      </c:pt>
                      <c:pt idx="498">
                        <c:v>-69.191999999999993</c:v>
                      </c:pt>
                      <c:pt idx="499">
                        <c:v>-69.191999999999993</c:v>
                      </c:pt>
                      <c:pt idx="500">
                        <c:v>-69.191999999999993</c:v>
                      </c:pt>
                      <c:pt idx="501">
                        <c:v>-69.191999999999993</c:v>
                      </c:pt>
                      <c:pt idx="502">
                        <c:v>-69.191999999999993</c:v>
                      </c:pt>
                      <c:pt idx="503">
                        <c:v>-69.191999999999993</c:v>
                      </c:pt>
                      <c:pt idx="504">
                        <c:v>-69.191999999999993</c:v>
                      </c:pt>
                      <c:pt idx="505">
                        <c:v>-69.191999999999993</c:v>
                      </c:pt>
                      <c:pt idx="506">
                        <c:v>-69.191999999999993</c:v>
                      </c:pt>
                      <c:pt idx="507">
                        <c:v>-69.191999999999993</c:v>
                      </c:pt>
                      <c:pt idx="508">
                        <c:v>-69.191999999999993</c:v>
                      </c:pt>
                      <c:pt idx="509">
                        <c:v>-69.191999999999993</c:v>
                      </c:pt>
                      <c:pt idx="510">
                        <c:v>-69.191999999999993</c:v>
                      </c:pt>
                      <c:pt idx="511">
                        <c:v>-69.191999999999993</c:v>
                      </c:pt>
                      <c:pt idx="512">
                        <c:v>-69.191999999999993</c:v>
                      </c:pt>
                      <c:pt idx="513">
                        <c:v>-69.191999999999993</c:v>
                      </c:pt>
                      <c:pt idx="514">
                        <c:v>-69.191999999999993</c:v>
                      </c:pt>
                      <c:pt idx="515">
                        <c:v>-69.191999999999993</c:v>
                      </c:pt>
                      <c:pt idx="516">
                        <c:v>-69.191999999999993</c:v>
                      </c:pt>
                      <c:pt idx="517">
                        <c:v>-69.191999999999993</c:v>
                      </c:pt>
                      <c:pt idx="518">
                        <c:v>-69.191999999999993</c:v>
                      </c:pt>
                      <c:pt idx="519">
                        <c:v>-69.191999999999993</c:v>
                      </c:pt>
                      <c:pt idx="520">
                        <c:v>-69.191999999999993</c:v>
                      </c:pt>
                      <c:pt idx="521">
                        <c:v>-69.191999999999993</c:v>
                      </c:pt>
                      <c:pt idx="522">
                        <c:v>-69.191999999999993</c:v>
                      </c:pt>
                      <c:pt idx="523">
                        <c:v>-69.191999999999993</c:v>
                      </c:pt>
                      <c:pt idx="524">
                        <c:v>-69.191999999999993</c:v>
                      </c:pt>
                      <c:pt idx="525">
                        <c:v>-69.191999999999993</c:v>
                      </c:pt>
                      <c:pt idx="526">
                        <c:v>-69.191999999999993</c:v>
                      </c:pt>
                      <c:pt idx="527">
                        <c:v>-69.191999999999993</c:v>
                      </c:pt>
                      <c:pt idx="528">
                        <c:v>-69.191999999999993</c:v>
                      </c:pt>
                      <c:pt idx="529">
                        <c:v>-69.191999999999993</c:v>
                      </c:pt>
                      <c:pt idx="530">
                        <c:v>-69.191999999999993</c:v>
                      </c:pt>
                      <c:pt idx="531">
                        <c:v>-69.191999999999993</c:v>
                      </c:pt>
                      <c:pt idx="532">
                        <c:v>-69.191999999999993</c:v>
                      </c:pt>
                      <c:pt idx="533">
                        <c:v>-69.191999999999993</c:v>
                      </c:pt>
                      <c:pt idx="534">
                        <c:v>-69.191999999999993</c:v>
                      </c:pt>
                      <c:pt idx="535">
                        <c:v>-69.191999999999993</c:v>
                      </c:pt>
                      <c:pt idx="536">
                        <c:v>-69.191999999999993</c:v>
                      </c:pt>
                      <c:pt idx="537">
                        <c:v>-69.191999999999993</c:v>
                      </c:pt>
                      <c:pt idx="538">
                        <c:v>-69.191999999999993</c:v>
                      </c:pt>
                      <c:pt idx="539">
                        <c:v>-69.191999999999993</c:v>
                      </c:pt>
                      <c:pt idx="540">
                        <c:v>-70.296000000000006</c:v>
                      </c:pt>
                      <c:pt idx="541">
                        <c:v>-70.296000000000006</c:v>
                      </c:pt>
                      <c:pt idx="542">
                        <c:v>-70.296000000000006</c:v>
                      </c:pt>
                      <c:pt idx="543">
                        <c:v>-70.296000000000006</c:v>
                      </c:pt>
                      <c:pt idx="544">
                        <c:v>-70.296000000000006</c:v>
                      </c:pt>
                      <c:pt idx="545">
                        <c:v>-70.296000000000006</c:v>
                      </c:pt>
                      <c:pt idx="546">
                        <c:v>-70.296000000000006</c:v>
                      </c:pt>
                      <c:pt idx="547">
                        <c:v>-70.296000000000006</c:v>
                      </c:pt>
                      <c:pt idx="548">
                        <c:v>-70.296000000000006</c:v>
                      </c:pt>
                      <c:pt idx="549">
                        <c:v>-70.296000000000006</c:v>
                      </c:pt>
                      <c:pt idx="550">
                        <c:v>-70.296000000000006</c:v>
                      </c:pt>
                      <c:pt idx="551">
                        <c:v>-70.296000000000006</c:v>
                      </c:pt>
                      <c:pt idx="552">
                        <c:v>-70.296000000000006</c:v>
                      </c:pt>
                      <c:pt idx="553">
                        <c:v>-70.296000000000006</c:v>
                      </c:pt>
                      <c:pt idx="554">
                        <c:v>-70.296000000000006</c:v>
                      </c:pt>
                      <c:pt idx="555">
                        <c:v>-70.296000000000006</c:v>
                      </c:pt>
                      <c:pt idx="556">
                        <c:v>-70.296000000000006</c:v>
                      </c:pt>
                      <c:pt idx="557">
                        <c:v>-70.296000000000006</c:v>
                      </c:pt>
                      <c:pt idx="558">
                        <c:v>-70.296000000000006</c:v>
                      </c:pt>
                      <c:pt idx="559">
                        <c:v>-72.191999999999993</c:v>
                      </c:pt>
                      <c:pt idx="560">
                        <c:v>-72.191999999999993</c:v>
                      </c:pt>
                      <c:pt idx="561">
                        <c:v>-72.191999999999993</c:v>
                      </c:pt>
                      <c:pt idx="562">
                        <c:v>-72.864000000000004</c:v>
                      </c:pt>
                      <c:pt idx="563">
                        <c:v>-72.864000000000004</c:v>
                      </c:pt>
                      <c:pt idx="564">
                        <c:v>-72.864000000000004</c:v>
                      </c:pt>
                      <c:pt idx="565">
                        <c:v>-72.864000000000004</c:v>
                      </c:pt>
                      <c:pt idx="566">
                        <c:v>-72.864000000000004</c:v>
                      </c:pt>
                      <c:pt idx="567">
                        <c:v>-72.864000000000004</c:v>
                      </c:pt>
                      <c:pt idx="568">
                        <c:v>-72.864000000000004</c:v>
                      </c:pt>
                      <c:pt idx="569">
                        <c:v>-72.864000000000004</c:v>
                      </c:pt>
                      <c:pt idx="570">
                        <c:v>-72.864000000000004</c:v>
                      </c:pt>
                      <c:pt idx="571">
                        <c:v>-72.864000000000004</c:v>
                      </c:pt>
                      <c:pt idx="572">
                        <c:v>-72.864000000000004</c:v>
                      </c:pt>
                      <c:pt idx="573">
                        <c:v>-72.864000000000004</c:v>
                      </c:pt>
                      <c:pt idx="574">
                        <c:v>-72.864000000000004</c:v>
                      </c:pt>
                      <c:pt idx="575">
                        <c:v>-72.864000000000004</c:v>
                      </c:pt>
                      <c:pt idx="576">
                        <c:v>-72.864000000000004</c:v>
                      </c:pt>
                      <c:pt idx="577">
                        <c:v>-72.864000000000004</c:v>
                      </c:pt>
                      <c:pt idx="578">
                        <c:v>-76.2</c:v>
                      </c:pt>
                      <c:pt idx="579">
                        <c:v>-76.2</c:v>
                      </c:pt>
                      <c:pt idx="580">
                        <c:v>-76.2</c:v>
                      </c:pt>
                      <c:pt idx="581">
                        <c:v>-76.2</c:v>
                      </c:pt>
                      <c:pt idx="582">
                        <c:v>-76.2</c:v>
                      </c:pt>
                      <c:pt idx="583">
                        <c:v>-76.2</c:v>
                      </c:pt>
                      <c:pt idx="584">
                        <c:v>-76.2</c:v>
                      </c:pt>
                      <c:pt idx="585">
                        <c:v>-76.2</c:v>
                      </c:pt>
                      <c:pt idx="586">
                        <c:v>-76.2</c:v>
                      </c:pt>
                      <c:pt idx="587">
                        <c:v>-76.2</c:v>
                      </c:pt>
                      <c:pt idx="588">
                        <c:v>-76.2</c:v>
                      </c:pt>
                      <c:pt idx="589">
                        <c:v>-76.2</c:v>
                      </c:pt>
                      <c:pt idx="590">
                        <c:v>-76.2</c:v>
                      </c:pt>
                      <c:pt idx="591">
                        <c:v>-76.2</c:v>
                      </c:pt>
                      <c:pt idx="592">
                        <c:v>-76.2</c:v>
                      </c:pt>
                      <c:pt idx="593">
                        <c:v>-76.2</c:v>
                      </c:pt>
                      <c:pt idx="594">
                        <c:v>-76.2</c:v>
                      </c:pt>
                      <c:pt idx="595">
                        <c:v>-76.2</c:v>
                      </c:pt>
                      <c:pt idx="596">
                        <c:v>-76.2</c:v>
                      </c:pt>
                      <c:pt idx="597">
                        <c:v>-76.2</c:v>
                      </c:pt>
                      <c:pt idx="598">
                        <c:v>-76.2</c:v>
                      </c:pt>
                      <c:pt idx="599">
                        <c:v>-76.2</c:v>
                      </c:pt>
                      <c:pt idx="600">
                        <c:v>-76.2</c:v>
                      </c:pt>
                      <c:pt idx="601">
                        <c:v>-76.2</c:v>
                      </c:pt>
                      <c:pt idx="602">
                        <c:v>-76.2</c:v>
                      </c:pt>
                      <c:pt idx="603">
                        <c:v>-76.2</c:v>
                      </c:pt>
                      <c:pt idx="604">
                        <c:v>-76.2</c:v>
                      </c:pt>
                      <c:pt idx="605">
                        <c:v>-76.2</c:v>
                      </c:pt>
                      <c:pt idx="606">
                        <c:v>-76.2</c:v>
                      </c:pt>
                      <c:pt idx="607">
                        <c:v>-76.2</c:v>
                      </c:pt>
                      <c:pt idx="608">
                        <c:v>-76.2</c:v>
                      </c:pt>
                      <c:pt idx="609">
                        <c:v>-76.2</c:v>
                      </c:pt>
                      <c:pt idx="610">
                        <c:v>-76.2</c:v>
                      </c:pt>
                      <c:pt idx="611">
                        <c:v>-76.2</c:v>
                      </c:pt>
                      <c:pt idx="612">
                        <c:v>-76.2</c:v>
                      </c:pt>
                      <c:pt idx="613">
                        <c:v>-76.2</c:v>
                      </c:pt>
                      <c:pt idx="614">
                        <c:v>-76.2</c:v>
                      </c:pt>
                      <c:pt idx="615">
                        <c:v>-76.2</c:v>
                      </c:pt>
                      <c:pt idx="616">
                        <c:v>-76.2</c:v>
                      </c:pt>
                      <c:pt idx="617">
                        <c:v>-76.2</c:v>
                      </c:pt>
                      <c:pt idx="618">
                        <c:v>-76.2</c:v>
                      </c:pt>
                      <c:pt idx="619">
                        <c:v>-76.2</c:v>
                      </c:pt>
                      <c:pt idx="620">
                        <c:v>-76.2</c:v>
                      </c:pt>
                      <c:pt idx="621">
                        <c:v>-76.2</c:v>
                      </c:pt>
                      <c:pt idx="622">
                        <c:v>-76.2</c:v>
                      </c:pt>
                      <c:pt idx="623">
                        <c:v>-76.2</c:v>
                      </c:pt>
                      <c:pt idx="624">
                        <c:v>-76.2</c:v>
                      </c:pt>
                      <c:pt idx="625">
                        <c:v>-76.2</c:v>
                      </c:pt>
                      <c:pt idx="626">
                        <c:v>-76.2</c:v>
                      </c:pt>
                      <c:pt idx="627">
                        <c:v>-76.2</c:v>
                      </c:pt>
                      <c:pt idx="628">
                        <c:v>-76.2</c:v>
                      </c:pt>
                      <c:pt idx="629">
                        <c:v>-76.2</c:v>
                      </c:pt>
                      <c:pt idx="630">
                        <c:v>-76.2</c:v>
                      </c:pt>
                      <c:pt idx="631">
                        <c:v>-76.2</c:v>
                      </c:pt>
                      <c:pt idx="632">
                        <c:v>-76.2</c:v>
                      </c:pt>
                      <c:pt idx="633">
                        <c:v>-76.2</c:v>
                      </c:pt>
                      <c:pt idx="634">
                        <c:v>-76.2</c:v>
                      </c:pt>
                      <c:pt idx="635">
                        <c:v>-76.2</c:v>
                      </c:pt>
                      <c:pt idx="636">
                        <c:v>-76.2</c:v>
                      </c:pt>
                      <c:pt idx="637">
                        <c:v>-76.2</c:v>
                      </c:pt>
                      <c:pt idx="638">
                        <c:v>-76.2</c:v>
                      </c:pt>
                      <c:pt idx="639">
                        <c:v>-77.855999999999995</c:v>
                      </c:pt>
                      <c:pt idx="640">
                        <c:v>-77.855999999999995</c:v>
                      </c:pt>
                      <c:pt idx="641">
                        <c:v>-77.855999999999995</c:v>
                      </c:pt>
                      <c:pt idx="642">
                        <c:v>-77.855999999999995</c:v>
                      </c:pt>
                      <c:pt idx="643">
                        <c:v>-77.855999999999995</c:v>
                      </c:pt>
                      <c:pt idx="644">
                        <c:v>-77.855999999999995</c:v>
                      </c:pt>
                      <c:pt idx="645">
                        <c:v>-77.855999999999995</c:v>
                      </c:pt>
                      <c:pt idx="646">
                        <c:v>-77.855999999999995</c:v>
                      </c:pt>
                      <c:pt idx="647">
                        <c:v>-77.855999999999995</c:v>
                      </c:pt>
                      <c:pt idx="648">
                        <c:v>-77.855999999999995</c:v>
                      </c:pt>
                      <c:pt idx="649">
                        <c:v>-77.855999999999995</c:v>
                      </c:pt>
                      <c:pt idx="650">
                        <c:v>-77.855999999999995</c:v>
                      </c:pt>
                      <c:pt idx="651">
                        <c:v>-77.855999999999995</c:v>
                      </c:pt>
                      <c:pt idx="652">
                        <c:v>-77.855999999999995</c:v>
                      </c:pt>
                      <c:pt idx="653">
                        <c:v>-77.855999999999995</c:v>
                      </c:pt>
                      <c:pt idx="654">
                        <c:v>-77.855999999999995</c:v>
                      </c:pt>
                      <c:pt idx="655">
                        <c:v>-77.855999999999995</c:v>
                      </c:pt>
                      <c:pt idx="656">
                        <c:v>-77.855999999999995</c:v>
                      </c:pt>
                      <c:pt idx="657">
                        <c:v>-77.855999999999995</c:v>
                      </c:pt>
                      <c:pt idx="658">
                        <c:v>-77.855999999999995</c:v>
                      </c:pt>
                      <c:pt idx="659">
                        <c:v>-77.855999999999995</c:v>
                      </c:pt>
                      <c:pt idx="660">
                        <c:v>-77.855999999999995</c:v>
                      </c:pt>
                      <c:pt idx="661">
                        <c:v>-77.855999999999995</c:v>
                      </c:pt>
                      <c:pt idx="662">
                        <c:v>-77.855999999999995</c:v>
                      </c:pt>
                      <c:pt idx="663">
                        <c:v>-77.855999999999995</c:v>
                      </c:pt>
                      <c:pt idx="664">
                        <c:v>-77.855999999999995</c:v>
                      </c:pt>
                      <c:pt idx="665">
                        <c:v>-77.855999999999995</c:v>
                      </c:pt>
                      <c:pt idx="666">
                        <c:v>-77.855999999999995</c:v>
                      </c:pt>
                      <c:pt idx="667">
                        <c:v>-77.855999999999995</c:v>
                      </c:pt>
                      <c:pt idx="668">
                        <c:v>-77.855999999999995</c:v>
                      </c:pt>
                      <c:pt idx="669">
                        <c:v>-77.855999999999995</c:v>
                      </c:pt>
                      <c:pt idx="670">
                        <c:v>-77.855999999999995</c:v>
                      </c:pt>
                      <c:pt idx="671">
                        <c:v>-77.855999999999995</c:v>
                      </c:pt>
                      <c:pt idx="672">
                        <c:v>-77.855999999999995</c:v>
                      </c:pt>
                      <c:pt idx="673">
                        <c:v>-77.855999999999995</c:v>
                      </c:pt>
                      <c:pt idx="674">
                        <c:v>-77.855999999999995</c:v>
                      </c:pt>
                      <c:pt idx="675">
                        <c:v>-77.855999999999995</c:v>
                      </c:pt>
                      <c:pt idx="676">
                        <c:v>-77.855999999999995</c:v>
                      </c:pt>
                      <c:pt idx="677">
                        <c:v>-77.855999999999995</c:v>
                      </c:pt>
                      <c:pt idx="678">
                        <c:v>-77.855999999999995</c:v>
                      </c:pt>
                      <c:pt idx="679">
                        <c:v>-77.855999999999995</c:v>
                      </c:pt>
                      <c:pt idx="680">
                        <c:v>-77.855999999999995</c:v>
                      </c:pt>
                      <c:pt idx="681">
                        <c:v>-77.855999999999995</c:v>
                      </c:pt>
                      <c:pt idx="682">
                        <c:v>-77.855999999999995</c:v>
                      </c:pt>
                      <c:pt idx="683">
                        <c:v>-77.855999999999995</c:v>
                      </c:pt>
                      <c:pt idx="684">
                        <c:v>-77.855999999999995</c:v>
                      </c:pt>
                      <c:pt idx="685">
                        <c:v>-77.855999999999995</c:v>
                      </c:pt>
                      <c:pt idx="686">
                        <c:v>-77.855999999999995</c:v>
                      </c:pt>
                      <c:pt idx="687">
                        <c:v>-77.855999999999995</c:v>
                      </c:pt>
                      <c:pt idx="688">
                        <c:v>-77.855999999999995</c:v>
                      </c:pt>
                      <c:pt idx="689">
                        <c:v>-77.855999999999995</c:v>
                      </c:pt>
                      <c:pt idx="690">
                        <c:v>-77.855999999999995</c:v>
                      </c:pt>
                      <c:pt idx="691">
                        <c:v>-77.855999999999995</c:v>
                      </c:pt>
                      <c:pt idx="692">
                        <c:v>-77.855999999999995</c:v>
                      </c:pt>
                      <c:pt idx="693">
                        <c:v>-77.855999999999995</c:v>
                      </c:pt>
                      <c:pt idx="694">
                        <c:v>-77.855999999999995</c:v>
                      </c:pt>
                      <c:pt idx="695">
                        <c:v>-77.855999999999995</c:v>
                      </c:pt>
                      <c:pt idx="696">
                        <c:v>-77.855999999999995</c:v>
                      </c:pt>
                      <c:pt idx="697">
                        <c:v>-77.855999999999995</c:v>
                      </c:pt>
                      <c:pt idx="698">
                        <c:v>-77.855999999999995</c:v>
                      </c:pt>
                      <c:pt idx="699">
                        <c:v>-77.855999999999995</c:v>
                      </c:pt>
                      <c:pt idx="700">
                        <c:v>-77.855999999999995</c:v>
                      </c:pt>
                      <c:pt idx="701">
                        <c:v>-77.855999999999995</c:v>
                      </c:pt>
                      <c:pt idx="702">
                        <c:v>-77.855999999999995</c:v>
                      </c:pt>
                      <c:pt idx="703">
                        <c:v>-77.855999999999995</c:v>
                      </c:pt>
                      <c:pt idx="704">
                        <c:v>-77.855999999999995</c:v>
                      </c:pt>
                      <c:pt idx="705">
                        <c:v>-77.855999999999995</c:v>
                      </c:pt>
                      <c:pt idx="706">
                        <c:v>-77.855999999999995</c:v>
                      </c:pt>
                      <c:pt idx="707">
                        <c:v>-77.855999999999995</c:v>
                      </c:pt>
                      <c:pt idx="708">
                        <c:v>-77.855999999999995</c:v>
                      </c:pt>
                      <c:pt idx="709">
                        <c:v>-77.855999999999995</c:v>
                      </c:pt>
                      <c:pt idx="710">
                        <c:v>-77.855999999999995</c:v>
                      </c:pt>
                      <c:pt idx="711">
                        <c:v>-77.855999999999995</c:v>
                      </c:pt>
                      <c:pt idx="712">
                        <c:v>-77.855999999999995</c:v>
                      </c:pt>
                      <c:pt idx="713">
                        <c:v>-77.855999999999995</c:v>
                      </c:pt>
                      <c:pt idx="714">
                        <c:v>-77.855999999999995</c:v>
                      </c:pt>
                      <c:pt idx="715">
                        <c:v>-77.855999999999995</c:v>
                      </c:pt>
                      <c:pt idx="716">
                        <c:v>-77.855999999999995</c:v>
                      </c:pt>
                      <c:pt idx="717">
                        <c:v>-77.855999999999995</c:v>
                      </c:pt>
                      <c:pt idx="718">
                        <c:v>-77.855999999999995</c:v>
                      </c:pt>
                      <c:pt idx="719">
                        <c:v>-77.855999999999995</c:v>
                      </c:pt>
                      <c:pt idx="720">
                        <c:v>-77.855999999999995</c:v>
                      </c:pt>
                      <c:pt idx="721">
                        <c:v>-77.855999999999995</c:v>
                      </c:pt>
                      <c:pt idx="722">
                        <c:v>-77.855999999999995</c:v>
                      </c:pt>
                      <c:pt idx="723">
                        <c:v>-77.855999999999995</c:v>
                      </c:pt>
                      <c:pt idx="724">
                        <c:v>-77.855999999999995</c:v>
                      </c:pt>
                      <c:pt idx="725">
                        <c:v>-77.855999999999995</c:v>
                      </c:pt>
                      <c:pt idx="726">
                        <c:v>-77.855999999999995</c:v>
                      </c:pt>
                      <c:pt idx="727">
                        <c:v>-77.855999999999995</c:v>
                      </c:pt>
                      <c:pt idx="728">
                        <c:v>-77.855999999999995</c:v>
                      </c:pt>
                      <c:pt idx="729">
                        <c:v>-77.855999999999995</c:v>
                      </c:pt>
                      <c:pt idx="730">
                        <c:v>-77.855999999999995</c:v>
                      </c:pt>
                      <c:pt idx="731">
                        <c:v>-77.855999999999995</c:v>
                      </c:pt>
                      <c:pt idx="732">
                        <c:v>-77.855999999999995</c:v>
                      </c:pt>
                      <c:pt idx="733">
                        <c:v>-77.855999999999995</c:v>
                      </c:pt>
                      <c:pt idx="734">
                        <c:v>-77.855999999999995</c:v>
                      </c:pt>
                      <c:pt idx="735">
                        <c:v>-77.855999999999995</c:v>
                      </c:pt>
                      <c:pt idx="736">
                        <c:v>-77.855999999999995</c:v>
                      </c:pt>
                      <c:pt idx="737">
                        <c:v>-77.855999999999995</c:v>
                      </c:pt>
                      <c:pt idx="738">
                        <c:v>-77.855999999999995</c:v>
                      </c:pt>
                      <c:pt idx="739">
                        <c:v>-77.855999999999995</c:v>
                      </c:pt>
                      <c:pt idx="740">
                        <c:v>-77.855999999999995</c:v>
                      </c:pt>
                      <c:pt idx="741">
                        <c:v>-77.855999999999995</c:v>
                      </c:pt>
                      <c:pt idx="742">
                        <c:v>-77.855999999999995</c:v>
                      </c:pt>
                      <c:pt idx="743">
                        <c:v>-77.855999999999995</c:v>
                      </c:pt>
                      <c:pt idx="744">
                        <c:v>-77.855999999999995</c:v>
                      </c:pt>
                      <c:pt idx="745">
                        <c:v>-77.855999999999995</c:v>
                      </c:pt>
                      <c:pt idx="746">
                        <c:v>-77.855999999999995</c:v>
                      </c:pt>
                      <c:pt idx="747">
                        <c:v>-77.855999999999995</c:v>
                      </c:pt>
                      <c:pt idx="748">
                        <c:v>-77.855999999999995</c:v>
                      </c:pt>
                      <c:pt idx="749">
                        <c:v>-77.855999999999995</c:v>
                      </c:pt>
                      <c:pt idx="750">
                        <c:v>-77.855999999999995</c:v>
                      </c:pt>
                      <c:pt idx="751">
                        <c:v>-77.855999999999995</c:v>
                      </c:pt>
                      <c:pt idx="752">
                        <c:v>-77.855999999999995</c:v>
                      </c:pt>
                      <c:pt idx="753">
                        <c:v>-77.855999999999995</c:v>
                      </c:pt>
                      <c:pt idx="754">
                        <c:v>-77.855999999999995</c:v>
                      </c:pt>
                      <c:pt idx="755">
                        <c:v>-77.855999999999995</c:v>
                      </c:pt>
                      <c:pt idx="756">
                        <c:v>-77.855999999999995</c:v>
                      </c:pt>
                      <c:pt idx="757">
                        <c:v>-77.855999999999995</c:v>
                      </c:pt>
                      <c:pt idx="758">
                        <c:v>-77.855999999999995</c:v>
                      </c:pt>
                      <c:pt idx="759">
                        <c:v>-77.855999999999995</c:v>
                      </c:pt>
                      <c:pt idx="760">
                        <c:v>-77.855999999999995</c:v>
                      </c:pt>
                      <c:pt idx="761">
                        <c:v>-80.951999999999998</c:v>
                      </c:pt>
                      <c:pt idx="762">
                        <c:v>-81.552000000000007</c:v>
                      </c:pt>
                      <c:pt idx="763">
                        <c:v>-81.552000000000007</c:v>
                      </c:pt>
                      <c:pt idx="764">
                        <c:v>-81.552000000000007</c:v>
                      </c:pt>
                      <c:pt idx="765">
                        <c:v>-81.552000000000007</c:v>
                      </c:pt>
                      <c:pt idx="766">
                        <c:v>-81.552000000000007</c:v>
                      </c:pt>
                      <c:pt idx="767">
                        <c:v>-81.552000000000007</c:v>
                      </c:pt>
                      <c:pt idx="768">
                        <c:v>-81.552000000000007</c:v>
                      </c:pt>
                      <c:pt idx="769">
                        <c:v>-81.552000000000007</c:v>
                      </c:pt>
                      <c:pt idx="770">
                        <c:v>-81.552000000000007</c:v>
                      </c:pt>
                      <c:pt idx="771">
                        <c:v>-81.552000000000007</c:v>
                      </c:pt>
                      <c:pt idx="772">
                        <c:v>-81.552000000000007</c:v>
                      </c:pt>
                      <c:pt idx="773">
                        <c:v>-81.552000000000007</c:v>
                      </c:pt>
                      <c:pt idx="774">
                        <c:v>-81.552000000000007</c:v>
                      </c:pt>
                      <c:pt idx="775">
                        <c:v>-81.552000000000007</c:v>
                      </c:pt>
                      <c:pt idx="776">
                        <c:v>-81.552000000000007</c:v>
                      </c:pt>
                      <c:pt idx="777">
                        <c:v>-81.552000000000007</c:v>
                      </c:pt>
                      <c:pt idx="778">
                        <c:v>-81.552000000000007</c:v>
                      </c:pt>
                      <c:pt idx="779">
                        <c:v>-81.552000000000007</c:v>
                      </c:pt>
                      <c:pt idx="780">
                        <c:v>-81.552000000000007</c:v>
                      </c:pt>
                      <c:pt idx="781">
                        <c:v>-81.552000000000007</c:v>
                      </c:pt>
                      <c:pt idx="782">
                        <c:v>-81.552000000000007</c:v>
                      </c:pt>
                      <c:pt idx="783">
                        <c:v>-81.552000000000007</c:v>
                      </c:pt>
                      <c:pt idx="784">
                        <c:v>-81.552000000000007</c:v>
                      </c:pt>
                      <c:pt idx="785">
                        <c:v>-81.552000000000007</c:v>
                      </c:pt>
                      <c:pt idx="786">
                        <c:v>-81.552000000000007</c:v>
                      </c:pt>
                      <c:pt idx="787">
                        <c:v>-81.552000000000007</c:v>
                      </c:pt>
                      <c:pt idx="788">
                        <c:v>-81.552000000000007</c:v>
                      </c:pt>
                      <c:pt idx="789">
                        <c:v>-81.552000000000007</c:v>
                      </c:pt>
                      <c:pt idx="790">
                        <c:v>-81.552000000000007</c:v>
                      </c:pt>
                      <c:pt idx="791">
                        <c:v>-81.552000000000007</c:v>
                      </c:pt>
                      <c:pt idx="792">
                        <c:v>-81.552000000000007</c:v>
                      </c:pt>
                      <c:pt idx="793">
                        <c:v>-80.951999999999998</c:v>
                      </c:pt>
                      <c:pt idx="794">
                        <c:v>-81.287999999999997</c:v>
                      </c:pt>
                      <c:pt idx="795">
                        <c:v>-81.287999999999997</c:v>
                      </c:pt>
                      <c:pt idx="796">
                        <c:v>-81.287999999999997</c:v>
                      </c:pt>
                      <c:pt idx="797">
                        <c:v>-81.287999999999997</c:v>
                      </c:pt>
                      <c:pt idx="798">
                        <c:v>-81.287999999999997</c:v>
                      </c:pt>
                      <c:pt idx="799">
                        <c:v>-81.287999999999997</c:v>
                      </c:pt>
                      <c:pt idx="800">
                        <c:v>-81.287999999999997</c:v>
                      </c:pt>
                      <c:pt idx="801">
                        <c:v>-78.191999999999993</c:v>
                      </c:pt>
                      <c:pt idx="802">
                        <c:v>-78.191999999999993</c:v>
                      </c:pt>
                      <c:pt idx="803">
                        <c:v>-78.191999999999993</c:v>
                      </c:pt>
                      <c:pt idx="804">
                        <c:v>-78.191999999999993</c:v>
                      </c:pt>
                      <c:pt idx="805">
                        <c:v>-78.191999999999993</c:v>
                      </c:pt>
                      <c:pt idx="806">
                        <c:v>-78.191999999999993</c:v>
                      </c:pt>
                      <c:pt idx="807">
                        <c:v>-78.191999999999993</c:v>
                      </c:pt>
                      <c:pt idx="808">
                        <c:v>-78.191999999999993</c:v>
                      </c:pt>
                      <c:pt idx="809">
                        <c:v>-78.191999999999993</c:v>
                      </c:pt>
                      <c:pt idx="810">
                        <c:v>-78.191999999999993</c:v>
                      </c:pt>
                      <c:pt idx="811">
                        <c:v>-78.191999999999993</c:v>
                      </c:pt>
                      <c:pt idx="812">
                        <c:v>-78.191999999999993</c:v>
                      </c:pt>
                      <c:pt idx="813">
                        <c:v>-78.191999999999993</c:v>
                      </c:pt>
                      <c:pt idx="814">
                        <c:v>-78.191999999999993</c:v>
                      </c:pt>
                      <c:pt idx="815">
                        <c:v>-78.191999999999993</c:v>
                      </c:pt>
                      <c:pt idx="816">
                        <c:v>-78.191999999999993</c:v>
                      </c:pt>
                      <c:pt idx="817">
                        <c:v>-78.191999999999993</c:v>
                      </c:pt>
                      <c:pt idx="818">
                        <c:v>-78.191999999999993</c:v>
                      </c:pt>
                      <c:pt idx="819">
                        <c:v>-78.191999999999993</c:v>
                      </c:pt>
                      <c:pt idx="820">
                        <c:v>-78.191999999999993</c:v>
                      </c:pt>
                      <c:pt idx="821">
                        <c:v>-150.096</c:v>
                      </c:pt>
                      <c:pt idx="822">
                        <c:v>-150.096</c:v>
                      </c:pt>
                      <c:pt idx="823">
                        <c:v>-150.096</c:v>
                      </c:pt>
                      <c:pt idx="824">
                        <c:v>-150.096</c:v>
                      </c:pt>
                      <c:pt idx="825">
                        <c:v>-149.76</c:v>
                      </c:pt>
                      <c:pt idx="826">
                        <c:v>-149.76</c:v>
                      </c:pt>
                      <c:pt idx="827">
                        <c:v>-149.76</c:v>
                      </c:pt>
                      <c:pt idx="828">
                        <c:v>-149.76</c:v>
                      </c:pt>
                      <c:pt idx="829">
                        <c:v>-149.76</c:v>
                      </c:pt>
                      <c:pt idx="830">
                        <c:v>-149.76</c:v>
                      </c:pt>
                      <c:pt idx="831">
                        <c:v>-149.76</c:v>
                      </c:pt>
                      <c:pt idx="832">
                        <c:v>-149.76</c:v>
                      </c:pt>
                      <c:pt idx="833">
                        <c:v>-149.76</c:v>
                      </c:pt>
                      <c:pt idx="834">
                        <c:v>-149.76</c:v>
                      </c:pt>
                      <c:pt idx="835">
                        <c:v>-149.76</c:v>
                      </c:pt>
                      <c:pt idx="836">
                        <c:v>-149.76</c:v>
                      </c:pt>
                      <c:pt idx="837">
                        <c:v>-149.76</c:v>
                      </c:pt>
                      <c:pt idx="838">
                        <c:v>-149.76</c:v>
                      </c:pt>
                      <c:pt idx="839">
                        <c:v>-149.76</c:v>
                      </c:pt>
                      <c:pt idx="840">
                        <c:v>-149.76</c:v>
                      </c:pt>
                      <c:pt idx="841">
                        <c:v>-149.76</c:v>
                      </c:pt>
                      <c:pt idx="842">
                        <c:v>-149.76</c:v>
                      </c:pt>
                      <c:pt idx="843">
                        <c:v>-149.76</c:v>
                      </c:pt>
                      <c:pt idx="844">
                        <c:v>-149.76</c:v>
                      </c:pt>
                      <c:pt idx="845">
                        <c:v>-149.76</c:v>
                      </c:pt>
                      <c:pt idx="846">
                        <c:v>-149.76</c:v>
                      </c:pt>
                      <c:pt idx="847">
                        <c:v>-152.11199999999999</c:v>
                      </c:pt>
                      <c:pt idx="848">
                        <c:v>-152.11199999999999</c:v>
                      </c:pt>
                      <c:pt idx="849">
                        <c:v>-152.11199999999999</c:v>
                      </c:pt>
                      <c:pt idx="850">
                        <c:v>-152.11199999999999</c:v>
                      </c:pt>
                      <c:pt idx="851">
                        <c:v>-102.72</c:v>
                      </c:pt>
                      <c:pt idx="852">
                        <c:v>-102.72</c:v>
                      </c:pt>
                      <c:pt idx="853">
                        <c:v>-102.72</c:v>
                      </c:pt>
                      <c:pt idx="854">
                        <c:v>-106.776</c:v>
                      </c:pt>
                      <c:pt idx="855">
                        <c:v>-107.952</c:v>
                      </c:pt>
                      <c:pt idx="856">
                        <c:v>-107.952</c:v>
                      </c:pt>
                      <c:pt idx="857">
                        <c:v>-107.952</c:v>
                      </c:pt>
                      <c:pt idx="858">
                        <c:v>-107.952</c:v>
                      </c:pt>
                      <c:pt idx="859">
                        <c:v>-107.952</c:v>
                      </c:pt>
                      <c:pt idx="860">
                        <c:v>-113.08799999999999</c:v>
                      </c:pt>
                      <c:pt idx="861">
                        <c:v>-113.80800000000001</c:v>
                      </c:pt>
                      <c:pt idx="862">
                        <c:v>-113.80800000000001</c:v>
                      </c:pt>
                      <c:pt idx="863">
                        <c:v>-113.80800000000001</c:v>
                      </c:pt>
                      <c:pt idx="864">
                        <c:v>-114.792</c:v>
                      </c:pt>
                      <c:pt idx="865">
                        <c:v>-114.792</c:v>
                      </c:pt>
                      <c:pt idx="866">
                        <c:v>-114.792</c:v>
                      </c:pt>
                      <c:pt idx="867">
                        <c:v>-114.792</c:v>
                      </c:pt>
                      <c:pt idx="868">
                        <c:v>-114.792</c:v>
                      </c:pt>
                      <c:pt idx="869">
                        <c:v>-114.792</c:v>
                      </c:pt>
                      <c:pt idx="870">
                        <c:v>-114.792</c:v>
                      </c:pt>
                      <c:pt idx="871">
                        <c:v>-121.72799999999999</c:v>
                      </c:pt>
                      <c:pt idx="872">
                        <c:v>-121.72799999999999</c:v>
                      </c:pt>
                      <c:pt idx="873">
                        <c:v>-121.72799999999999</c:v>
                      </c:pt>
                      <c:pt idx="874">
                        <c:v>-121.72799999999999</c:v>
                      </c:pt>
                      <c:pt idx="875">
                        <c:v>-126.648</c:v>
                      </c:pt>
                      <c:pt idx="876">
                        <c:v>-128.44800000000001</c:v>
                      </c:pt>
                      <c:pt idx="877">
                        <c:v>-128.44800000000001</c:v>
                      </c:pt>
                      <c:pt idx="878">
                        <c:v>-128.44800000000001</c:v>
                      </c:pt>
                      <c:pt idx="879">
                        <c:v>-128.44800000000001</c:v>
                      </c:pt>
                      <c:pt idx="880">
                        <c:v>-128.44800000000001</c:v>
                      </c:pt>
                      <c:pt idx="881">
                        <c:v>-128.44800000000001</c:v>
                      </c:pt>
                      <c:pt idx="882">
                        <c:v>-128.88</c:v>
                      </c:pt>
                      <c:pt idx="883">
                        <c:v>-128.88</c:v>
                      </c:pt>
                      <c:pt idx="884">
                        <c:v>-128.88</c:v>
                      </c:pt>
                      <c:pt idx="885">
                        <c:v>-128.88</c:v>
                      </c:pt>
                      <c:pt idx="886">
                        <c:v>-128.88</c:v>
                      </c:pt>
                      <c:pt idx="887">
                        <c:v>-128.88</c:v>
                      </c:pt>
                      <c:pt idx="888">
                        <c:v>-128.88</c:v>
                      </c:pt>
                      <c:pt idx="889">
                        <c:v>-128.88</c:v>
                      </c:pt>
                      <c:pt idx="890">
                        <c:v>-128.88</c:v>
                      </c:pt>
                      <c:pt idx="891">
                        <c:v>-128.88</c:v>
                      </c:pt>
                      <c:pt idx="892">
                        <c:v>-128.88</c:v>
                      </c:pt>
                      <c:pt idx="893">
                        <c:v>-128.88</c:v>
                      </c:pt>
                      <c:pt idx="894">
                        <c:v>-128.88</c:v>
                      </c:pt>
                      <c:pt idx="895">
                        <c:v>-128.88</c:v>
                      </c:pt>
                      <c:pt idx="896">
                        <c:v>-128.88</c:v>
                      </c:pt>
                      <c:pt idx="897">
                        <c:v>-128.88</c:v>
                      </c:pt>
                      <c:pt idx="898">
                        <c:v>-128.88</c:v>
                      </c:pt>
                      <c:pt idx="899">
                        <c:v>-128.88</c:v>
                      </c:pt>
                      <c:pt idx="900">
                        <c:v>-128.88</c:v>
                      </c:pt>
                      <c:pt idx="901">
                        <c:v>-128.88</c:v>
                      </c:pt>
                      <c:pt idx="902">
                        <c:v>-128.88</c:v>
                      </c:pt>
                      <c:pt idx="903">
                        <c:v>-128.88</c:v>
                      </c:pt>
                      <c:pt idx="904">
                        <c:v>-128.88</c:v>
                      </c:pt>
                      <c:pt idx="905">
                        <c:v>-128.88</c:v>
                      </c:pt>
                      <c:pt idx="906">
                        <c:v>-128.88</c:v>
                      </c:pt>
                      <c:pt idx="907">
                        <c:v>-128.88</c:v>
                      </c:pt>
                      <c:pt idx="908">
                        <c:v>-128.88</c:v>
                      </c:pt>
                      <c:pt idx="909">
                        <c:v>-128.88</c:v>
                      </c:pt>
                      <c:pt idx="910">
                        <c:v>-128.88</c:v>
                      </c:pt>
                      <c:pt idx="911">
                        <c:v>-128.88</c:v>
                      </c:pt>
                      <c:pt idx="912">
                        <c:v>-131.88</c:v>
                      </c:pt>
                      <c:pt idx="913">
                        <c:v>-131.88</c:v>
                      </c:pt>
                      <c:pt idx="914">
                        <c:v>-131.88</c:v>
                      </c:pt>
                      <c:pt idx="915">
                        <c:v>-131.88</c:v>
                      </c:pt>
                      <c:pt idx="916">
                        <c:v>-131.88</c:v>
                      </c:pt>
                      <c:pt idx="917">
                        <c:v>-131.88</c:v>
                      </c:pt>
                      <c:pt idx="918">
                        <c:v>-131.88</c:v>
                      </c:pt>
                      <c:pt idx="919">
                        <c:v>-131.88</c:v>
                      </c:pt>
                      <c:pt idx="920">
                        <c:v>-131.88</c:v>
                      </c:pt>
                      <c:pt idx="921">
                        <c:v>-131.88</c:v>
                      </c:pt>
                      <c:pt idx="922">
                        <c:v>-131.88</c:v>
                      </c:pt>
                      <c:pt idx="923">
                        <c:v>-131.88</c:v>
                      </c:pt>
                      <c:pt idx="924">
                        <c:v>-131.88</c:v>
                      </c:pt>
                      <c:pt idx="925">
                        <c:v>-131.88</c:v>
                      </c:pt>
                      <c:pt idx="926">
                        <c:v>-131.88</c:v>
                      </c:pt>
                      <c:pt idx="927">
                        <c:v>-131.88</c:v>
                      </c:pt>
                      <c:pt idx="928">
                        <c:v>-131.88</c:v>
                      </c:pt>
                      <c:pt idx="929">
                        <c:v>-131.88</c:v>
                      </c:pt>
                      <c:pt idx="930">
                        <c:v>-131.88</c:v>
                      </c:pt>
                      <c:pt idx="931">
                        <c:v>-131.88</c:v>
                      </c:pt>
                      <c:pt idx="932">
                        <c:v>-131.88</c:v>
                      </c:pt>
                      <c:pt idx="933">
                        <c:v>-131.88</c:v>
                      </c:pt>
                      <c:pt idx="934">
                        <c:v>-131.88</c:v>
                      </c:pt>
                      <c:pt idx="935">
                        <c:v>-131.88</c:v>
                      </c:pt>
                      <c:pt idx="936">
                        <c:v>-131.88</c:v>
                      </c:pt>
                      <c:pt idx="937">
                        <c:v>-131.88</c:v>
                      </c:pt>
                      <c:pt idx="938">
                        <c:v>-131.88</c:v>
                      </c:pt>
                      <c:pt idx="939">
                        <c:v>-131.88</c:v>
                      </c:pt>
                      <c:pt idx="940">
                        <c:v>-131.88</c:v>
                      </c:pt>
                      <c:pt idx="941">
                        <c:v>-131.88</c:v>
                      </c:pt>
                      <c:pt idx="942">
                        <c:v>-131.88</c:v>
                      </c:pt>
                      <c:pt idx="943">
                        <c:v>-131.88</c:v>
                      </c:pt>
                      <c:pt idx="944">
                        <c:v>-131.88</c:v>
                      </c:pt>
                      <c:pt idx="945">
                        <c:v>-131.88</c:v>
                      </c:pt>
                      <c:pt idx="946">
                        <c:v>-131.88</c:v>
                      </c:pt>
                      <c:pt idx="947">
                        <c:v>-131.88</c:v>
                      </c:pt>
                      <c:pt idx="948">
                        <c:v>-131.88</c:v>
                      </c:pt>
                      <c:pt idx="949">
                        <c:v>-131.88</c:v>
                      </c:pt>
                      <c:pt idx="950">
                        <c:v>-131.88</c:v>
                      </c:pt>
                      <c:pt idx="951">
                        <c:v>-131.88</c:v>
                      </c:pt>
                      <c:pt idx="952">
                        <c:v>-131.88</c:v>
                      </c:pt>
                      <c:pt idx="953">
                        <c:v>-131.88</c:v>
                      </c:pt>
                      <c:pt idx="954">
                        <c:v>-131.88</c:v>
                      </c:pt>
                      <c:pt idx="955">
                        <c:v>-131.88</c:v>
                      </c:pt>
                      <c:pt idx="956">
                        <c:v>-131.88</c:v>
                      </c:pt>
                      <c:pt idx="957">
                        <c:v>-131.88</c:v>
                      </c:pt>
                      <c:pt idx="958">
                        <c:v>-131.88</c:v>
                      </c:pt>
                      <c:pt idx="959">
                        <c:v>-131.88</c:v>
                      </c:pt>
                      <c:pt idx="960">
                        <c:v>-131.88</c:v>
                      </c:pt>
                      <c:pt idx="961">
                        <c:v>-131.88</c:v>
                      </c:pt>
                      <c:pt idx="962">
                        <c:v>-131.88</c:v>
                      </c:pt>
                      <c:pt idx="963">
                        <c:v>-131.88</c:v>
                      </c:pt>
                      <c:pt idx="964">
                        <c:v>-131.88</c:v>
                      </c:pt>
                      <c:pt idx="965">
                        <c:v>-131.88</c:v>
                      </c:pt>
                      <c:pt idx="966">
                        <c:v>-131.88</c:v>
                      </c:pt>
                      <c:pt idx="967">
                        <c:v>-131.88</c:v>
                      </c:pt>
                      <c:pt idx="968">
                        <c:v>-131.88</c:v>
                      </c:pt>
                      <c:pt idx="969">
                        <c:v>-131.88</c:v>
                      </c:pt>
                      <c:pt idx="970">
                        <c:v>-131.88</c:v>
                      </c:pt>
                      <c:pt idx="971">
                        <c:v>-131.88</c:v>
                      </c:pt>
                      <c:pt idx="972">
                        <c:v>-131.88</c:v>
                      </c:pt>
                      <c:pt idx="973">
                        <c:v>-131.88</c:v>
                      </c:pt>
                      <c:pt idx="974">
                        <c:v>-131.88</c:v>
                      </c:pt>
                      <c:pt idx="975">
                        <c:v>-131.88</c:v>
                      </c:pt>
                      <c:pt idx="976">
                        <c:v>-131.88</c:v>
                      </c:pt>
                      <c:pt idx="977">
                        <c:v>-131.88</c:v>
                      </c:pt>
                      <c:pt idx="978">
                        <c:v>-131.88</c:v>
                      </c:pt>
                      <c:pt idx="979">
                        <c:v>-131.88</c:v>
                      </c:pt>
                      <c:pt idx="980">
                        <c:v>-131.88</c:v>
                      </c:pt>
                      <c:pt idx="981">
                        <c:v>-131.88</c:v>
                      </c:pt>
                      <c:pt idx="982">
                        <c:v>-131.88</c:v>
                      </c:pt>
                      <c:pt idx="983">
                        <c:v>-131.88</c:v>
                      </c:pt>
                      <c:pt idx="984">
                        <c:v>-131.88</c:v>
                      </c:pt>
                      <c:pt idx="985">
                        <c:v>-131.88</c:v>
                      </c:pt>
                      <c:pt idx="986">
                        <c:v>-131.88</c:v>
                      </c:pt>
                      <c:pt idx="987">
                        <c:v>-131.88</c:v>
                      </c:pt>
                      <c:pt idx="988">
                        <c:v>-131.88</c:v>
                      </c:pt>
                      <c:pt idx="989">
                        <c:v>-131.88</c:v>
                      </c:pt>
                      <c:pt idx="990">
                        <c:v>-131.88</c:v>
                      </c:pt>
                      <c:pt idx="991">
                        <c:v>-131.88</c:v>
                      </c:pt>
                      <c:pt idx="992">
                        <c:v>-131.88</c:v>
                      </c:pt>
                      <c:pt idx="993">
                        <c:v>-131.88</c:v>
                      </c:pt>
                      <c:pt idx="994">
                        <c:v>-131.88</c:v>
                      </c:pt>
                      <c:pt idx="995">
                        <c:v>-131.88</c:v>
                      </c:pt>
                      <c:pt idx="996">
                        <c:v>-131.88</c:v>
                      </c:pt>
                      <c:pt idx="997">
                        <c:v>-131.88</c:v>
                      </c:pt>
                      <c:pt idx="998">
                        <c:v>-131.88</c:v>
                      </c:pt>
                      <c:pt idx="999">
                        <c:v>-131.88</c:v>
                      </c:pt>
                      <c:pt idx="1000">
                        <c:v>-131.88</c:v>
                      </c:pt>
                      <c:pt idx="1001">
                        <c:v>-131.88</c:v>
                      </c:pt>
                      <c:pt idx="1002">
                        <c:v>-131.88</c:v>
                      </c:pt>
                      <c:pt idx="1003">
                        <c:v>-131.88</c:v>
                      </c:pt>
                      <c:pt idx="1004">
                        <c:v>-127.224</c:v>
                      </c:pt>
                      <c:pt idx="1005">
                        <c:v>-127.224</c:v>
                      </c:pt>
                      <c:pt idx="1006">
                        <c:v>-127.224</c:v>
                      </c:pt>
                      <c:pt idx="1007">
                        <c:v>-127.224</c:v>
                      </c:pt>
                      <c:pt idx="1008">
                        <c:v>-127.224</c:v>
                      </c:pt>
                      <c:pt idx="1009">
                        <c:v>-127.224</c:v>
                      </c:pt>
                      <c:pt idx="1010">
                        <c:v>-127.224</c:v>
                      </c:pt>
                      <c:pt idx="1011">
                        <c:v>-127.224</c:v>
                      </c:pt>
                      <c:pt idx="1012">
                        <c:v>-127.224</c:v>
                      </c:pt>
                      <c:pt idx="1013">
                        <c:v>-127.224</c:v>
                      </c:pt>
                      <c:pt idx="1014">
                        <c:v>-127.224</c:v>
                      </c:pt>
                      <c:pt idx="1015">
                        <c:v>-127.224</c:v>
                      </c:pt>
                      <c:pt idx="1016">
                        <c:v>-127.224</c:v>
                      </c:pt>
                      <c:pt idx="1017">
                        <c:v>-127.224</c:v>
                      </c:pt>
                      <c:pt idx="1018">
                        <c:v>-127.224</c:v>
                      </c:pt>
                      <c:pt idx="1019">
                        <c:v>-127.224</c:v>
                      </c:pt>
                      <c:pt idx="1020">
                        <c:v>-127.224</c:v>
                      </c:pt>
                      <c:pt idx="1021">
                        <c:v>-127.224</c:v>
                      </c:pt>
                      <c:pt idx="1022">
                        <c:v>-127.224</c:v>
                      </c:pt>
                      <c:pt idx="1023">
                        <c:v>-127.224</c:v>
                      </c:pt>
                      <c:pt idx="1024">
                        <c:v>-127.224</c:v>
                      </c:pt>
                      <c:pt idx="1025">
                        <c:v>-127.224</c:v>
                      </c:pt>
                      <c:pt idx="1026">
                        <c:v>-127.224</c:v>
                      </c:pt>
                      <c:pt idx="1027">
                        <c:v>-127.224</c:v>
                      </c:pt>
                      <c:pt idx="1028">
                        <c:v>-127.224</c:v>
                      </c:pt>
                      <c:pt idx="1029">
                        <c:v>-127.224</c:v>
                      </c:pt>
                      <c:pt idx="1030">
                        <c:v>-127.224</c:v>
                      </c:pt>
                      <c:pt idx="1031">
                        <c:v>-127.224</c:v>
                      </c:pt>
                      <c:pt idx="1032">
                        <c:v>-127.224</c:v>
                      </c:pt>
                      <c:pt idx="1033">
                        <c:v>-127.224</c:v>
                      </c:pt>
                      <c:pt idx="1034">
                        <c:v>-127.224</c:v>
                      </c:pt>
                      <c:pt idx="1035">
                        <c:v>-127.224</c:v>
                      </c:pt>
                      <c:pt idx="1036">
                        <c:v>-129.31200000000001</c:v>
                      </c:pt>
                      <c:pt idx="1037">
                        <c:v>-131.42400000000001</c:v>
                      </c:pt>
                      <c:pt idx="1038">
                        <c:v>-133.512</c:v>
                      </c:pt>
                      <c:pt idx="1039">
                        <c:v>-133.512</c:v>
                      </c:pt>
                      <c:pt idx="1040">
                        <c:v>-133.512</c:v>
                      </c:pt>
                      <c:pt idx="1041">
                        <c:v>-135.624</c:v>
                      </c:pt>
                      <c:pt idx="1042">
                        <c:v>-137.71199999999999</c:v>
                      </c:pt>
                      <c:pt idx="1043">
                        <c:v>-139.82400000000001</c:v>
                      </c:pt>
                      <c:pt idx="1044">
                        <c:v>-141.91200000000001</c:v>
                      </c:pt>
                      <c:pt idx="1045">
                        <c:v>-143.928</c:v>
                      </c:pt>
                      <c:pt idx="1046">
                        <c:v>-143.928</c:v>
                      </c:pt>
                      <c:pt idx="1047">
                        <c:v>-143.928</c:v>
                      </c:pt>
                      <c:pt idx="1048">
                        <c:v>-145.91999999999999</c:v>
                      </c:pt>
                      <c:pt idx="1049">
                        <c:v>-147.024</c:v>
                      </c:pt>
                      <c:pt idx="1050">
                        <c:v>-148.512</c:v>
                      </c:pt>
                      <c:pt idx="1051">
                        <c:v>-150.52799999999999</c:v>
                      </c:pt>
                      <c:pt idx="1052">
                        <c:v>-150.84</c:v>
                      </c:pt>
                      <c:pt idx="1053">
                        <c:v>-150.84</c:v>
                      </c:pt>
                      <c:pt idx="1054">
                        <c:v>-150.84</c:v>
                      </c:pt>
                      <c:pt idx="1055">
                        <c:v>-150.84</c:v>
                      </c:pt>
                      <c:pt idx="1056">
                        <c:v>-150.84</c:v>
                      </c:pt>
                      <c:pt idx="1057">
                        <c:v>-150.84</c:v>
                      </c:pt>
                      <c:pt idx="1058">
                        <c:v>-150.84</c:v>
                      </c:pt>
                      <c:pt idx="1059">
                        <c:v>-150.84</c:v>
                      </c:pt>
                      <c:pt idx="1060">
                        <c:v>-150.84</c:v>
                      </c:pt>
                      <c:pt idx="1061">
                        <c:v>-150.84</c:v>
                      </c:pt>
                      <c:pt idx="1062">
                        <c:v>-150.84</c:v>
                      </c:pt>
                      <c:pt idx="1063">
                        <c:v>-150.84</c:v>
                      </c:pt>
                      <c:pt idx="1064">
                        <c:v>-150.84</c:v>
                      </c:pt>
                      <c:pt idx="1065">
                        <c:v>-150.84</c:v>
                      </c:pt>
                      <c:pt idx="1066">
                        <c:v>-150.84</c:v>
                      </c:pt>
                      <c:pt idx="1067">
                        <c:v>-150.84</c:v>
                      </c:pt>
                      <c:pt idx="1068">
                        <c:v>-150.84</c:v>
                      </c:pt>
                      <c:pt idx="1069">
                        <c:v>-150.84</c:v>
                      </c:pt>
                      <c:pt idx="1070">
                        <c:v>-150.84</c:v>
                      </c:pt>
                      <c:pt idx="1071">
                        <c:v>-150.84</c:v>
                      </c:pt>
                      <c:pt idx="1072">
                        <c:v>-150.84</c:v>
                      </c:pt>
                      <c:pt idx="1073">
                        <c:v>-150.84</c:v>
                      </c:pt>
                      <c:pt idx="1074">
                        <c:v>-150.84</c:v>
                      </c:pt>
                      <c:pt idx="1075">
                        <c:v>-150.84</c:v>
                      </c:pt>
                      <c:pt idx="1076">
                        <c:v>-150.84</c:v>
                      </c:pt>
                      <c:pt idx="1077">
                        <c:v>-150.84</c:v>
                      </c:pt>
                      <c:pt idx="1078">
                        <c:v>-150.84</c:v>
                      </c:pt>
                      <c:pt idx="1079">
                        <c:v>-150.84</c:v>
                      </c:pt>
                      <c:pt idx="1080">
                        <c:v>-150.84</c:v>
                      </c:pt>
                      <c:pt idx="1081">
                        <c:v>-150.84</c:v>
                      </c:pt>
                      <c:pt idx="1082">
                        <c:v>-150.84</c:v>
                      </c:pt>
                      <c:pt idx="1083">
                        <c:v>-150.84</c:v>
                      </c:pt>
                      <c:pt idx="1084">
                        <c:v>-150.84</c:v>
                      </c:pt>
                      <c:pt idx="1085">
                        <c:v>-150.84</c:v>
                      </c:pt>
                      <c:pt idx="1086">
                        <c:v>-150.84</c:v>
                      </c:pt>
                      <c:pt idx="1087">
                        <c:v>-150.84</c:v>
                      </c:pt>
                      <c:pt idx="1088">
                        <c:v>-150.84</c:v>
                      </c:pt>
                      <c:pt idx="1089">
                        <c:v>-150.84</c:v>
                      </c:pt>
                      <c:pt idx="1090">
                        <c:v>-150.84</c:v>
                      </c:pt>
                      <c:pt idx="1091">
                        <c:v>-150.84</c:v>
                      </c:pt>
                      <c:pt idx="1092">
                        <c:v>-150.84</c:v>
                      </c:pt>
                      <c:pt idx="1093">
                        <c:v>-150.84</c:v>
                      </c:pt>
                      <c:pt idx="1094">
                        <c:v>-150.84</c:v>
                      </c:pt>
                      <c:pt idx="1095">
                        <c:v>-150.84</c:v>
                      </c:pt>
                      <c:pt idx="1096">
                        <c:v>-150.84</c:v>
                      </c:pt>
                      <c:pt idx="1097">
                        <c:v>-150.84</c:v>
                      </c:pt>
                      <c:pt idx="1098">
                        <c:v>-150.84</c:v>
                      </c:pt>
                      <c:pt idx="1099">
                        <c:v>-150.84</c:v>
                      </c:pt>
                      <c:pt idx="1100">
                        <c:v>-150.84</c:v>
                      </c:pt>
                      <c:pt idx="1101">
                        <c:v>-150.84</c:v>
                      </c:pt>
                      <c:pt idx="1102">
                        <c:v>-150.84</c:v>
                      </c:pt>
                      <c:pt idx="1103">
                        <c:v>-150.84</c:v>
                      </c:pt>
                      <c:pt idx="1104">
                        <c:v>-150.84</c:v>
                      </c:pt>
                      <c:pt idx="1105">
                        <c:v>-150.84</c:v>
                      </c:pt>
                      <c:pt idx="1106">
                        <c:v>-150.84</c:v>
                      </c:pt>
                      <c:pt idx="1107">
                        <c:v>-150.84</c:v>
                      </c:pt>
                      <c:pt idx="1108">
                        <c:v>-150.84</c:v>
                      </c:pt>
                      <c:pt idx="1109">
                        <c:v>-150.84</c:v>
                      </c:pt>
                      <c:pt idx="1110">
                        <c:v>-150.84</c:v>
                      </c:pt>
                      <c:pt idx="1111">
                        <c:v>-150.84</c:v>
                      </c:pt>
                      <c:pt idx="1112">
                        <c:v>-150.84</c:v>
                      </c:pt>
                      <c:pt idx="1113">
                        <c:v>-150.84</c:v>
                      </c:pt>
                      <c:pt idx="1114">
                        <c:v>-150.84</c:v>
                      </c:pt>
                      <c:pt idx="1115">
                        <c:v>-150.84</c:v>
                      </c:pt>
                      <c:pt idx="1116">
                        <c:v>-150.84</c:v>
                      </c:pt>
                      <c:pt idx="1117">
                        <c:v>-150.84</c:v>
                      </c:pt>
                      <c:pt idx="1118">
                        <c:v>-150.84</c:v>
                      </c:pt>
                      <c:pt idx="1119">
                        <c:v>-150.84</c:v>
                      </c:pt>
                      <c:pt idx="1120">
                        <c:v>-150.84</c:v>
                      </c:pt>
                      <c:pt idx="1121">
                        <c:v>-150.84</c:v>
                      </c:pt>
                      <c:pt idx="1122">
                        <c:v>-150.8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B899-43FB-9B00-42D97902B992}"/>
                  </c:ext>
                </c:extLst>
              </c15:ser>
            </c15:filteredLineSeries>
          </c:ext>
        </c:extLst>
      </c:lineChart>
      <c:lineChart>
        <c:grouping val="standard"/>
        <c:varyColors val="0"/>
        <c:ser>
          <c:idx val="7"/>
          <c:order val="0"/>
          <c:tx>
            <c:v>Storage filling 2021-22 (%)</c:v>
          </c:tx>
          <c:spPr>
            <a:ln w="15875">
              <a:solidFill>
                <a:srgbClr val="005480"/>
              </a:solidFill>
              <a:prstDash val="dash"/>
            </a:ln>
          </c:spPr>
          <c:marker>
            <c:symbol val="none"/>
          </c:marker>
          <c:cat>
            <c:numRef>
              <c:f>'DK udtræk og injicering'!$D$4641:$D$5892</c:f>
              <c:numCache>
                <c:formatCode>m/d/yyyy</c:formatCode>
                <c:ptCount val="1252"/>
                <c:pt idx="0">
                  <c:v>43831</c:v>
                </c:pt>
                <c:pt idx="1">
                  <c:v>43832</c:v>
                </c:pt>
                <c:pt idx="2">
                  <c:v>43833</c:v>
                </c:pt>
                <c:pt idx="3">
                  <c:v>43834</c:v>
                </c:pt>
                <c:pt idx="4">
                  <c:v>43835</c:v>
                </c:pt>
                <c:pt idx="5">
                  <c:v>43836</c:v>
                </c:pt>
                <c:pt idx="6">
                  <c:v>43837</c:v>
                </c:pt>
                <c:pt idx="7">
                  <c:v>43838</c:v>
                </c:pt>
                <c:pt idx="8">
                  <c:v>43839</c:v>
                </c:pt>
                <c:pt idx="9">
                  <c:v>43840</c:v>
                </c:pt>
                <c:pt idx="10">
                  <c:v>43841</c:v>
                </c:pt>
                <c:pt idx="11">
                  <c:v>43842</c:v>
                </c:pt>
                <c:pt idx="12">
                  <c:v>43843</c:v>
                </c:pt>
                <c:pt idx="13">
                  <c:v>43844</c:v>
                </c:pt>
                <c:pt idx="14">
                  <c:v>43845</c:v>
                </c:pt>
                <c:pt idx="15">
                  <c:v>43846</c:v>
                </c:pt>
                <c:pt idx="16">
                  <c:v>43847</c:v>
                </c:pt>
                <c:pt idx="17">
                  <c:v>43848</c:v>
                </c:pt>
                <c:pt idx="18">
                  <c:v>43849</c:v>
                </c:pt>
                <c:pt idx="19">
                  <c:v>43850</c:v>
                </c:pt>
                <c:pt idx="20">
                  <c:v>43851</c:v>
                </c:pt>
                <c:pt idx="21">
                  <c:v>43852</c:v>
                </c:pt>
                <c:pt idx="22">
                  <c:v>43853</c:v>
                </c:pt>
                <c:pt idx="23">
                  <c:v>43854</c:v>
                </c:pt>
                <c:pt idx="24">
                  <c:v>43855</c:v>
                </c:pt>
                <c:pt idx="25">
                  <c:v>43856</c:v>
                </c:pt>
                <c:pt idx="26">
                  <c:v>43857</c:v>
                </c:pt>
                <c:pt idx="27">
                  <c:v>43858</c:v>
                </c:pt>
                <c:pt idx="28">
                  <c:v>43859</c:v>
                </c:pt>
                <c:pt idx="29">
                  <c:v>43860</c:v>
                </c:pt>
                <c:pt idx="30">
                  <c:v>43861</c:v>
                </c:pt>
                <c:pt idx="31">
                  <c:v>43862</c:v>
                </c:pt>
                <c:pt idx="32">
                  <c:v>43863</c:v>
                </c:pt>
                <c:pt idx="33">
                  <c:v>43864</c:v>
                </c:pt>
                <c:pt idx="34">
                  <c:v>43865</c:v>
                </c:pt>
                <c:pt idx="35">
                  <c:v>43866</c:v>
                </c:pt>
                <c:pt idx="36">
                  <c:v>43867</c:v>
                </c:pt>
                <c:pt idx="37">
                  <c:v>43868</c:v>
                </c:pt>
                <c:pt idx="38">
                  <c:v>43869</c:v>
                </c:pt>
                <c:pt idx="39">
                  <c:v>43870</c:v>
                </c:pt>
                <c:pt idx="40">
                  <c:v>43871</c:v>
                </c:pt>
                <c:pt idx="41">
                  <c:v>43872</c:v>
                </c:pt>
                <c:pt idx="42">
                  <c:v>43873</c:v>
                </c:pt>
                <c:pt idx="43">
                  <c:v>43874</c:v>
                </c:pt>
                <c:pt idx="44">
                  <c:v>43875</c:v>
                </c:pt>
                <c:pt idx="45">
                  <c:v>43876</c:v>
                </c:pt>
                <c:pt idx="46">
                  <c:v>43877</c:v>
                </c:pt>
                <c:pt idx="47">
                  <c:v>43878</c:v>
                </c:pt>
                <c:pt idx="48">
                  <c:v>43879</c:v>
                </c:pt>
                <c:pt idx="49">
                  <c:v>43880</c:v>
                </c:pt>
                <c:pt idx="50">
                  <c:v>43881</c:v>
                </c:pt>
                <c:pt idx="51">
                  <c:v>43882</c:v>
                </c:pt>
                <c:pt idx="52">
                  <c:v>43883</c:v>
                </c:pt>
                <c:pt idx="53">
                  <c:v>43884</c:v>
                </c:pt>
                <c:pt idx="54">
                  <c:v>43885</c:v>
                </c:pt>
                <c:pt idx="55">
                  <c:v>43886</c:v>
                </c:pt>
                <c:pt idx="56">
                  <c:v>43887</c:v>
                </c:pt>
                <c:pt idx="57">
                  <c:v>43888</c:v>
                </c:pt>
                <c:pt idx="58">
                  <c:v>43889</c:v>
                </c:pt>
                <c:pt idx="59">
                  <c:v>43890</c:v>
                </c:pt>
                <c:pt idx="60">
                  <c:v>43891</c:v>
                </c:pt>
                <c:pt idx="61">
                  <c:v>43892</c:v>
                </c:pt>
                <c:pt idx="62">
                  <c:v>43893</c:v>
                </c:pt>
                <c:pt idx="63">
                  <c:v>43894</c:v>
                </c:pt>
                <c:pt idx="64">
                  <c:v>43895</c:v>
                </c:pt>
                <c:pt idx="65">
                  <c:v>43896</c:v>
                </c:pt>
                <c:pt idx="66">
                  <c:v>43897</c:v>
                </c:pt>
                <c:pt idx="67">
                  <c:v>43898</c:v>
                </c:pt>
                <c:pt idx="68">
                  <c:v>43899</c:v>
                </c:pt>
                <c:pt idx="69">
                  <c:v>43900</c:v>
                </c:pt>
                <c:pt idx="70">
                  <c:v>43901</c:v>
                </c:pt>
                <c:pt idx="71">
                  <c:v>43902</c:v>
                </c:pt>
                <c:pt idx="72">
                  <c:v>43903</c:v>
                </c:pt>
                <c:pt idx="73">
                  <c:v>43904</c:v>
                </c:pt>
                <c:pt idx="74">
                  <c:v>43905</c:v>
                </c:pt>
                <c:pt idx="75">
                  <c:v>43906</c:v>
                </c:pt>
                <c:pt idx="76">
                  <c:v>43907</c:v>
                </c:pt>
                <c:pt idx="77">
                  <c:v>43908</c:v>
                </c:pt>
                <c:pt idx="78">
                  <c:v>43909</c:v>
                </c:pt>
                <c:pt idx="79">
                  <c:v>43910</c:v>
                </c:pt>
                <c:pt idx="80">
                  <c:v>43911</c:v>
                </c:pt>
                <c:pt idx="81">
                  <c:v>43912</c:v>
                </c:pt>
                <c:pt idx="82">
                  <c:v>43913</c:v>
                </c:pt>
                <c:pt idx="83">
                  <c:v>43914</c:v>
                </c:pt>
                <c:pt idx="84">
                  <c:v>43915</c:v>
                </c:pt>
                <c:pt idx="85">
                  <c:v>43916</c:v>
                </c:pt>
                <c:pt idx="86">
                  <c:v>43917</c:v>
                </c:pt>
                <c:pt idx="87">
                  <c:v>43918</c:v>
                </c:pt>
                <c:pt idx="88">
                  <c:v>43919</c:v>
                </c:pt>
                <c:pt idx="89">
                  <c:v>43920</c:v>
                </c:pt>
                <c:pt idx="90">
                  <c:v>43921</c:v>
                </c:pt>
                <c:pt idx="91">
                  <c:v>43922</c:v>
                </c:pt>
                <c:pt idx="92">
                  <c:v>43923</c:v>
                </c:pt>
                <c:pt idx="93">
                  <c:v>43924</c:v>
                </c:pt>
                <c:pt idx="94">
                  <c:v>43925</c:v>
                </c:pt>
                <c:pt idx="95">
                  <c:v>43926</c:v>
                </c:pt>
                <c:pt idx="96">
                  <c:v>43927</c:v>
                </c:pt>
                <c:pt idx="97">
                  <c:v>43928</c:v>
                </c:pt>
                <c:pt idx="98">
                  <c:v>43929</c:v>
                </c:pt>
                <c:pt idx="99">
                  <c:v>43930</c:v>
                </c:pt>
                <c:pt idx="100">
                  <c:v>43931</c:v>
                </c:pt>
                <c:pt idx="101">
                  <c:v>43932</c:v>
                </c:pt>
                <c:pt idx="102">
                  <c:v>43933</c:v>
                </c:pt>
                <c:pt idx="103">
                  <c:v>43934</c:v>
                </c:pt>
                <c:pt idx="104">
                  <c:v>43935</c:v>
                </c:pt>
                <c:pt idx="105">
                  <c:v>43936</c:v>
                </c:pt>
                <c:pt idx="106">
                  <c:v>43937</c:v>
                </c:pt>
                <c:pt idx="107">
                  <c:v>43938</c:v>
                </c:pt>
                <c:pt idx="108">
                  <c:v>43939</c:v>
                </c:pt>
                <c:pt idx="109">
                  <c:v>43940</c:v>
                </c:pt>
                <c:pt idx="110">
                  <c:v>43941</c:v>
                </c:pt>
                <c:pt idx="111">
                  <c:v>43942</c:v>
                </c:pt>
                <c:pt idx="112">
                  <c:v>43943</c:v>
                </c:pt>
                <c:pt idx="113">
                  <c:v>43944</c:v>
                </c:pt>
                <c:pt idx="114">
                  <c:v>43945</c:v>
                </c:pt>
                <c:pt idx="115">
                  <c:v>43946</c:v>
                </c:pt>
                <c:pt idx="116">
                  <c:v>43947</c:v>
                </c:pt>
                <c:pt idx="117">
                  <c:v>43948</c:v>
                </c:pt>
                <c:pt idx="118">
                  <c:v>43949</c:v>
                </c:pt>
                <c:pt idx="119">
                  <c:v>43950</c:v>
                </c:pt>
                <c:pt idx="120">
                  <c:v>43951</c:v>
                </c:pt>
                <c:pt idx="121">
                  <c:v>43952</c:v>
                </c:pt>
                <c:pt idx="122">
                  <c:v>43953</c:v>
                </c:pt>
                <c:pt idx="123">
                  <c:v>43954</c:v>
                </c:pt>
                <c:pt idx="124">
                  <c:v>43955</c:v>
                </c:pt>
                <c:pt idx="125">
                  <c:v>43956</c:v>
                </c:pt>
                <c:pt idx="126">
                  <c:v>43957</c:v>
                </c:pt>
                <c:pt idx="127">
                  <c:v>43958</c:v>
                </c:pt>
                <c:pt idx="128">
                  <c:v>43959</c:v>
                </c:pt>
                <c:pt idx="129">
                  <c:v>43960</c:v>
                </c:pt>
                <c:pt idx="130">
                  <c:v>43961</c:v>
                </c:pt>
                <c:pt idx="131">
                  <c:v>43962</c:v>
                </c:pt>
                <c:pt idx="132">
                  <c:v>43963</c:v>
                </c:pt>
                <c:pt idx="133">
                  <c:v>43964</c:v>
                </c:pt>
                <c:pt idx="134">
                  <c:v>43965</c:v>
                </c:pt>
                <c:pt idx="135">
                  <c:v>43966</c:v>
                </c:pt>
                <c:pt idx="136">
                  <c:v>43967</c:v>
                </c:pt>
                <c:pt idx="137">
                  <c:v>43968</c:v>
                </c:pt>
                <c:pt idx="138">
                  <c:v>43969</c:v>
                </c:pt>
                <c:pt idx="139">
                  <c:v>43970</c:v>
                </c:pt>
                <c:pt idx="140">
                  <c:v>43971</c:v>
                </c:pt>
                <c:pt idx="141">
                  <c:v>43972</c:v>
                </c:pt>
                <c:pt idx="142">
                  <c:v>43973</c:v>
                </c:pt>
                <c:pt idx="143">
                  <c:v>43974</c:v>
                </c:pt>
                <c:pt idx="144">
                  <c:v>43975</c:v>
                </c:pt>
                <c:pt idx="145">
                  <c:v>43976</c:v>
                </c:pt>
                <c:pt idx="146">
                  <c:v>43977</c:v>
                </c:pt>
                <c:pt idx="147">
                  <c:v>43978</c:v>
                </c:pt>
                <c:pt idx="148">
                  <c:v>43979</c:v>
                </c:pt>
                <c:pt idx="149">
                  <c:v>43980</c:v>
                </c:pt>
                <c:pt idx="150">
                  <c:v>43981</c:v>
                </c:pt>
                <c:pt idx="151">
                  <c:v>43982</c:v>
                </c:pt>
                <c:pt idx="152">
                  <c:v>43983</c:v>
                </c:pt>
                <c:pt idx="153">
                  <c:v>43984</c:v>
                </c:pt>
                <c:pt idx="154">
                  <c:v>43985</c:v>
                </c:pt>
                <c:pt idx="155">
                  <c:v>43986</c:v>
                </c:pt>
                <c:pt idx="156">
                  <c:v>43987</c:v>
                </c:pt>
                <c:pt idx="157">
                  <c:v>43988</c:v>
                </c:pt>
                <c:pt idx="158">
                  <c:v>43989</c:v>
                </c:pt>
                <c:pt idx="159">
                  <c:v>43990</c:v>
                </c:pt>
                <c:pt idx="160">
                  <c:v>43991</c:v>
                </c:pt>
                <c:pt idx="161">
                  <c:v>43992</c:v>
                </c:pt>
                <c:pt idx="162">
                  <c:v>43993</c:v>
                </c:pt>
                <c:pt idx="163">
                  <c:v>43994</c:v>
                </c:pt>
                <c:pt idx="164">
                  <c:v>43995</c:v>
                </c:pt>
                <c:pt idx="165">
                  <c:v>43996</c:v>
                </c:pt>
                <c:pt idx="166">
                  <c:v>43997</c:v>
                </c:pt>
                <c:pt idx="167">
                  <c:v>43998</c:v>
                </c:pt>
                <c:pt idx="168">
                  <c:v>43999</c:v>
                </c:pt>
                <c:pt idx="169">
                  <c:v>44000</c:v>
                </c:pt>
                <c:pt idx="170">
                  <c:v>44001</c:v>
                </c:pt>
                <c:pt idx="171">
                  <c:v>44002</c:v>
                </c:pt>
                <c:pt idx="172">
                  <c:v>44003</c:v>
                </c:pt>
                <c:pt idx="173">
                  <c:v>44004</c:v>
                </c:pt>
                <c:pt idx="174">
                  <c:v>44005</c:v>
                </c:pt>
                <c:pt idx="175">
                  <c:v>44006</c:v>
                </c:pt>
                <c:pt idx="176">
                  <c:v>44007</c:v>
                </c:pt>
                <c:pt idx="177">
                  <c:v>44008</c:v>
                </c:pt>
                <c:pt idx="178">
                  <c:v>44009</c:v>
                </c:pt>
                <c:pt idx="179">
                  <c:v>44010</c:v>
                </c:pt>
                <c:pt idx="180">
                  <c:v>44011</c:v>
                </c:pt>
                <c:pt idx="181">
                  <c:v>44012</c:v>
                </c:pt>
                <c:pt idx="182">
                  <c:v>44013</c:v>
                </c:pt>
                <c:pt idx="183">
                  <c:v>44014</c:v>
                </c:pt>
                <c:pt idx="184">
                  <c:v>44015</c:v>
                </c:pt>
                <c:pt idx="185">
                  <c:v>44016</c:v>
                </c:pt>
                <c:pt idx="186">
                  <c:v>44017</c:v>
                </c:pt>
                <c:pt idx="187">
                  <c:v>44018</c:v>
                </c:pt>
                <c:pt idx="188">
                  <c:v>44019</c:v>
                </c:pt>
                <c:pt idx="189">
                  <c:v>44020</c:v>
                </c:pt>
                <c:pt idx="190">
                  <c:v>44021</c:v>
                </c:pt>
                <c:pt idx="191">
                  <c:v>44022</c:v>
                </c:pt>
                <c:pt idx="192">
                  <c:v>44023</c:v>
                </c:pt>
                <c:pt idx="193">
                  <c:v>44024</c:v>
                </c:pt>
                <c:pt idx="194">
                  <c:v>44025</c:v>
                </c:pt>
                <c:pt idx="195">
                  <c:v>44026</c:v>
                </c:pt>
                <c:pt idx="196">
                  <c:v>44027</c:v>
                </c:pt>
                <c:pt idx="197">
                  <c:v>44028</c:v>
                </c:pt>
                <c:pt idx="198">
                  <c:v>44029</c:v>
                </c:pt>
                <c:pt idx="199">
                  <c:v>44030</c:v>
                </c:pt>
                <c:pt idx="200">
                  <c:v>44031</c:v>
                </c:pt>
                <c:pt idx="201">
                  <c:v>44032</c:v>
                </c:pt>
                <c:pt idx="202">
                  <c:v>44033</c:v>
                </c:pt>
                <c:pt idx="203">
                  <c:v>44034</c:v>
                </c:pt>
                <c:pt idx="204">
                  <c:v>44035</c:v>
                </c:pt>
                <c:pt idx="205">
                  <c:v>44036</c:v>
                </c:pt>
                <c:pt idx="206">
                  <c:v>44037</c:v>
                </c:pt>
                <c:pt idx="207">
                  <c:v>44038</c:v>
                </c:pt>
                <c:pt idx="208">
                  <c:v>44039</c:v>
                </c:pt>
                <c:pt idx="209">
                  <c:v>44040</c:v>
                </c:pt>
                <c:pt idx="210">
                  <c:v>44041</c:v>
                </c:pt>
                <c:pt idx="211">
                  <c:v>44042</c:v>
                </c:pt>
                <c:pt idx="212">
                  <c:v>44043</c:v>
                </c:pt>
                <c:pt idx="213">
                  <c:v>44044</c:v>
                </c:pt>
                <c:pt idx="214">
                  <c:v>44045</c:v>
                </c:pt>
                <c:pt idx="215">
                  <c:v>44046</c:v>
                </c:pt>
                <c:pt idx="216">
                  <c:v>44047</c:v>
                </c:pt>
                <c:pt idx="217">
                  <c:v>44048</c:v>
                </c:pt>
                <c:pt idx="218">
                  <c:v>44049</c:v>
                </c:pt>
                <c:pt idx="219">
                  <c:v>44050</c:v>
                </c:pt>
                <c:pt idx="220">
                  <c:v>44051</c:v>
                </c:pt>
                <c:pt idx="221">
                  <c:v>44052</c:v>
                </c:pt>
                <c:pt idx="222">
                  <c:v>44053</c:v>
                </c:pt>
                <c:pt idx="223">
                  <c:v>44054</c:v>
                </c:pt>
                <c:pt idx="224">
                  <c:v>44055</c:v>
                </c:pt>
                <c:pt idx="225">
                  <c:v>44056</c:v>
                </c:pt>
                <c:pt idx="226">
                  <c:v>44057</c:v>
                </c:pt>
                <c:pt idx="227">
                  <c:v>44058</c:v>
                </c:pt>
                <c:pt idx="228">
                  <c:v>44059</c:v>
                </c:pt>
                <c:pt idx="229">
                  <c:v>44060</c:v>
                </c:pt>
                <c:pt idx="230">
                  <c:v>44061</c:v>
                </c:pt>
                <c:pt idx="231">
                  <c:v>44062</c:v>
                </c:pt>
                <c:pt idx="232">
                  <c:v>44063</c:v>
                </c:pt>
                <c:pt idx="233">
                  <c:v>44064</c:v>
                </c:pt>
                <c:pt idx="234">
                  <c:v>44065</c:v>
                </c:pt>
                <c:pt idx="235">
                  <c:v>44066</c:v>
                </c:pt>
                <c:pt idx="236">
                  <c:v>44067</c:v>
                </c:pt>
                <c:pt idx="237">
                  <c:v>44068</c:v>
                </c:pt>
                <c:pt idx="238">
                  <c:v>44069</c:v>
                </c:pt>
                <c:pt idx="239">
                  <c:v>44070</c:v>
                </c:pt>
                <c:pt idx="240">
                  <c:v>44071</c:v>
                </c:pt>
                <c:pt idx="241">
                  <c:v>44072</c:v>
                </c:pt>
                <c:pt idx="242">
                  <c:v>44073</c:v>
                </c:pt>
                <c:pt idx="243">
                  <c:v>44074</c:v>
                </c:pt>
                <c:pt idx="244">
                  <c:v>44075</c:v>
                </c:pt>
                <c:pt idx="245">
                  <c:v>44076</c:v>
                </c:pt>
                <c:pt idx="246">
                  <c:v>44077</c:v>
                </c:pt>
                <c:pt idx="247">
                  <c:v>44078</c:v>
                </c:pt>
                <c:pt idx="248">
                  <c:v>44079</c:v>
                </c:pt>
                <c:pt idx="249">
                  <c:v>44080</c:v>
                </c:pt>
                <c:pt idx="250">
                  <c:v>44081</c:v>
                </c:pt>
                <c:pt idx="251">
                  <c:v>44082</c:v>
                </c:pt>
                <c:pt idx="252">
                  <c:v>44083</c:v>
                </c:pt>
                <c:pt idx="253">
                  <c:v>44084</c:v>
                </c:pt>
                <c:pt idx="254">
                  <c:v>44085</c:v>
                </c:pt>
                <c:pt idx="255">
                  <c:v>44086</c:v>
                </c:pt>
                <c:pt idx="256">
                  <c:v>44087</c:v>
                </c:pt>
                <c:pt idx="257">
                  <c:v>44088</c:v>
                </c:pt>
                <c:pt idx="258">
                  <c:v>44089</c:v>
                </c:pt>
                <c:pt idx="259">
                  <c:v>44090</c:v>
                </c:pt>
                <c:pt idx="260">
                  <c:v>44091</c:v>
                </c:pt>
                <c:pt idx="261">
                  <c:v>44092</c:v>
                </c:pt>
                <c:pt idx="262">
                  <c:v>44093</c:v>
                </c:pt>
                <c:pt idx="263">
                  <c:v>44094</c:v>
                </c:pt>
                <c:pt idx="264">
                  <c:v>44095</c:v>
                </c:pt>
                <c:pt idx="265">
                  <c:v>44096</c:v>
                </c:pt>
                <c:pt idx="266">
                  <c:v>44097</c:v>
                </c:pt>
                <c:pt idx="267">
                  <c:v>44098</c:v>
                </c:pt>
                <c:pt idx="268">
                  <c:v>44099</c:v>
                </c:pt>
                <c:pt idx="269">
                  <c:v>44100</c:v>
                </c:pt>
                <c:pt idx="270">
                  <c:v>44101</c:v>
                </c:pt>
                <c:pt idx="271">
                  <c:v>44102</c:v>
                </c:pt>
                <c:pt idx="272">
                  <c:v>44103</c:v>
                </c:pt>
                <c:pt idx="273">
                  <c:v>44104</c:v>
                </c:pt>
                <c:pt idx="274">
                  <c:v>44105</c:v>
                </c:pt>
                <c:pt idx="275">
                  <c:v>44106</c:v>
                </c:pt>
                <c:pt idx="276">
                  <c:v>44107</c:v>
                </c:pt>
                <c:pt idx="277">
                  <c:v>44108</c:v>
                </c:pt>
                <c:pt idx="278">
                  <c:v>44109</c:v>
                </c:pt>
                <c:pt idx="279">
                  <c:v>44110</c:v>
                </c:pt>
                <c:pt idx="280">
                  <c:v>44111</c:v>
                </c:pt>
                <c:pt idx="281">
                  <c:v>44112</c:v>
                </c:pt>
                <c:pt idx="282">
                  <c:v>44113</c:v>
                </c:pt>
                <c:pt idx="283">
                  <c:v>44114</c:v>
                </c:pt>
                <c:pt idx="284">
                  <c:v>44115</c:v>
                </c:pt>
                <c:pt idx="285">
                  <c:v>44116</c:v>
                </c:pt>
                <c:pt idx="286">
                  <c:v>44117</c:v>
                </c:pt>
                <c:pt idx="287">
                  <c:v>44118</c:v>
                </c:pt>
                <c:pt idx="288">
                  <c:v>44119</c:v>
                </c:pt>
                <c:pt idx="289">
                  <c:v>44120</c:v>
                </c:pt>
                <c:pt idx="290">
                  <c:v>44121</c:v>
                </c:pt>
                <c:pt idx="291">
                  <c:v>44122</c:v>
                </c:pt>
                <c:pt idx="292">
                  <c:v>44123</c:v>
                </c:pt>
                <c:pt idx="293">
                  <c:v>44124</c:v>
                </c:pt>
                <c:pt idx="294">
                  <c:v>44125</c:v>
                </c:pt>
                <c:pt idx="295">
                  <c:v>44126</c:v>
                </c:pt>
                <c:pt idx="296">
                  <c:v>44127</c:v>
                </c:pt>
                <c:pt idx="297">
                  <c:v>44128</c:v>
                </c:pt>
                <c:pt idx="298">
                  <c:v>44129</c:v>
                </c:pt>
                <c:pt idx="299">
                  <c:v>44130</c:v>
                </c:pt>
                <c:pt idx="300">
                  <c:v>44131</c:v>
                </c:pt>
                <c:pt idx="301">
                  <c:v>44132</c:v>
                </c:pt>
                <c:pt idx="302">
                  <c:v>44133</c:v>
                </c:pt>
                <c:pt idx="303">
                  <c:v>44134</c:v>
                </c:pt>
                <c:pt idx="304">
                  <c:v>44135</c:v>
                </c:pt>
                <c:pt idx="305">
                  <c:v>44136</c:v>
                </c:pt>
                <c:pt idx="306">
                  <c:v>44137</c:v>
                </c:pt>
                <c:pt idx="307">
                  <c:v>44138</c:v>
                </c:pt>
                <c:pt idx="308">
                  <c:v>44139</c:v>
                </c:pt>
                <c:pt idx="309">
                  <c:v>44140</c:v>
                </c:pt>
                <c:pt idx="310">
                  <c:v>44141</c:v>
                </c:pt>
                <c:pt idx="311">
                  <c:v>44142</c:v>
                </c:pt>
                <c:pt idx="312">
                  <c:v>44143</c:v>
                </c:pt>
                <c:pt idx="313">
                  <c:v>44144</c:v>
                </c:pt>
                <c:pt idx="314">
                  <c:v>44145</c:v>
                </c:pt>
                <c:pt idx="315">
                  <c:v>44146</c:v>
                </c:pt>
                <c:pt idx="316">
                  <c:v>44147</c:v>
                </c:pt>
                <c:pt idx="317">
                  <c:v>44148</c:v>
                </c:pt>
                <c:pt idx="318">
                  <c:v>44149</c:v>
                </c:pt>
                <c:pt idx="319">
                  <c:v>44150</c:v>
                </c:pt>
                <c:pt idx="320">
                  <c:v>44151</c:v>
                </c:pt>
                <c:pt idx="321">
                  <c:v>44152</c:v>
                </c:pt>
                <c:pt idx="322">
                  <c:v>44153</c:v>
                </c:pt>
                <c:pt idx="323">
                  <c:v>44154</c:v>
                </c:pt>
                <c:pt idx="324">
                  <c:v>44155</c:v>
                </c:pt>
                <c:pt idx="325">
                  <c:v>44156</c:v>
                </c:pt>
                <c:pt idx="326">
                  <c:v>44157</c:v>
                </c:pt>
                <c:pt idx="327">
                  <c:v>44158</c:v>
                </c:pt>
                <c:pt idx="328">
                  <c:v>44159</c:v>
                </c:pt>
                <c:pt idx="329">
                  <c:v>44160</c:v>
                </c:pt>
                <c:pt idx="330">
                  <c:v>44161</c:v>
                </c:pt>
                <c:pt idx="331">
                  <c:v>44162</c:v>
                </c:pt>
                <c:pt idx="332">
                  <c:v>44163</c:v>
                </c:pt>
                <c:pt idx="333">
                  <c:v>44164</c:v>
                </c:pt>
                <c:pt idx="334">
                  <c:v>44165</c:v>
                </c:pt>
                <c:pt idx="335">
                  <c:v>44166</c:v>
                </c:pt>
                <c:pt idx="336">
                  <c:v>44167</c:v>
                </c:pt>
                <c:pt idx="337">
                  <c:v>44168</c:v>
                </c:pt>
                <c:pt idx="338">
                  <c:v>44169</c:v>
                </c:pt>
                <c:pt idx="339">
                  <c:v>44170</c:v>
                </c:pt>
                <c:pt idx="340">
                  <c:v>44171</c:v>
                </c:pt>
                <c:pt idx="341">
                  <c:v>44172</c:v>
                </c:pt>
                <c:pt idx="342">
                  <c:v>44173</c:v>
                </c:pt>
                <c:pt idx="343">
                  <c:v>44174</c:v>
                </c:pt>
                <c:pt idx="344">
                  <c:v>44175</c:v>
                </c:pt>
                <c:pt idx="345">
                  <c:v>44176</c:v>
                </c:pt>
                <c:pt idx="346">
                  <c:v>44177</c:v>
                </c:pt>
                <c:pt idx="347">
                  <c:v>44178</c:v>
                </c:pt>
                <c:pt idx="348">
                  <c:v>44179</c:v>
                </c:pt>
                <c:pt idx="349">
                  <c:v>44180</c:v>
                </c:pt>
                <c:pt idx="350">
                  <c:v>44181</c:v>
                </c:pt>
                <c:pt idx="351">
                  <c:v>44182</c:v>
                </c:pt>
                <c:pt idx="352">
                  <c:v>44183</c:v>
                </c:pt>
                <c:pt idx="353">
                  <c:v>44184</c:v>
                </c:pt>
                <c:pt idx="354">
                  <c:v>44185</c:v>
                </c:pt>
                <c:pt idx="355">
                  <c:v>44186</c:v>
                </c:pt>
                <c:pt idx="356">
                  <c:v>44187</c:v>
                </c:pt>
                <c:pt idx="357">
                  <c:v>44188</c:v>
                </c:pt>
                <c:pt idx="358">
                  <c:v>44189</c:v>
                </c:pt>
                <c:pt idx="359">
                  <c:v>44190</c:v>
                </c:pt>
                <c:pt idx="360">
                  <c:v>44191</c:v>
                </c:pt>
                <c:pt idx="361">
                  <c:v>44192</c:v>
                </c:pt>
                <c:pt idx="362">
                  <c:v>44193</c:v>
                </c:pt>
                <c:pt idx="363">
                  <c:v>44194</c:v>
                </c:pt>
                <c:pt idx="364">
                  <c:v>44195</c:v>
                </c:pt>
                <c:pt idx="365">
                  <c:v>44196</c:v>
                </c:pt>
                <c:pt idx="366">
                  <c:v>44197</c:v>
                </c:pt>
                <c:pt idx="367">
                  <c:v>44198</c:v>
                </c:pt>
                <c:pt idx="368">
                  <c:v>44199</c:v>
                </c:pt>
                <c:pt idx="369">
                  <c:v>44200</c:v>
                </c:pt>
                <c:pt idx="370">
                  <c:v>44201</c:v>
                </c:pt>
                <c:pt idx="371">
                  <c:v>44202</c:v>
                </c:pt>
                <c:pt idx="372">
                  <c:v>44203</c:v>
                </c:pt>
                <c:pt idx="373">
                  <c:v>44204</c:v>
                </c:pt>
                <c:pt idx="374">
                  <c:v>44205</c:v>
                </c:pt>
                <c:pt idx="375">
                  <c:v>44206</c:v>
                </c:pt>
                <c:pt idx="376">
                  <c:v>44207</c:v>
                </c:pt>
                <c:pt idx="377">
                  <c:v>44208</c:v>
                </c:pt>
                <c:pt idx="378">
                  <c:v>44209</c:v>
                </c:pt>
                <c:pt idx="379">
                  <c:v>44210</c:v>
                </c:pt>
                <c:pt idx="380">
                  <c:v>44211</c:v>
                </c:pt>
                <c:pt idx="381">
                  <c:v>44212</c:v>
                </c:pt>
                <c:pt idx="382">
                  <c:v>44213</c:v>
                </c:pt>
                <c:pt idx="383">
                  <c:v>44214</c:v>
                </c:pt>
                <c:pt idx="384">
                  <c:v>44215</c:v>
                </c:pt>
                <c:pt idx="385">
                  <c:v>44216</c:v>
                </c:pt>
                <c:pt idx="386">
                  <c:v>44217</c:v>
                </c:pt>
                <c:pt idx="387">
                  <c:v>44218</c:v>
                </c:pt>
                <c:pt idx="388">
                  <c:v>44219</c:v>
                </c:pt>
                <c:pt idx="389">
                  <c:v>44220</c:v>
                </c:pt>
                <c:pt idx="390">
                  <c:v>44221</c:v>
                </c:pt>
                <c:pt idx="391">
                  <c:v>44222</c:v>
                </c:pt>
                <c:pt idx="392">
                  <c:v>44223</c:v>
                </c:pt>
                <c:pt idx="393">
                  <c:v>44224</c:v>
                </c:pt>
                <c:pt idx="394">
                  <c:v>44225</c:v>
                </c:pt>
                <c:pt idx="395">
                  <c:v>44226</c:v>
                </c:pt>
                <c:pt idx="396">
                  <c:v>44227</c:v>
                </c:pt>
                <c:pt idx="397">
                  <c:v>44228</c:v>
                </c:pt>
                <c:pt idx="398">
                  <c:v>44229</c:v>
                </c:pt>
                <c:pt idx="399">
                  <c:v>44230</c:v>
                </c:pt>
                <c:pt idx="400">
                  <c:v>44231</c:v>
                </c:pt>
                <c:pt idx="401">
                  <c:v>44232</c:v>
                </c:pt>
                <c:pt idx="402">
                  <c:v>44233</c:v>
                </c:pt>
                <c:pt idx="403">
                  <c:v>44234</c:v>
                </c:pt>
                <c:pt idx="404">
                  <c:v>44235</c:v>
                </c:pt>
                <c:pt idx="405">
                  <c:v>44236</c:v>
                </c:pt>
                <c:pt idx="406">
                  <c:v>44237</c:v>
                </c:pt>
                <c:pt idx="407">
                  <c:v>44238</c:v>
                </c:pt>
                <c:pt idx="408">
                  <c:v>44239</c:v>
                </c:pt>
                <c:pt idx="409">
                  <c:v>44240</c:v>
                </c:pt>
                <c:pt idx="410">
                  <c:v>44241</c:v>
                </c:pt>
                <c:pt idx="411">
                  <c:v>44242</c:v>
                </c:pt>
                <c:pt idx="412">
                  <c:v>44243</c:v>
                </c:pt>
                <c:pt idx="413">
                  <c:v>44244</c:v>
                </c:pt>
                <c:pt idx="414">
                  <c:v>44245</c:v>
                </c:pt>
                <c:pt idx="415">
                  <c:v>44246</c:v>
                </c:pt>
                <c:pt idx="416">
                  <c:v>44247</c:v>
                </c:pt>
                <c:pt idx="417">
                  <c:v>44248</c:v>
                </c:pt>
                <c:pt idx="418">
                  <c:v>44249</c:v>
                </c:pt>
                <c:pt idx="419">
                  <c:v>44250</c:v>
                </c:pt>
                <c:pt idx="420">
                  <c:v>44251</c:v>
                </c:pt>
                <c:pt idx="421">
                  <c:v>44252</c:v>
                </c:pt>
                <c:pt idx="422">
                  <c:v>44253</c:v>
                </c:pt>
                <c:pt idx="423">
                  <c:v>44254</c:v>
                </c:pt>
                <c:pt idx="424">
                  <c:v>44255</c:v>
                </c:pt>
                <c:pt idx="425">
                  <c:v>44256</c:v>
                </c:pt>
                <c:pt idx="426">
                  <c:v>44257</c:v>
                </c:pt>
                <c:pt idx="427">
                  <c:v>44258</c:v>
                </c:pt>
                <c:pt idx="428">
                  <c:v>44259</c:v>
                </c:pt>
                <c:pt idx="429">
                  <c:v>44260</c:v>
                </c:pt>
                <c:pt idx="430">
                  <c:v>44261</c:v>
                </c:pt>
                <c:pt idx="431">
                  <c:v>44262</c:v>
                </c:pt>
                <c:pt idx="432">
                  <c:v>44263</c:v>
                </c:pt>
                <c:pt idx="433">
                  <c:v>44264</c:v>
                </c:pt>
                <c:pt idx="434">
                  <c:v>44265</c:v>
                </c:pt>
                <c:pt idx="435">
                  <c:v>44266</c:v>
                </c:pt>
                <c:pt idx="436">
                  <c:v>44267</c:v>
                </c:pt>
                <c:pt idx="437">
                  <c:v>44268</c:v>
                </c:pt>
                <c:pt idx="438">
                  <c:v>44269</c:v>
                </c:pt>
                <c:pt idx="439">
                  <c:v>44270</c:v>
                </c:pt>
                <c:pt idx="440">
                  <c:v>44271</c:v>
                </c:pt>
                <c:pt idx="441">
                  <c:v>44272</c:v>
                </c:pt>
                <c:pt idx="442">
                  <c:v>44273</c:v>
                </c:pt>
                <c:pt idx="443">
                  <c:v>44274</c:v>
                </c:pt>
                <c:pt idx="444">
                  <c:v>44275</c:v>
                </c:pt>
                <c:pt idx="445">
                  <c:v>44276</c:v>
                </c:pt>
                <c:pt idx="446">
                  <c:v>44277</c:v>
                </c:pt>
                <c:pt idx="447">
                  <c:v>44278</c:v>
                </c:pt>
                <c:pt idx="448">
                  <c:v>44279</c:v>
                </c:pt>
                <c:pt idx="449">
                  <c:v>44280</c:v>
                </c:pt>
                <c:pt idx="450">
                  <c:v>44281</c:v>
                </c:pt>
                <c:pt idx="451">
                  <c:v>44282</c:v>
                </c:pt>
                <c:pt idx="452">
                  <c:v>44283</c:v>
                </c:pt>
                <c:pt idx="453">
                  <c:v>44284</c:v>
                </c:pt>
                <c:pt idx="454">
                  <c:v>44285</c:v>
                </c:pt>
                <c:pt idx="455">
                  <c:v>44286</c:v>
                </c:pt>
                <c:pt idx="456">
                  <c:v>44287</c:v>
                </c:pt>
                <c:pt idx="457">
                  <c:v>44288</c:v>
                </c:pt>
                <c:pt idx="458">
                  <c:v>44289</c:v>
                </c:pt>
                <c:pt idx="459">
                  <c:v>44290</c:v>
                </c:pt>
                <c:pt idx="460">
                  <c:v>44291</c:v>
                </c:pt>
                <c:pt idx="461">
                  <c:v>44292</c:v>
                </c:pt>
                <c:pt idx="462">
                  <c:v>44293</c:v>
                </c:pt>
                <c:pt idx="463">
                  <c:v>44294</c:v>
                </c:pt>
                <c:pt idx="464">
                  <c:v>44295</c:v>
                </c:pt>
                <c:pt idx="465">
                  <c:v>44296</c:v>
                </c:pt>
                <c:pt idx="466">
                  <c:v>44297</c:v>
                </c:pt>
                <c:pt idx="467">
                  <c:v>44298</c:v>
                </c:pt>
                <c:pt idx="468">
                  <c:v>44299</c:v>
                </c:pt>
                <c:pt idx="469">
                  <c:v>44300</c:v>
                </c:pt>
                <c:pt idx="470">
                  <c:v>44301</c:v>
                </c:pt>
                <c:pt idx="471">
                  <c:v>44302</c:v>
                </c:pt>
                <c:pt idx="472">
                  <c:v>44303</c:v>
                </c:pt>
                <c:pt idx="473">
                  <c:v>44304</c:v>
                </c:pt>
                <c:pt idx="474">
                  <c:v>44305</c:v>
                </c:pt>
                <c:pt idx="475">
                  <c:v>44306</c:v>
                </c:pt>
                <c:pt idx="476">
                  <c:v>44307</c:v>
                </c:pt>
                <c:pt idx="477">
                  <c:v>44308</c:v>
                </c:pt>
                <c:pt idx="478">
                  <c:v>44309</c:v>
                </c:pt>
                <c:pt idx="479">
                  <c:v>44310</c:v>
                </c:pt>
                <c:pt idx="480">
                  <c:v>44311</c:v>
                </c:pt>
                <c:pt idx="481">
                  <c:v>44312</c:v>
                </c:pt>
                <c:pt idx="482">
                  <c:v>44313</c:v>
                </c:pt>
                <c:pt idx="483">
                  <c:v>44314</c:v>
                </c:pt>
                <c:pt idx="484">
                  <c:v>44315</c:v>
                </c:pt>
                <c:pt idx="485">
                  <c:v>44316</c:v>
                </c:pt>
                <c:pt idx="486">
                  <c:v>44317</c:v>
                </c:pt>
                <c:pt idx="487">
                  <c:v>44318</c:v>
                </c:pt>
                <c:pt idx="488">
                  <c:v>44319</c:v>
                </c:pt>
                <c:pt idx="489">
                  <c:v>44320</c:v>
                </c:pt>
                <c:pt idx="490">
                  <c:v>44321</c:v>
                </c:pt>
                <c:pt idx="491">
                  <c:v>44322</c:v>
                </c:pt>
                <c:pt idx="492">
                  <c:v>44323</c:v>
                </c:pt>
                <c:pt idx="493">
                  <c:v>44324</c:v>
                </c:pt>
                <c:pt idx="494">
                  <c:v>44325</c:v>
                </c:pt>
                <c:pt idx="495">
                  <c:v>44326</c:v>
                </c:pt>
                <c:pt idx="496">
                  <c:v>44327</c:v>
                </c:pt>
                <c:pt idx="497">
                  <c:v>44328</c:v>
                </c:pt>
                <c:pt idx="498">
                  <c:v>44329</c:v>
                </c:pt>
                <c:pt idx="499">
                  <c:v>44330</c:v>
                </c:pt>
                <c:pt idx="500">
                  <c:v>44331</c:v>
                </c:pt>
                <c:pt idx="501">
                  <c:v>44332</c:v>
                </c:pt>
                <c:pt idx="502">
                  <c:v>44333</c:v>
                </c:pt>
                <c:pt idx="503">
                  <c:v>44334</c:v>
                </c:pt>
                <c:pt idx="504">
                  <c:v>44335</c:v>
                </c:pt>
                <c:pt idx="505">
                  <c:v>44336</c:v>
                </c:pt>
                <c:pt idx="506">
                  <c:v>44337</c:v>
                </c:pt>
                <c:pt idx="507">
                  <c:v>44338</c:v>
                </c:pt>
                <c:pt idx="508">
                  <c:v>44339</c:v>
                </c:pt>
                <c:pt idx="509">
                  <c:v>44340</c:v>
                </c:pt>
                <c:pt idx="510">
                  <c:v>44341</c:v>
                </c:pt>
                <c:pt idx="511">
                  <c:v>44342</c:v>
                </c:pt>
                <c:pt idx="512">
                  <c:v>44343</c:v>
                </c:pt>
                <c:pt idx="513">
                  <c:v>44344</c:v>
                </c:pt>
                <c:pt idx="514">
                  <c:v>44345</c:v>
                </c:pt>
                <c:pt idx="515">
                  <c:v>44346</c:v>
                </c:pt>
                <c:pt idx="516">
                  <c:v>44347</c:v>
                </c:pt>
                <c:pt idx="517">
                  <c:v>44348</c:v>
                </c:pt>
                <c:pt idx="518">
                  <c:v>44349</c:v>
                </c:pt>
                <c:pt idx="519">
                  <c:v>44350</c:v>
                </c:pt>
                <c:pt idx="520">
                  <c:v>44351</c:v>
                </c:pt>
                <c:pt idx="521">
                  <c:v>44352</c:v>
                </c:pt>
                <c:pt idx="522">
                  <c:v>44353</c:v>
                </c:pt>
                <c:pt idx="523">
                  <c:v>44354</c:v>
                </c:pt>
                <c:pt idx="524">
                  <c:v>44355</c:v>
                </c:pt>
                <c:pt idx="525">
                  <c:v>44356</c:v>
                </c:pt>
                <c:pt idx="526">
                  <c:v>44357</c:v>
                </c:pt>
                <c:pt idx="527">
                  <c:v>44358</c:v>
                </c:pt>
                <c:pt idx="528">
                  <c:v>44359</c:v>
                </c:pt>
                <c:pt idx="529">
                  <c:v>44360</c:v>
                </c:pt>
                <c:pt idx="530">
                  <c:v>44361</c:v>
                </c:pt>
                <c:pt idx="531">
                  <c:v>44362</c:v>
                </c:pt>
                <c:pt idx="532">
                  <c:v>44363</c:v>
                </c:pt>
                <c:pt idx="533">
                  <c:v>44364</c:v>
                </c:pt>
                <c:pt idx="534">
                  <c:v>44365</c:v>
                </c:pt>
                <c:pt idx="535">
                  <c:v>44366</c:v>
                </c:pt>
                <c:pt idx="536">
                  <c:v>44367</c:v>
                </c:pt>
                <c:pt idx="537">
                  <c:v>44368</c:v>
                </c:pt>
                <c:pt idx="538">
                  <c:v>44369</c:v>
                </c:pt>
                <c:pt idx="539">
                  <c:v>44370</c:v>
                </c:pt>
                <c:pt idx="540">
                  <c:v>44371</c:v>
                </c:pt>
                <c:pt idx="541">
                  <c:v>44372</c:v>
                </c:pt>
                <c:pt idx="542">
                  <c:v>44373</c:v>
                </c:pt>
                <c:pt idx="543">
                  <c:v>44374</c:v>
                </c:pt>
                <c:pt idx="544">
                  <c:v>44375</c:v>
                </c:pt>
                <c:pt idx="545">
                  <c:v>44376</c:v>
                </c:pt>
                <c:pt idx="546">
                  <c:v>44377</c:v>
                </c:pt>
                <c:pt idx="547">
                  <c:v>44378</c:v>
                </c:pt>
                <c:pt idx="548">
                  <c:v>44379</c:v>
                </c:pt>
                <c:pt idx="549">
                  <c:v>44380</c:v>
                </c:pt>
                <c:pt idx="550">
                  <c:v>44381</c:v>
                </c:pt>
                <c:pt idx="551">
                  <c:v>44382</c:v>
                </c:pt>
                <c:pt idx="552">
                  <c:v>44383</c:v>
                </c:pt>
                <c:pt idx="553">
                  <c:v>44384</c:v>
                </c:pt>
                <c:pt idx="554">
                  <c:v>44385</c:v>
                </c:pt>
                <c:pt idx="555">
                  <c:v>44386</c:v>
                </c:pt>
                <c:pt idx="556">
                  <c:v>44387</c:v>
                </c:pt>
                <c:pt idx="557">
                  <c:v>44388</c:v>
                </c:pt>
                <c:pt idx="558">
                  <c:v>44389</c:v>
                </c:pt>
                <c:pt idx="559">
                  <c:v>44390</c:v>
                </c:pt>
                <c:pt idx="560">
                  <c:v>44391</c:v>
                </c:pt>
                <c:pt idx="561">
                  <c:v>44392</c:v>
                </c:pt>
                <c:pt idx="562">
                  <c:v>44393</c:v>
                </c:pt>
                <c:pt idx="563">
                  <c:v>44394</c:v>
                </c:pt>
                <c:pt idx="564">
                  <c:v>44395</c:v>
                </c:pt>
                <c:pt idx="565">
                  <c:v>44396</c:v>
                </c:pt>
                <c:pt idx="566">
                  <c:v>44397</c:v>
                </c:pt>
                <c:pt idx="567">
                  <c:v>44398</c:v>
                </c:pt>
                <c:pt idx="568">
                  <c:v>44399</c:v>
                </c:pt>
                <c:pt idx="569">
                  <c:v>44400</c:v>
                </c:pt>
                <c:pt idx="570">
                  <c:v>44401</c:v>
                </c:pt>
                <c:pt idx="571">
                  <c:v>44402</c:v>
                </c:pt>
                <c:pt idx="572">
                  <c:v>44403</c:v>
                </c:pt>
                <c:pt idx="573">
                  <c:v>44404</c:v>
                </c:pt>
                <c:pt idx="574">
                  <c:v>44405</c:v>
                </c:pt>
                <c:pt idx="575">
                  <c:v>44406</c:v>
                </c:pt>
                <c:pt idx="576">
                  <c:v>44407</c:v>
                </c:pt>
                <c:pt idx="577">
                  <c:v>44408</c:v>
                </c:pt>
                <c:pt idx="578">
                  <c:v>44409</c:v>
                </c:pt>
                <c:pt idx="579">
                  <c:v>44410</c:v>
                </c:pt>
                <c:pt idx="580">
                  <c:v>44411</c:v>
                </c:pt>
                <c:pt idx="581">
                  <c:v>44412</c:v>
                </c:pt>
                <c:pt idx="582">
                  <c:v>44413</c:v>
                </c:pt>
                <c:pt idx="583">
                  <c:v>44414</c:v>
                </c:pt>
                <c:pt idx="584">
                  <c:v>44415</c:v>
                </c:pt>
                <c:pt idx="585">
                  <c:v>44416</c:v>
                </c:pt>
                <c:pt idx="586">
                  <c:v>44417</c:v>
                </c:pt>
                <c:pt idx="587">
                  <c:v>44418</c:v>
                </c:pt>
                <c:pt idx="588">
                  <c:v>44419</c:v>
                </c:pt>
                <c:pt idx="589">
                  <c:v>44420</c:v>
                </c:pt>
                <c:pt idx="590">
                  <c:v>44421</c:v>
                </c:pt>
                <c:pt idx="591">
                  <c:v>44422</c:v>
                </c:pt>
                <c:pt idx="592">
                  <c:v>44423</c:v>
                </c:pt>
                <c:pt idx="593">
                  <c:v>44424</c:v>
                </c:pt>
                <c:pt idx="594">
                  <c:v>44425</c:v>
                </c:pt>
                <c:pt idx="595">
                  <c:v>44426</c:v>
                </c:pt>
                <c:pt idx="596">
                  <c:v>44427</c:v>
                </c:pt>
                <c:pt idx="597">
                  <c:v>44428</c:v>
                </c:pt>
                <c:pt idx="598">
                  <c:v>44429</c:v>
                </c:pt>
                <c:pt idx="599">
                  <c:v>44430</c:v>
                </c:pt>
                <c:pt idx="600">
                  <c:v>44431</c:v>
                </c:pt>
                <c:pt idx="601">
                  <c:v>44432</c:v>
                </c:pt>
                <c:pt idx="602">
                  <c:v>44433</c:v>
                </c:pt>
                <c:pt idx="603">
                  <c:v>44434</c:v>
                </c:pt>
                <c:pt idx="604">
                  <c:v>44435</c:v>
                </c:pt>
                <c:pt idx="605">
                  <c:v>44436</c:v>
                </c:pt>
                <c:pt idx="606">
                  <c:v>44437</c:v>
                </c:pt>
                <c:pt idx="607">
                  <c:v>44438</c:v>
                </c:pt>
                <c:pt idx="608">
                  <c:v>44439</c:v>
                </c:pt>
                <c:pt idx="609">
                  <c:v>44440</c:v>
                </c:pt>
                <c:pt idx="610">
                  <c:v>44441</c:v>
                </c:pt>
                <c:pt idx="611">
                  <c:v>44442</c:v>
                </c:pt>
                <c:pt idx="612">
                  <c:v>44443</c:v>
                </c:pt>
                <c:pt idx="613">
                  <c:v>44444</c:v>
                </c:pt>
                <c:pt idx="614">
                  <c:v>44445</c:v>
                </c:pt>
                <c:pt idx="615">
                  <c:v>44446</c:v>
                </c:pt>
                <c:pt idx="616">
                  <c:v>44447</c:v>
                </c:pt>
                <c:pt idx="617">
                  <c:v>44448</c:v>
                </c:pt>
                <c:pt idx="618">
                  <c:v>44449</c:v>
                </c:pt>
                <c:pt idx="619">
                  <c:v>44450</c:v>
                </c:pt>
                <c:pt idx="620">
                  <c:v>44451</c:v>
                </c:pt>
                <c:pt idx="621">
                  <c:v>44452</c:v>
                </c:pt>
                <c:pt idx="622">
                  <c:v>44453</c:v>
                </c:pt>
                <c:pt idx="623">
                  <c:v>44454</c:v>
                </c:pt>
                <c:pt idx="624">
                  <c:v>44455</c:v>
                </c:pt>
                <c:pt idx="625">
                  <c:v>44456</c:v>
                </c:pt>
                <c:pt idx="626">
                  <c:v>44457</c:v>
                </c:pt>
                <c:pt idx="627">
                  <c:v>44458</c:v>
                </c:pt>
                <c:pt idx="628">
                  <c:v>44459</c:v>
                </c:pt>
                <c:pt idx="629">
                  <c:v>44460</c:v>
                </c:pt>
                <c:pt idx="630">
                  <c:v>44461</c:v>
                </c:pt>
                <c:pt idx="631">
                  <c:v>44462</c:v>
                </c:pt>
                <c:pt idx="632">
                  <c:v>44463</c:v>
                </c:pt>
                <c:pt idx="633">
                  <c:v>44464</c:v>
                </c:pt>
                <c:pt idx="634">
                  <c:v>44465</c:v>
                </c:pt>
                <c:pt idx="635">
                  <c:v>44466</c:v>
                </c:pt>
                <c:pt idx="636">
                  <c:v>44467</c:v>
                </c:pt>
                <c:pt idx="637">
                  <c:v>44468</c:v>
                </c:pt>
                <c:pt idx="638">
                  <c:v>44469</c:v>
                </c:pt>
                <c:pt idx="639">
                  <c:v>44470</c:v>
                </c:pt>
                <c:pt idx="640">
                  <c:v>44471</c:v>
                </c:pt>
                <c:pt idx="641">
                  <c:v>44472</c:v>
                </c:pt>
                <c:pt idx="642">
                  <c:v>44473</c:v>
                </c:pt>
                <c:pt idx="643">
                  <c:v>44474</c:v>
                </c:pt>
                <c:pt idx="644">
                  <c:v>44475</c:v>
                </c:pt>
                <c:pt idx="645">
                  <c:v>44476</c:v>
                </c:pt>
                <c:pt idx="646">
                  <c:v>44477</c:v>
                </c:pt>
                <c:pt idx="647">
                  <c:v>44478</c:v>
                </c:pt>
                <c:pt idx="648">
                  <c:v>44479</c:v>
                </c:pt>
                <c:pt idx="649">
                  <c:v>44480</c:v>
                </c:pt>
                <c:pt idx="650">
                  <c:v>44481</c:v>
                </c:pt>
                <c:pt idx="651">
                  <c:v>44482</c:v>
                </c:pt>
                <c:pt idx="652">
                  <c:v>44483</c:v>
                </c:pt>
                <c:pt idx="653">
                  <c:v>44484</c:v>
                </c:pt>
                <c:pt idx="654">
                  <c:v>44485</c:v>
                </c:pt>
                <c:pt idx="655">
                  <c:v>44486</c:v>
                </c:pt>
                <c:pt idx="656">
                  <c:v>44487</c:v>
                </c:pt>
                <c:pt idx="657">
                  <c:v>44488</c:v>
                </c:pt>
                <c:pt idx="658">
                  <c:v>44489</c:v>
                </c:pt>
                <c:pt idx="659">
                  <c:v>44490</c:v>
                </c:pt>
                <c:pt idx="660">
                  <c:v>44491</c:v>
                </c:pt>
                <c:pt idx="661">
                  <c:v>44492</c:v>
                </c:pt>
                <c:pt idx="662">
                  <c:v>44493</c:v>
                </c:pt>
                <c:pt idx="663">
                  <c:v>44494</c:v>
                </c:pt>
                <c:pt idx="664">
                  <c:v>44495</c:v>
                </c:pt>
                <c:pt idx="665">
                  <c:v>44496</c:v>
                </c:pt>
                <c:pt idx="666">
                  <c:v>44497</c:v>
                </c:pt>
                <c:pt idx="667">
                  <c:v>44498</c:v>
                </c:pt>
                <c:pt idx="668">
                  <c:v>44499</c:v>
                </c:pt>
                <c:pt idx="669">
                  <c:v>44500</c:v>
                </c:pt>
                <c:pt idx="670">
                  <c:v>44501</c:v>
                </c:pt>
                <c:pt idx="671">
                  <c:v>44502</c:v>
                </c:pt>
                <c:pt idx="672">
                  <c:v>44503</c:v>
                </c:pt>
                <c:pt idx="673">
                  <c:v>44504</c:v>
                </c:pt>
                <c:pt idx="674">
                  <c:v>44505</c:v>
                </c:pt>
                <c:pt idx="675">
                  <c:v>44506</c:v>
                </c:pt>
                <c:pt idx="676">
                  <c:v>44507</c:v>
                </c:pt>
                <c:pt idx="677">
                  <c:v>44508</c:v>
                </c:pt>
                <c:pt idx="678">
                  <c:v>44509</c:v>
                </c:pt>
                <c:pt idx="679">
                  <c:v>44510</c:v>
                </c:pt>
                <c:pt idx="680">
                  <c:v>44511</c:v>
                </c:pt>
                <c:pt idx="681">
                  <c:v>44512</c:v>
                </c:pt>
                <c:pt idx="682">
                  <c:v>44513</c:v>
                </c:pt>
                <c:pt idx="683">
                  <c:v>44514</c:v>
                </c:pt>
                <c:pt idx="684">
                  <c:v>44515</c:v>
                </c:pt>
                <c:pt idx="685">
                  <c:v>44516</c:v>
                </c:pt>
                <c:pt idx="686">
                  <c:v>44517</c:v>
                </c:pt>
                <c:pt idx="687">
                  <c:v>44518</c:v>
                </c:pt>
                <c:pt idx="688">
                  <c:v>44519</c:v>
                </c:pt>
                <c:pt idx="689">
                  <c:v>44520</c:v>
                </c:pt>
                <c:pt idx="690">
                  <c:v>44521</c:v>
                </c:pt>
                <c:pt idx="691">
                  <c:v>44522</c:v>
                </c:pt>
                <c:pt idx="692">
                  <c:v>44523</c:v>
                </c:pt>
                <c:pt idx="693">
                  <c:v>44524</c:v>
                </c:pt>
                <c:pt idx="694">
                  <c:v>44525</c:v>
                </c:pt>
                <c:pt idx="695">
                  <c:v>44526</c:v>
                </c:pt>
                <c:pt idx="696">
                  <c:v>44527</c:v>
                </c:pt>
                <c:pt idx="697">
                  <c:v>44528</c:v>
                </c:pt>
                <c:pt idx="698">
                  <c:v>44529</c:v>
                </c:pt>
                <c:pt idx="699">
                  <c:v>44530</c:v>
                </c:pt>
                <c:pt idx="700">
                  <c:v>44531</c:v>
                </c:pt>
                <c:pt idx="701">
                  <c:v>44532</c:v>
                </c:pt>
                <c:pt idx="702">
                  <c:v>44533</c:v>
                </c:pt>
                <c:pt idx="703">
                  <c:v>44534</c:v>
                </c:pt>
                <c:pt idx="704">
                  <c:v>44535</c:v>
                </c:pt>
                <c:pt idx="705">
                  <c:v>44536</c:v>
                </c:pt>
                <c:pt idx="706">
                  <c:v>44537</c:v>
                </c:pt>
                <c:pt idx="707">
                  <c:v>44538</c:v>
                </c:pt>
                <c:pt idx="708">
                  <c:v>44539</c:v>
                </c:pt>
                <c:pt idx="709">
                  <c:v>44540</c:v>
                </c:pt>
                <c:pt idx="710">
                  <c:v>44541</c:v>
                </c:pt>
                <c:pt idx="711">
                  <c:v>44542</c:v>
                </c:pt>
                <c:pt idx="712">
                  <c:v>44543</c:v>
                </c:pt>
                <c:pt idx="713">
                  <c:v>44544</c:v>
                </c:pt>
                <c:pt idx="714">
                  <c:v>44545</c:v>
                </c:pt>
                <c:pt idx="715">
                  <c:v>44546</c:v>
                </c:pt>
                <c:pt idx="716">
                  <c:v>44547</c:v>
                </c:pt>
                <c:pt idx="717">
                  <c:v>44548</c:v>
                </c:pt>
                <c:pt idx="718">
                  <c:v>44549</c:v>
                </c:pt>
                <c:pt idx="719">
                  <c:v>44550</c:v>
                </c:pt>
                <c:pt idx="720">
                  <c:v>44551</c:v>
                </c:pt>
                <c:pt idx="721">
                  <c:v>44552</c:v>
                </c:pt>
                <c:pt idx="722">
                  <c:v>44553</c:v>
                </c:pt>
                <c:pt idx="723">
                  <c:v>44554</c:v>
                </c:pt>
                <c:pt idx="724">
                  <c:v>44555</c:v>
                </c:pt>
                <c:pt idx="725">
                  <c:v>44556</c:v>
                </c:pt>
                <c:pt idx="726">
                  <c:v>44557</c:v>
                </c:pt>
                <c:pt idx="727">
                  <c:v>44558</c:v>
                </c:pt>
                <c:pt idx="728">
                  <c:v>44559</c:v>
                </c:pt>
                <c:pt idx="729">
                  <c:v>44560</c:v>
                </c:pt>
                <c:pt idx="730">
                  <c:v>44561</c:v>
                </c:pt>
                <c:pt idx="731">
                  <c:v>44562</c:v>
                </c:pt>
                <c:pt idx="732">
                  <c:v>44563</c:v>
                </c:pt>
                <c:pt idx="733">
                  <c:v>44564</c:v>
                </c:pt>
                <c:pt idx="734">
                  <c:v>44565</c:v>
                </c:pt>
                <c:pt idx="735">
                  <c:v>44566</c:v>
                </c:pt>
                <c:pt idx="736">
                  <c:v>44567</c:v>
                </c:pt>
                <c:pt idx="737">
                  <c:v>44568</c:v>
                </c:pt>
                <c:pt idx="738">
                  <c:v>44569</c:v>
                </c:pt>
                <c:pt idx="739">
                  <c:v>44570</c:v>
                </c:pt>
                <c:pt idx="740">
                  <c:v>44571</c:v>
                </c:pt>
                <c:pt idx="741">
                  <c:v>44572</c:v>
                </c:pt>
                <c:pt idx="742">
                  <c:v>44573</c:v>
                </c:pt>
                <c:pt idx="743">
                  <c:v>44574</c:v>
                </c:pt>
                <c:pt idx="744">
                  <c:v>44575</c:v>
                </c:pt>
                <c:pt idx="745">
                  <c:v>44576</c:v>
                </c:pt>
                <c:pt idx="746">
                  <c:v>44577</c:v>
                </c:pt>
                <c:pt idx="747">
                  <c:v>44578</c:v>
                </c:pt>
                <c:pt idx="748">
                  <c:v>44579</c:v>
                </c:pt>
                <c:pt idx="749">
                  <c:v>44580</c:v>
                </c:pt>
                <c:pt idx="750">
                  <c:v>44581</c:v>
                </c:pt>
                <c:pt idx="751">
                  <c:v>44582</c:v>
                </c:pt>
                <c:pt idx="752">
                  <c:v>44583</c:v>
                </c:pt>
                <c:pt idx="753">
                  <c:v>44584</c:v>
                </c:pt>
                <c:pt idx="754">
                  <c:v>44585</c:v>
                </c:pt>
                <c:pt idx="755">
                  <c:v>44586</c:v>
                </c:pt>
                <c:pt idx="756">
                  <c:v>44587</c:v>
                </c:pt>
                <c:pt idx="757">
                  <c:v>44588</c:v>
                </c:pt>
                <c:pt idx="758">
                  <c:v>44589</c:v>
                </c:pt>
                <c:pt idx="759">
                  <c:v>44590</c:v>
                </c:pt>
                <c:pt idx="760">
                  <c:v>44591</c:v>
                </c:pt>
                <c:pt idx="761">
                  <c:v>44592</c:v>
                </c:pt>
                <c:pt idx="762">
                  <c:v>44593</c:v>
                </c:pt>
                <c:pt idx="763">
                  <c:v>44594</c:v>
                </c:pt>
                <c:pt idx="764">
                  <c:v>44595</c:v>
                </c:pt>
                <c:pt idx="765">
                  <c:v>44596</c:v>
                </c:pt>
                <c:pt idx="766">
                  <c:v>44597</c:v>
                </c:pt>
                <c:pt idx="767">
                  <c:v>44598</c:v>
                </c:pt>
                <c:pt idx="768">
                  <c:v>44599</c:v>
                </c:pt>
                <c:pt idx="769">
                  <c:v>44600</c:v>
                </c:pt>
                <c:pt idx="770">
                  <c:v>44601</c:v>
                </c:pt>
                <c:pt idx="771">
                  <c:v>44602</c:v>
                </c:pt>
                <c:pt idx="772">
                  <c:v>44603</c:v>
                </c:pt>
                <c:pt idx="773">
                  <c:v>44604</c:v>
                </c:pt>
                <c:pt idx="774">
                  <c:v>44605</c:v>
                </c:pt>
                <c:pt idx="775">
                  <c:v>44606</c:v>
                </c:pt>
                <c:pt idx="776">
                  <c:v>44607</c:v>
                </c:pt>
                <c:pt idx="777">
                  <c:v>44608</c:v>
                </c:pt>
                <c:pt idx="778">
                  <c:v>44609</c:v>
                </c:pt>
                <c:pt idx="779">
                  <c:v>44610</c:v>
                </c:pt>
                <c:pt idx="780">
                  <c:v>44611</c:v>
                </c:pt>
                <c:pt idx="781">
                  <c:v>44612</c:v>
                </c:pt>
                <c:pt idx="782">
                  <c:v>44613</c:v>
                </c:pt>
                <c:pt idx="783">
                  <c:v>44614</c:v>
                </c:pt>
                <c:pt idx="784">
                  <c:v>44615</c:v>
                </c:pt>
                <c:pt idx="785">
                  <c:v>44616</c:v>
                </c:pt>
                <c:pt idx="786">
                  <c:v>44617</c:v>
                </c:pt>
                <c:pt idx="787">
                  <c:v>44618</c:v>
                </c:pt>
                <c:pt idx="788">
                  <c:v>44619</c:v>
                </c:pt>
                <c:pt idx="789">
                  <c:v>44620</c:v>
                </c:pt>
                <c:pt idx="790">
                  <c:v>44621</c:v>
                </c:pt>
                <c:pt idx="791">
                  <c:v>44622</c:v>
                </c:pt>
                <c:pt idx="792">
                  <c:v>44623</c:v>
                </c:pt>
                <c:pt idx="793">
                  <c:v>44624</c:v>
                </c:pt>
                <c:pt idx="794">
                  <c:v>44625</c:v>
                </c:pt>
                <c:pt idx="795">
                  <c:v>44626</c:v>
                </c:pt>
                <c:pt idx="796">
                  <c:v>44627</c:v>
                </c:pt>
                <c:pt idx="797">
                  <c:v>44628</c:v>
                </c:pt>
                <c:pt idx="798">
                  <c:v>44629</c:v>
                </c:pt>
                <c:pt idx="799">
                  <c:v>44630</c:v>
                </c:pt>
                <c:pt idx="800">
                  <c:v>44631</c:v>
                </c:pt>
                <c:pt idx="801">
                  <c:v>44632</c:v>
                </c:pt>
                <c:pt idx="802">
                  <c:v>44633</c:v>
                </c:pt>
                <c:pt idx="803">
                  <c:v>44634</c:v>
                </c:pt>
                <c:pt idx="804">
                  <c:v>44635</c:v>
                </c:pt>
                <c:pt idx="805">
                  <c:v>44636</c:v>
                </c:pt>
                <c:pt idx="806">
                  <c:v>44637</c:v>
                </c:pt>
                <c:pt idx="807">
                  <c:v>44638</c:v>
                </c:pt>
                <c:pt idx="808">
                  <c:v>44639</c:v>
                </c:pt>
                <c:pt idx="809">
                  <c:v>44640</c:v>
                </c:pt>
                <c:pt idx="810">
                  <c:v>44641</c:v>
                </c:pt>
                <c:pt idx="811">
                  <c:v>44642</c:v>
                </c:pt>
                <c:pt idx="812">
                  <c:v>44643</c:v>
                </c:pt>
                <c:pt idx="813">
                  <c:v>44644</c:v>
                </c:pt>
                <c:pt idx="814">
                  <c:v>44645</c:v>
                </c:pt>
                <c:pt idx="815">
                  <c:v>44646</c:v>
                </c:pt>
                <c:pt idx="816">
                  <c:v>44647</c:v>
                </c:pt>
                <c:pt idx="817">
                  <c:v>44648</c:v>
                </c:pt>
                <c:pt idx="818">
                  <c:v>44649</c:v>
                </c:pt>
                <c:pt idx="819">
                  <c:v>44650</c:v>
                </c:pt>
                <c:pt idx="820">
                  <c:v>44651</c:v>
                </c:pt>
                <c:pt idx="821">
                  <c:v>44652</c:v>
                </c:pt>
                <c:pt idx="822">
                  <c:v>44653</c:v>
                </c:pt>
                <c:pt idx="823">
                  <c:v>44654</c:v>
                </c:pt>
                <c:pt idx="824">
                  <c:v>44655</c:v>
                </c:pt>
                <c:pt idx="825">
                  <c:v>44656</c:v>
                </c:pt>
                <c:pt idx="826">
                  <c:v>44657</c:v>
                </c:pt>
                <c:pt idx="827">
                  <c:v>44658</c:v>
                </c:pt>
                <c:pt idx="828">
                  <c:v>44659</c:v>
                </c:pt>
                <c:pt idx="829">
                  <c:v>44660</c:v>
                </c:pt>
                <c:pt idx="830">
                  <c:v>44661</c:v>
                </c:pt>
                <c:pt idx="831">
                  <c:v>44662</c:v>
                </c:pt>
                <c:pt idx="832">
                  <c:v>44663</c:v>
                </c:pt>
                <c:pt idx="833">
                  <c:v>44664</c:v>
                </c:pt>
                <c:pt idx="834">
                  <c:v>44665</c:v>
                </c:pt>
                <c:pt idx="835">
                  <c:v>44666</c:v>
                </c:pt>
                <c:pt idx="836">
                  <c:v>44667</c:v>
                </c:pt>
                <c:pt idx="837">
                  <c:v>44668</c:v>
                </c:pt>
                <c:pt idx="838">
                  <c:v>44669</c:v>
                </c:pt>
                <c:pt idx="839">
                  <c:v>44670</c:v>
                </c:pt>
                <c:pt idx="840">
                  <c:v>44671</c:v>
                </c:pt>
                <c:pt idx="841">
                  <c:v>44672</c:v>
                </c:pt>
                <c:pt idx="842">
                  <c:v>44673</c:v>
                </c:pt>
                <c:pt idx="843">
                  <c:v>44674</c:v>
                </c:pt>
                <c:pt idx="844">
                  <c:v>44675</c:v>
                </c:pt>
                <c:pt idx="845">
                  <c:v>44676</c:v>
                </c:pt>
                <c:pt idx="846">
                  <c:v>44677</c:v>
                </c:pt>
                <c:pt idx="847">
                  <c:v>44678</c:v>
                </c:pt>
                <c:pt idx="848">
                  <c:v>44679</c:v>
                </c:pt>
                <c:pt idx="849">
                  <c:v>44680</c:v>
                </c:pt>
                <c:pt idx="850">
                  <c:v>44681</c:v>
                </c:pt>
                <c:pt idx="851">
                  <c:v>44682</c:v>
                </c:pt>
                <c:pt idx="852">
                  <c:v>44683</c:v>
                </c:pt>
                <c:pt idx="853">
                  <c:v>44684</c:v>
                </c:pt>
                <c:pt idx="854">
                  <c:v>44685</c:v>
                </c:pt>
                <c:pt idx="855">
                  <c:v>44686</c:v>
                </c:pt>
                <c:pt idx="856">
                  <c:v>44687</c:v>
                </c:pt>
                <c:pt idx="857">
                  <c:v>44688</c:v>
                </c:pt>
                <c:pt idx="858">
                  <c:v>44689</c:v>
                </c:pt>
                <c:pt idx="859">
                  <c:v>44690</c:v>
                </c:pt>
                <c:pt idx="860">
                  <c:v>44691</c:v>
                </c:pt>
                <c:pt idx="861">
                  <c:v>44692</c:v>
                </c:pt>
                <c:pt idx="862">
                  <c:v>44693</c:v>
                </c:pt>
                <c:pt idx="863">
                  <c:v>44694</c:v>
                </c:pt>
                <c:pt idx="864">
                  <c:v>44695</c:v>
                </c:pt>
                <c:pt idx="865">
                  <c:v>44696</c:v>
                </c:pt>
                <c:pt idx="866">
                  <c:v>44697</c:v>
                </c:pt>
                <c:pt idx="867">
                  <c:v>44698</c:v>
                </c:pt>
                <c:pt idx="868">
                  <c:v>44699</c:v>
                </c:pt>
                <c:pt idx="869">
                  <c:v>44700</c:v>
                </c:pt>
                <c:pt idx="870">
                  <c:v>44701</c:v>
                </c:pt>
                <c:pt idx="871">
                  <c:v>44702</c:v>
                </c:pt>
                <c:pt idx="872">
                  <c:v>44703</c:v>
                </c:pt>
                <c:pt idx="873">
                  <c:v>44704</c:v>
                </c:pt>
                <c:pt idx="874">
                  <c:v>44705</c:v>
                </c:pt>
                <c:pt idx="875">
                  <c:v>44706</c:v>
                </c:pt>
                <c:pt idx="876">
                  <c:v>44707</c:v>
                </c:pt>
                <c:pt idx="877">
                  <c:v>44708</c:v>
                </c:pt>
                <c:pt idx="878">
                  <c:v>44709</c:v>
                </c:pt>
                <c:pt idx="879">
                  <c:v>44710</c:v>
                </c:pt>
                <c:pt idx="880">
                  <c:v>44711</c:v>
                </c:pt>
                <c:pt idx="881">
                  <c:v>44712</c:v>
                </c:pt>
                <c:pt idx="882">
                  <c:v>44713</c:v>
                </c:pt>
                <c:pt idx="883">
                  <c:v>44714</c:v>
                </c:pt>
                <c:pt idx="884">
                  <c:v>44715</c:v>
                </c:pt>
                <c:pt idx="885">
                  <c:v>44716</c:v>
                </c:pt>
                <c:pt idx="886">
                  <c:v>44717</c:v>
                </c:pt>
                <c:pt idx="887">
                  <c:v>44718</c:v>
                </c:pt>
                <c:pt idx="888">
                  <c:v>44719</c:v>
                </c:pt>
                <c:pt idx="889">
                  <c:v>44720</c:v>
                </c:pt>
                <c:pt idx="890">
                  <c:v>44721</c:v>
                </c:pt>
                <c:pt idx="891">
                  <c:v>44722</c:v>
                </c:pt>
                <c:pt idx="892">
                  <c:v>44723</c:v>
                </c:pt>
                <c:pt idx="893">
                  <c:v>44724</c:v>
                </c:pt>
                <c:pt idx="894">
                  <c:v>44725</c:v>
                </c:pt>
                <c:pt idx="895">
                  <c:v>44726</c:v>
                </c:pt>
                <c:pt idx="896">
                  <c:v>44727</c:v>
                </c:pt>
                <c:pt idx="897">
                  <c:v>44728</c:v>
                </c:pt>
                <c:pt idx="898">
                  <c:v>44729</c:v>
                </c:pt>
                <c:pt idx="899">
                  <c:v>44730</c:v>
                </c:pt>
                <c:pt idx="900">
                  <c:v>44731</c:v>
                </c:pt>
                <c:pt idx="901">
                  <c:v>44732</c:v>
                </c:pt>
                <c:pt idx="902">
                  <c:v>44733</c:v>
                </c:pt>
                <c:pt idx="903">
                  <c:v>44734</c:v>
                </c:pt>
                <c:pt idx="904">
                  <c:v>44735</c:v>
                </c:pt>
                <c:pt idx="905">
                  <c:v>44736</c:v>
                </c:pt>
                <c:pt idx="906">
                  <c:v>44737</c:v>
                </c:pt>
                <c:pt idx="907">
                  <c:v>44738</c:v>
                </c:pt>
                <c:pt idx="908">
                  <c:v>44739</c:v>
                </c:pt>
                <c:pt idx="909">
                  <c:v>44740</c:v>
                </c:pt>
                <c:pt idx="910">
                  <c:v>44741</c:v>
                </c:pt>
                <c:pt idx="911">
                  <c:v>44742</c:v>
                </c:pt>
                <c:pt idx="912">
                  <c:v>44743</c:v>
                </c:pt>
                <c:pt idx="913">
                  <c:v>44744</c:v>
                </c:pt>
                <c:pt idx="914">
                  <c:v>44745</c:v>
                </c:pt>
                <c:pt idx="915">
                  <c:v>44746</c:v>
                </c:pt>
                <c:pt idx="916">
                  <c:v>44747</c:v>
                </c:pt>
                <c:pt idx="917">
                  <c:v>44748</c:v>
                </c:pt>
                <c:pt idx="918">
                  <c:v>44749</c:v>
                </c:pt>
                <c:pt idx="919">
                  <c:v>44750</c:v>
                </c:pt>
                <c:pt idx="920">
                  <c:v>44751</c:v>
                </c:pt>
                <c:pt idx="921">
                  <c:v>44752</c:v>
                </c:pt>
                <c:pt idx="922">
                  <c:v>44753</c:v>
                </c:pt>
                <c:pt idx="923">
                  <c:v>44754</c:v>
                </c:pt>
                <c:pt idx="924">
                  <c:v>44755</c:v>
                </c:pt>
                <c:pt idx="925">
                  <c:v>44756</c:v>
                </c:pt>
                <c:pt idx="926">
                  <c:v>44757</c:v>
                </c:pt>
                <c:pt idx="927">
                  <c:v>44758</c:v>
                </c:pt>
                <c:pt idx="928">
                  <c:v>44759</c:v>
                </c:pt>
                <c:pt idx="929">
                  <c:v>44760</c:v>
                </c:pt>
                <c:pt idx="930">
                  <c:v>44761</c:v>
                </c:pt>
                <c:pt idx="931">
                  <c:v>44762</c:v>
                </c:pt>
                <c:pt idx="932">
                  <c:v>44763</c:v>
                </c:pt>
                <c:pt idx="933">
                  <c:v>44764</c:v>
                </c:pt>
                <c:pt idx="934">
                  <c:v>44765</c:v>
                </c:pt>
                <c:pt idx="935">
                  <c:v>44766</c:v>
                </c:pt>
                <c:pt idx="936">
                  <c:v>44767</c:v>
                </c:pt>
                <c:pt idx="937">
                  <c:v>44768</c:v>
                </c:pt>
                <c:pt idx="938">
                  <c:v>44769</c:v>
                </c:pt>
                <c:pt idx="939">
                  <c:v>44770</c:v>
                </c:pt>
                <c:pt idx="940">
                  <c:v>44771</c:v>
                </c:pt>
                <c:pt idx="941">
                  <c:v>44772</c:v>
                </c:pt>
                <c:pt idx="942">
                  <c:v>44773</c:v>
                </c:pt>
                <c:pt idx="943">
                  <c:v>44774</c:v>
                </c:pt>
                <c:pt idx="944">
                  <c:v>44775</c:v>
                </c:pt>
                <c:pt idx="945">
                  <c:v>44776</c:v>
                </c:pt>
                <c:pt idx="946">
                  <c:v>44777</c:v>
                </c:pt>
                <c:pt idx="947">
                  <c:v>44778</c:v>
                </c:pt>
                <c:pt idx="948">
                  <c:v>44779</c:v>
                </c:pt>
                <c:pt idx="949">
                  <c:v>44780</c:v>
                </c:pt>
                <c:pt idx="950">
                  <c:v>44781</c:v>
                </c:pt>
                <c:pt idx="951">
                  <c:v>44782</c:v>
                </c:pt>
                <c:pt idx="952">
                  <c:v>44783</c:v>
                </c:pt>
                <c:pt idx="953">
                  <c:v>44784</c:v>
                </c:pt>
                <c:pt idx="954">
                  <c:v>44785</c:v>
                </c:pt>
                <c:pt idx="955">
                  <c:v>44786</c:v>
                </c:pt>
                <c:pt idx="956">
                  <c:v>44787</c:v>
                </c:pt>
                <c:pt idx="957">
                  <c:v>44788</c:v>
                </c:pt>
                <c:pt idx="958">
                  <c:v>44789</c:v>
                </c:pt>
                <c:pt idx="959">
                  <c:v>44790</c:v>
                </c:pt>
                <c:pt idx="960">
                  <c:v>44791</c:v>
                </c:pt>
                <c:pt idx="961">
                  <c:v>44792</c:v>
                </c:pt>
                <c:pt idx="962">
                  <c:v>44793</c:v>
                </c:pt>
                <c:pt idx="963">
                  <c:v>44794</c:v>
                </c:pt>
                <c:pt idx="964">
                  <c:v>44795</c:v>
                </c:pt>
                <c:pt idx="965">
                  <c:v>44796</c:v>
                </c:pt>
                <c:pt idx="966">
                  <c:v>44797</c:v>
                </c:pt>
                <c:pt idx="967">
                  <c:v>44798</c:v>
                </c:pt>
                <c:pt idx="968">
                  <c:v>44799</c:v>
                </c:pt>
                <c:pt idx="969">
                  <c:v>44800</c:v>
                </c:pt>
                <c:pt idx="970">
                  <c:v>44801</c:v>
                </c:pt>
                <c:pt idx="971">
                  <c:v>44802</c:v>
                </c:pt>
                <c:pt idx="972">
                  <c:v>44803</c:v>
                </c:pt>
                <c:pt idx="973">
                  <c:v>44804</c:v>
                </c:pt>
                <c:pt idx="974">
                  <c:v>44805</c:v>
                </c:pt>
                <c:pt idx="975">
                  <c:v>44806</c:v>
                </c:pt>
                <c:pt idx="976">
                  <c:v>44807</c:v>
                </c:pt>
                <c:pt idx="977">
                  <c:v>44808</c:v>
                </c:pt>
                <c:pt idx="978">
                  <c:v>44809</c:v>
                </c:pt>
                <c:pt idx="979">
                  <c:v>44810</c:v>
                </c:pt>
                <c:pt idx="980">
                  <c:v>44811</c:v>
                </c:pt>
                <c:pt idx="981">
                  <c:v>44812</c:v>
                </c:pt>
                <c:pt idx="982">
                  <c:v>44813</c:v>
                </c:pt>
                <c:pt idx="983">
                  <c:v>44814</c:v>
                </c:pt>
                <c:pt idx="984">
                  <c:v>44815</c:v>
                </c:pt>
                <c:pt idx="985">
                  <c:v>44816</c:v>
                </c:pt>
                <c:pt idx="986">
                  <c:v>44817</c:v>
                </c:pt>
                <c:pt idx="987">
                  <c:v>44818</c:v>
                </c:pt>
                <c:pt idx="988">
                  <c:v>44819</c:v>
                </c:pt>
                <c:pt idx="989">
                  <c:v>44820</c:v>
                </c:pt>
                <c:pt idx="990">
                  <c:v>44821</c:v>
                </c:pt>
                <c:pt idx="991">
                  <c:v>44822</c:v>
                </c:pt>
                <c:pt idx="992">
                  <c:v>44823</c:v>
                </c:pt>
                <c:pt idx="993">
                  <c:v>44824</c:v>
                </c:pt>
                <c:pt idx="994">
                  <c:v>44825</c:v>
                </c:pt>
                <c:pt idx="995">
                  <c:v>44826</c:v>
                </c:pt>
                <c:pt idx="996">
                  <c:v>44827</c:v>
                </c:pt>
                <c:pt idx="997">
                  <c:v>44828</c:v>
                </c:pt>
                <c:pt idx="998">
                  <c:v>44829</c:v>
                </c:pt>
                <c:pt idx="999">
                  <c:v>44830</c:v>
                </c:pt>
                <c:pt idx="1000">
                  <c:v>44831</c:v>
                </c:pt>
                <c:pt idx="1001">
                  <c:v>44832</c:v>
                </c:pt>
                <c:pt idx="1002">
                  <c:v>44833</c:v>
                </c:pt>
                <c:pt idx="1003">
                  <c:v>44834</c:v>
                </c:pt>
                <c:pt idx="1004">
                  <c:v>44835</c:v>
                </c:pt>
                <c:pt idx="1005">
                  <c:v>44836</c:v>
                </c:pt>
                <c:pt idx="1006">
                  <c:v>44837</c:v>
                </c:pt>
                <c:pt idx="1007">
                  <c:v>44838</c:v>
                </c:pt>
                <c:pt idx="1008">
                  <c:v>44839</c:v>
                </c:pt>
                <c:pt idx="1009">
                  <c:v>44840</c:v>
                </c:pt>
                <c:pt idx="1010">
                  <c:v>44841</c:v>
                </c:pt>
                <c:pt idx="1011">
                  <c:v>44842</c:v>
                </c:pt>
                <c:pt idx="1012">
                  <c:v>44843</c:v>
                </c:pt>
                <c:pt idx="1013">
                  <c:v>44844</c:v>
                </c:pt>
                <c:pt idx="1014">
                  <c:v>44845</c:v>
                </c:pt>
                <c:pt idx="1015">
                  <c:v>44846</c:v>
                </c:pt>
                <c:pt idx="1016">
                  <c:v>44847</c:v>
                </c:pt>
                <c:pt idx="1017">
                  <c:v>44848</c:v>
                </c:pt>
                <c:pt idx="1018">
                  <c:v>44849</c:v>
                </c:pt>
                <c:pt idx="1019">
                  <c:v>44850</c:v>
                </c:pt>
                <c:pt idx="1020">
                  <c:v>44851</c:v>
                </c:pt>
                <c:pt idx="1021">
                  <c:v>44852</c:v>
                </c:pt>
                <c:pt idx="1022">
                  <c:v>44853</c:v>
                </c:pt>
                <c:pt idx="1023">
                  <c:v>44854</c:v>
                </c:pt>
                <c:pt idx="1024">
                  <c:v>44855</c:v>
                </c:pt>
                <c:pt idx="1025">
                  <c:v>44856</c:v>
                </c:pt>
                <c:pt idx="1026">
                  <c:v>44857</c:v>
                </c:pt>
                <c:pt idx="1027">
                  <c:v>44858</c:v>
                </c:pt>
                <c:pt idx="1028">
                  <c:v>44859</c:v>
                </c:pt>
                <c:pt idx="1029">
                  <c:v>44860</c:v>
                </c:pt>
                <c:pt idx="1030">
                  <c:v>44861</c:v>
                </c:pt>
                <c:pt idx="1031">
                  <c:v>44862</c:v>
                </c:pt>
                <c:pt idx="1032">
                  <c:v>44863</c:v>
                </c:pt>
                <c:pt idx="1033">
                  <c:v>44864</c:v>
                </c:pt>
                <c:pt idx="1034">
                  <c:v>44865</c:v>
                </c:pt>
                <c:pt idx="1035">
                  <c:v>44866</c:v>
                </c:pt>
                <c:pt idx="1036">
                  <c:v>44867</c:v>
                </c:pt>
                <c:pt idx="1037">
                  <c:v>44868</c:v>
                </c:pt>
                <c:pt idx="1038">
                  <c:v>44869</c:v>
                </c:pt>
                <c:pt idx="1039">
                  <c:v>44870</c:v>
                </c:pt>
                <c:pt idx="1040">
                  <c:v>44871</c:v>
                </c:pt>
                <c:pt idx="1041">
                  <c:v>44872</c:v>
                </c:pt>
                <c:pt idx="1042">
                  <c:v>44873</c:v>
                </c:pt>
                <c:pt idx="1043">
                  <c:v>44874</c:v>
                </c:pt>
                <c:pt idx="1044">
                  <c:v>44875</c:v>
                </c:pt>
                <c:pt idx="1045">
                  <c:v>44876</c:v>
                </c:pt>
                <c:pt idx="1046">
                  <c:v>44877</c:v>
                </c:pt>
                <c:pt idx="1047">
                  <c:v>44878</c:v>
                </c:pt>
                <c:pt idx="1048">
                  <c:v>44879</c:v>
                </c:pt>
                <c:pt idx="1049">
                  <c:v>44880</c:v>
                </c:pt>
                <c:pt idx="1050">
                  <c:v>44881</c:v>
                </c:pt>
                <c:pt idx="1051">
                  <c:v>44882</c:v>
                </c:pt>
                <c:pt idx="1052">
                  <c:v>44883</c:v>
                </c:pt>
                <c:pt idx="1053">
                  <c:v>44884</c:v>
                </c:pt>
                <c:pt idx="1054">
                  <c:v>44885</c:v>
                </c:pt>
                <c:pt idx="1055">
                  <c:v>44886</c:v>
                </c:pt>
                <c:pt idx="1056">
                  <c:v>44887</c:v>
                </c:pt>
                <c:pt idx="1057">
                  <c:v>44888</c:v>
                </c:pt>
                <c:pt idx="1058">
                  <c:v>44889</c:v>
                </c:pt>
                <c:pt idx="1059">
                  <c:v>44890</c:v>
                </c:pt>
                <c:pt idx="1060">
                  <c:v>44891</c:v>
                </c:pt>
                <c:pt idx="1061">
                  <c:v>44892</c:v>
                </c:pt>
                <c:pt idx="1062">
                  <c:v>44893</c:v>
                </c:pt>
                <c:pt idx="1063">
                  <c:v>44894</c:v>
                </c:pt>
                <c:pt idx="1064">
                  <c:v>44895</c:v>
                </c:pt>
                <c:pt idx="1065">
                  <c:v>44896</c:v>
                </c:pt>
                <c:pt idx="1066">
                  <c:v>44897</c:v>
                </c:pt>
                <c:pt idx="1067">
                  <c:v>44898</c:v>
                </c:pt>
                <c:pt idx="1068">
                  <c:v>44899</c:v>
                </c:pt>
                <c:pt idx="1069">
                  <c:v>44900</c:v>
                </c:pt>
                <c:pt idx="1070">
                  <c:v>44901</c:v>
                </c:pt>
                <c:pt idx="1071">
                  <c:v>44902</c:v>
                </c:pt>
                <c:pt idx="1072">
                  <c:v>44903</c:v>
                </c:pt>
                <c:pt idx="1073">
                  <c:v>44904</c:v>
                </c:pt>
                <c:pt idx="1074">
                  <c:v>44905</c:v>
                </c:pt>
                <c:pt idx="1075">
                  <c:v>44906</c:v>
                </c:pt>
                <c:pt idx="1076">
                  <c:v>44907</c:v>
                </c:pt>
                <c:pt idx="1077">
                  <c:v>44908</c:v>
                </c:pt>
                <c:pt idx="1078">
                  <c:v>44909</c:v>
                </c:pt>
                <c:pt idx="1079">
                  <c:v>44910</c:v>
                </c:pt>
                <c:pt idx="1080">
                  <c:v>44911</c:v>
                </c:pt>
                <c:pt idx="1081">
                  <c:v>44912</c:v>
                </c:pt>
                <c:pt idx="1082">
                  <c:v>44913</c:v>
                </c:pt>
                <c:pt idx="1083">
                  <c:v>44914</c:v>
                </c:pt>
                <c:pt idx="1084">
                  <c:v>44915</c:v>
                </c:pt>
                <c:pt idx="1085">
                  <c:v>44916</c:v>
                </c:pt>
                <c:pt idx="1086">
                  <c:v>44917</c:v>
                </c:pt>
                <c:pt idx="1087">
                  <c:v>44918</c:v>
                </c:pt>
                <c:pt idx="1088">
                  <c:v>44919</c:v>
                </c:pt>
                <c:pt idx="1089">
                  <c:v>44920</c:v>
                </c:pt>
                <c:pt idx="1090">
                  <c:v>44921</c:v>
                </c:pt>
                <c:pt idx="1091">
                  <c:v>44922</c:v>
                </c:pt>
                <c:pt idx="1092">
                  <c:v>44923</c:v>
                </c:pt>
                <c:pt idx="1093">
                  <c:v>44924</c:v>
                </c:pt>
                <c:pt idx="1094">
                  <c:v>44925</c:v>
                </c:pt>
                <c:pt idx="1095">
                  <c:v>44926</c:v>
                </c:pt>
                <c:pt idx="1096">
                  <c:v>44927</c:v>
                </c:pt>
                <c:pt idx="1097">
                  <c:v>44928</c:v>
                </c:pt>
                <c:pt idx="1098">
                  <c:v>44929</c:v>
                </c:pt>
                <c:pt idx="1099">
                  <c:v>44930</c:v>
                </c:pt>
                <c:pt idx="1100">
                  <c:v>44931</c:v>
                </c:pt>
                <c:pt idx="1101">
                  <c:v>44932</c:v>
                </c:pt>
                <c:pt idx="1102">
                  <c:v>44933</c:v>
                </c:pt>
                <c:pt idx="1103">
                  <c:v>44934</c:v>
                </c:pt>
                <c:pt idx="1104">
                  <c:v>44935</c:v>
                </c:pt>
                <c:pt idx="1105">
                  <c:v>44936</c:v>
                </c:pt>
                <c:pt idx="1106">
                  <c:v>44937</c:v>
                </c:pt>
                <c:pt idx="1107">
                  <c:v>44938</c:v>
                </c:pt>
                <c:pt idx="1108">
                  <c:v>44939</c:v>
                </c:pt>
                <c:pt idx="1109">
                  <c:v>44940</c:v>
                </c:pt>
                <c:pt idx="1110">
                  <c:v>44941</c:v>
                </c:pt>
                <c:pt idx="1111">
                  <c:v>44942</c:v>
                </c:pt>
                <c:pt idx="1112">
                  <c:v>44943</c:v>
                </c:pt>
                <c:pt idx="1113">
                  <c:v>44944</c:v>
                </c:pt>
                <c:pt idx="1114">
                  <c:v>44945</c:v>
                </c:pt>
                <c:pt idx="1115">
                  <c:v>44946</c:v>
                </c:pt>
                <c:pt idx="1116">
                  <c:v>44947</c:v>
                </c:pt>
                <c:pt idx="1117">
                  <c:v>44948</c:v>
                </c:pt>
                <c:pt idx="1118">
                  <c:v>44949</c:v>
                </c:pt>
                <c:pt idx="1119">
                  <c:v>44950</c:v>
                </c:pt>
                <c:pt idx="1120">
                  <c:v>44951</c:v>
                </c:pt>
                <c:pt idx="1121">
                  <c:v>44952</c:v>
                </c:pt>
                <c:pt idx="1122">
                  <c:v>44953</c:v>
                </c:pt>
                <c:pt idx="1123">
                  <c:v>44954</c:v>
                </c:pt>
                <c:pt idx="1124">
                  <c:v>44955</c:v>
                </c:pt>
                <c:pt idx="1125">
                  <c:v>44956</c:v>
                </c:pt>
                <c:pt idx="1126">
                  <c:v>44957</c:v>
                </c:pt>
                <c:pt idx="1127">
                  <c:v>44958</c:v>
                </c:pt>
                <c:pt idx="1128">
                  <c:v>44959</c:v>
                </c:pt>
                <c:pt idx="1129">
                  <c:v>44960</c:v>
                </c:pt>
                <c:pt idx="1130">
                  <c:v>44961</c:v>
                </c:pt>
                <c:pt idx="1131">
                  <c:v>44962</c:v>
                </c:pt>
                <c:pt idx="1132">
                  <c:v>44963</c:v>
                </c:pt>
                <c:pt idx="1133">
                  <c:v>44964</c:v>
                </c:pt>
                <c:pt idx="1134">
                  <c:v>44965</c:v>
                </c:pt>
                <c:pt idx="1135">
                  <c:v>44966</c:v>
                </c:pt>
                <c:pt idx="1136">
                  <c:v>44967</c:v>
                </c:pt>
                <c:pt idx="1137">
                  <c:v>44968</c:v>
                </c:pt>
                <c:pt idx="1138">
                  <c:v>44969</c:v>
                </c:pt>
                <c:pt idx="1139">
                  <c:v>44970</c:v>
                </c:pt>
                <c:pt idx="1140">
                  <c:v>44971</c:v>
                </c:pt>
                <c:pt idx="1141">
                  <c:v>44972</c:v>
                </c:pt>
                <c:pt idx="1142">
                  <c:v>44973</c:v>
                </c:pt>
                <c:pt idx="1143">
                  <c:v>44974</c:v>
                </c:pt>
                <c:pt idx="1144">
                  <c:v>44975</c:v>
                </c:pt>
                <c:pt idx="1145">
                  <c:v>44976</c:v>
                </c:pt>
                <c:pt idx="1146">
                  <c:v>44977</c:v>
                </c:pt>
                <c:pt idx="1147">
                  <c:v>44978</c:v>
                </c:pt>
                <c:pt idx="1148">
                  <c:v>44979</c:v>
                </c:pt>
                <c:pt idx="1149">
                  <c:v>44980</c:v>
                </c:pt>
                <c:pt idx="1150">
                  <c:v>44981</c:v>
                </c:pt>
                <c:pt idx="1151">
                  <c:v>44982</c:v>
                </c:pt>
                <c:pt idx="1152">
                  <c:v>44983</c:v>
                </c:pt>
                <c:pt idx="1153">
                  <c:v>44984</c:v>
                </c:pt>
                <c:pt idx="1154">
                  <c:v>44985</c:v>
                </c:pt>
                <c:pt idx="1155">
                  <c:v>44986</c:v>
                </c:pt>
                <c:pt idx="1156">
                  <c:v>44987</c:v>
                </c:pt>
                <c:pt idx="1157">
                  <c:v>44988</c:v>
                </c:pt>
                <c:pt idx="1158">
                  <c:v>44989</c:v>
                </c:pt>
                <c:pt idx="1159">
                  <c:v>44990</c:v>
                </c:pt>
                <c:pt idx="1160">
                  <c:v>44991</c:v>
                </c:pt>
                <c:pt idx="1161">
                  <c:v>44992</c:v>
                </c:pt>
                <c:pt idx="1162">
                  <c:v>44993</c:v>
                </c:pt>
                <c:pt idx="1163">
                  <c:v>44994</c:v>
                </c:pt>
                <c:pt idx="1164">
                  <c:v>44995</c:v>
                </c:pt>
                <c:pt idx="1165">
                  <c:v>44996</c:v>
                </c:pt>
                <c:pt idx="1166">
                  <c:v>44997</c:v>
                </c:pt>
                <c:pt idx="1167">
                  <c:v>44998</c:v>
                </c:pt>
                <c:pt idx="1168">
                  <c:v>44999</c:v>
                </c:pt>
                <c:pt idx="1169">
                  <c:v>45000</c:v>
                </c:pt>
                <c:pt idx="1170">
                  <c:v>45001</c:v>
                </c:pt>
                <c:pt idx="1171">
                  <c:v>45002</c:v>
                </c:pt>
                <c:pt idx="1172">
                  <c:v>45003</c:v>
                </c:pt>
                <c:pt idx="1173">
                  <c:v>45004</c:v>
                </c:pt>
                <c:pt idx="1174">
                  <c:v>45005</c:v>
                </c:pt>
                <c:pt idx="1175">
                  <c:v>45006</c:v>
                </c:pt>
                <c:pt idx="1176">
                  <c:v>45007</c:v>
                </c:pt>
                <c:pt idx="1177">
                  <c:v>45008</c:v>
                </c:pt>
                <c:pt idx="1178">
                  <c:v>45009</c:v>
                </c:pt>
                <c:pt idx="1179">
                  <c:v>45010</c:v>
                </c:pt>
                <c:pt idx="1180">
                  <c:v>45011</c:v>
                </c:pt>
                <c:pt idx="1181">
                  <c:v>45012</c:v>
                </c:pt>
                <c:pt idx="1182">
                  <c:v>45013</c:v>
                </c:pt>
                <c:pt idx="1183">
                  <c:v>45014</c:v>
                </c:pt>
                <c:pt idx="1184">
                  <c:v>45015</c:v>
                </c:pt>
                <c:pt idx="1185">
                  <c:v>45016</c:v>
                </c:pt>
                <c:pt idx="1186">
                  <c:v>45017</c:v>
                </c:pt>
                <c:pt idx="1187">
                  <c:v>45018</c:v>
                </c:pt>
                <c:pt idx="1188">
                  <c:v>45019</c:v>
                </c:pt>
                <c:pt idx="1189">
                  <c:v>45020</c:v>
                </c:pt>
                <c:pt idx="1190">
                  <c:v>45021</c:v>
                </c:pt>
                <c:pt idx="1191">
                  <c:v>45022</c:v>
                </c:pt>
                <c:pt idx="1192">
                  <c:v>45023</c:v>
                </c:pt>
                <c:pt idx="1193">
                  <c:v>45024</c:v>
                </c:pt>
                <c:pt idx="1194">
                  <c:v>45025</c:v>
                </c:pt>
                <c:pt idx="1195">
                  <c:v>45026</c:v>
                </c:pt>
                <c:pt idx="1196">
                  <c:v>45027</c:v>
                </c:pt>
                <c:pt idx="1197">
                  <c:v>45028</c:v>
                </c:pt>
                <c:pt idx="1198">
                  <c:v>45029</c:v>
                </c:pt>
                <c:pt idx="1199">
                  <c:v>45030</c:v>
                </c:pt>
                <c:pt idx="1200">
                  <c:v>45031</c:v>
                </c:pt>
                <c:pt idx="1201">
                  <c:v>45032</c:v>
                </c:pt>
                <c:pt idx="1202">
                  <c:v>45033</c:v>
                </c:pt>
                <c:pt idx="1203">
                  <c:v>45034</c:v>
                </c:pt>
                <c:pt idx="1204">
                  <c:v>45035</c:v>
                </c:pt>
                <c:pt idx="1205">
                  <c:v>45036</c:v>
                </c:pt>
                <c:pt idx="1206">
                  <c:v>45037</c:v>
                </c:pt>
                <c:pt idx="1207">
                  <c:v>45038</c:v>
                </c:pt>
                <c:pt idx="1208">
                  <c:v>45039</c:v>
                </c:pt>
                <c:pt idx="1209">
                  <c:v>45040</c:v>
                </c:pt>
                <c:pt idx="1210">
                  <c:v>45041</c:v>
                </c:pt>
                <c:pt idx="1211">
                  <c:v>45042</c:v>
                </c:pt>
                <c:pt idx="1212">
                  <c:v>45043</c:v>
                </c:pt>
                <c:pt idx="1213">
                  <c:v>45044</c:v>
                </c:pt>
                <c:pt idx="1214">
                  <c:v>45045</c:v>
                </c:pt>
                <c:pt idx="1215">
                  <c:v>45046</c:v>
                </c:pt>
                <c:pt idx="1216">
                  <c:v>45047</c:v>
                </c:pt>
                <c:pt idx="1217">
                  <c:v>45048</c:v>
                </c:pt>
                <c:pt idx="1218">
                  <c:v>45049</c:v>
                </c:pt>
                <c:pt idx="1219">
                  <c:v>45050</c:v>
                </c:pt>
                <c:pt idx="1220">
                  <c:v>45051</c:v>
                </c:pt>
                <c:pt idx="1221">
                  <c:v>45052</c:v>
                </c:pt>
                <c:pt idx="1222">
                  <c:v>45053</c:v>
                </c:pt>
                <c:pt idx="1223">
                  <c:v>45054</c:v>
                </c:pt>
                <c:pt idx="1224">
                  <c:v>45055</c:v>
                </c:pt>
                <c:pt idx="1225">
                  <c:v>45056</c:v>
                </c:pt>
                <c:pt idx="1226">
                  <c:v>45057</c:v>
                </c:pt>
                <c:pt idx="1227">
                  <c:v>45058</c:v>
                </c:pt>
                <c:pt idx="1228">
                  <c:v>45059</c:v>
                </c:pt>
                <c:pt idx="1229">
                  <c:v>45060</c:v>
                </c:pt>
                <c:pt idx="1230">
                  <c:v>45061</c:v>
                </c:pt>
                <c:pt idx="1231">
                  <c:v>45062</c:v>
                </c:pt>
                <c:pt idx="1232">
                  <c:v>45063</c:v>
                </c:pt>
                <c:pt idx="1233">
                  <c:v>45064</c:v>
                </c:pt>
                <c:pt idx="1234">
                  <c:v>45065</c:v>
                </c:pt>
                <c:pt idx="1235">
                  <c:v>45066</c:v>
                </c:pt>
                <c:pt idx="1236">
                  <c:v>45067</c:v>
                </c:pt>
                <c:pt idx="1237">
                  <c:v>45068</c:v>
                </c:pt>
                <c:pt idx="1238">
                  <c:v>45069</c:v>
                </c:pt>
                <c:pt idx="1239">
                  <c:v>45070</c:v>
                </c:pt>
                <c:pt idx="1240">
                  <c:v>45071</c:v>
                </c:pt>
                <c:pt idx="1241">
                  <c:v>45072</c:v>
                </c:pt>
                <c:pt idx="1242">
                  <c:v>45073</c:v>
                </c:pt>
                <c:pt idx="1243">
                  <c:v>45074</c:v>
                </c:pt>
                <c:pt idx="1244">
                  <c:v>45075</c:v>
                </c:pt>
                <c:pt idx="1245">
                  <c:v>45076</c:v>
                </c:pt>
                <c:pt idx="1246">
                  <c:v>45077</c:v>
                </c:pt>
                <c:pt idx="1247">
                  <c:v>45078</c:v>
                </c:pt>
                <c:pt idx="1248">
                  <c:v>45079</c:v>
                </c:pt>
                <c:pt idx="1249">
                  <c:v>45080</c:v>
                </c:pt>
                <c:pt idx="1250">
                  <c:v>45081</c:v>
                </c:pt>
                <c:pt idx="1251">
                  <c:v>45082</c:v>
                </c:pt>
              </c:numCache>
            </c:numRef>
          </c:cat>
          <c:val>
            <c:numRef>
              <c:f>'DK udtræk og injicering'!$AJ$4641:$AJ$5892</c:f>
              <c:numCache>
                <c:formatCode>General</c:formatCode>
                <c:ptCount val="1252"/>
                <c:pt idx="731" formatCode="0%">
                  <c:v>0.88053544145549012</c:v>
                </c:pt>
                <c:pt idx="732" formatCode="0%">
                  <c:v>0.87593372549852078</c:v>
                </c:pt>
                <c:pt idx="733" formatCode="0%">
                  <c:v>0.87233126005585482</c:v>
                </c:pt>
                <c:pt idx="734" formatCode="0%">
                  <c:v>0.8664565276302808</c:v>
                </c:pt>
                <c:pt idx="735" formatCode="0%">
                  <c:v>0.86006419300050363</c:v>
                </c:pt>
                <c:pt idx="736" formatCode="0%">
                  <c:v>0.85375141592363546</c:v>
                </c:pt>
                <c:pt idx="737" formatCode="0%">
                  <c:v>0.84701426814987957</c:v>
                </c:pt>
                <c:pt idx="738" formatCode="0%">
                  <c:v>0.83802933264026469</c:v>
                </c:pt>
                <c:pt idx="739" formatCode="0%">
                  <c:v>0.831383217066472</c:v>
                </c:pt>
                <c:pt idx="740" formatCode="0%">
                  <c:v>0.8247577558573771</c:v>
                </c:pt>
                <c:pt idx="741" formatCode="0%">
                  <c:v>0.81715063859279524</c:v>
                </c:pt>
                <c:pt idx="742" formatCode="0%">
                  <c:v>0.80968647630609691</c:v>
                </c:pt>
                <c:pt idx="743" formatCode="0%">
                  <c:v>0.80068557191266498</c:v>
                </c:pt>
                <c:pt idx="744" formatCode="0%">
                  <c:v>0.79105136262389986</c:v>
                </c:pt>
                <c:pt idx="745" formatCode="0%">
                  <c:v>0.78056716885459498</c:v>
                </c:pt>
                <c:pt idx="746" formatCode="0%">
                  <c:v>0.77078072924824426</c:v>
                </c:pt>
                <c:pt idx="747" formatCode="0%">
                  <c:v>0.76186014738419161</c:v>
                </c:pt>
                <c:pt idx="748" formatCode="0%">
                  <c:v>0.75230320071892487</c:v>
                </c:pt>
                <c:pt idx="749" formatCode="0%">
                  <c:v>0.74490673884984637</c:v>
                </c:pt>
                <c:pt idx="750" formatCode="0%">
                  <c:v>0.74025128329583989</c:v>
                </c:pt>
                <c:pt idx="751" formatCode="0%">
                  <c:v>0.73598625260785255</c:v>
                </c:pt>
                <c:pt idx="752" formatCode="0%">
                  <c:v>0.73176214816102525</c:v>
                </c:pt>
                <c:pt idx="753" formatCode="0%">
                  <c:v>0.72689919273945536</c:v>
                </c:pt>
                <c:pt idx="754" formatCode="0%">
                  <c:v>0.72152905791808974</c:v>
                </c:pt>
                <c:pt idx="755" formatCode="0%">
                  <c:v>0.71256955787611165</c:v>
                </c:pt>
                <c:pt idx="756" formatCode="0%">
                  <c:v>0.70359772258855036</c:v>
                </c:pt>
                <c:pt idx="757" formatCode="0%">
                  <c:v>0.69363132226756619</c:v>
                </c:pt>
                <c:pt idx="758" formatCode="0%">
                  <c:v>0.68485388662551483</c:v>
                </c:pt>
                <c:pt idx="759" formatCode="0%">
                  <c:v>0.67484684692954711</c:v>
                </c:pt>
                <c:pt idx="760" formatCode="0%">
                  <c:v>0.66610679951248053</c:v>
                </c:pt>
                <c:pt idx="761" formatCode="0%">
                  <c:v>0.65796859733340685</c:v>
                </c:pt>
                <c:pt idx="762" formatCode="0%">
                  <c:v>0.64950269835887686</c:v>
                </c:pt>
                <c:pt idx="763" formatCode="0%">
                  <c:v>0.64067047127714161</c:v>
                </c:pt>
                <c:pt idx="764" formatCode="0%">
                  <c:v>0.62984576735650333</c:v>
                </c:pt>
                <c:pt idx="765" formatCode="0%">
                  <c:v>0.62027485987065401</c:v>
                </c:pt>
                <c:pt idx="766" formatCode="0%">
                  <c:v>0.6106925733598092</c:v>
                </c:pt>
                <c:pt idx="767" formatCode="0%">
                  <c:v>0.60430626291973544</c:v>
                </c:pt>
                <c:pt idx="768" formatCode="0%">
                  <c:v>0.59770881897386441</c:v>
                </c:pt>
                <c:pt idx="769" formatCode="0%">
                  <c:v>0.58778965594992005</c:v>
                </c:pt>
                <c:pt idx="770" formatCode="0%">
                  <c:v>0.57786207818480262</c:v>
                </c:pt>
                <c:pt idx="771" formatCode="0%">
                  <c:v>0.56710956891854702</c:v>
                </c:pt>
                <c:pt idx="772" formatCode="0%">
                  <c:v>0.55649485103900065</c:v>
                </c:pt>
                <c:pt idx="773" formatCode="0%">
                  <c:v>0.54557863680810514</c:v>
                </c:pt>
                <c:pt idx="774" formatCode="0%">
                  <c:v>0.5361611071045469</c:v>
                </c:pt>
                <c:pt idx="775" formatCode="0%">
                  <c:v>0.52852348640321256</c:v>
                </c:pt>
                <c:pt idx="776" formatCode="0%">
                  <c:v>0.52356041468609482</c:v>
                </c:pt>
                <c:pt idx="777" formatCode="0%">
                  <c:v>0.51520342923652096</c:v>
                </c:pt>
                <c:pt idx="778" formatCode="0%">
                  <c:v>0.5075528995572508</c:v>
                </c:pt>
                <c:pt idx="779" formatCode="0%">
                  <c:v>0.50262348680482516</c:v>
                </c:pt>
                <c:pt idx="780" formatCode="0%">
                  <c:v>0.49569681611055749</c:v>
                </c:pt>
                <c:pt idx="781" formatCode="0%">
                  <c:v>0.49190368028267412</c:v>
                </c:pt>
                <c:pt idx="782" formatCode="0%">
                  <c:v>0.49053083438469786</c:v>
                </c:pt>
                <c:pt idx="783" formatCode="0%">
                  <c:v>0.48448465160772242</c:v>
                </c:pt>
                <c:pt idx="784" formatCode="0%">
                  <c:v>0.48048717144021547</c:v>
                </c:pt>
                <c:pt idx="785" formatCode="0%">
                  <c:v>0.4781563837573311</c:v>
                </c:pt>
                <c:pt idx="786" formatCode="0%">
                  <c:v>0.47429449566918136</c:v>
                </c:pt>
                <c:pt idx="787" formatCode="0%">
                  <c:v>0.47150567832471685</c:v>
                </c:pt>
                <c:pt idx="788" formatCode="0%">
                  <c:v>0.46746163021458165</c:v>
                </c:pt>
                <c:pt idx="789" formatCode="0%">
                  <c:v>0.4634603251647233</c:v>
                </c:pt>
                <c:pt idx="790" formatCode="0%">
                  <c:v>0.45697389842910169</c:v>
                </c:pt>
                <c:pt idx="791" formatCode="0%">
                  <c:v>0.45111532613146232</c:v>
                </c:pt>
                <c:pt idx="792" formatCode="0%">
                  <c:v>0.44502334038832886</c:v>
                </c:pt>
                <c:pt idx="793" formatCode="0%">
                  <c:v>0.43882368420700341</c:v>
                </c:pt>
                <c:pt idx="794" formatCode="0%">
                  <c:v>0.43206980257296007</c:v>
                </c:pt>
                <c:pt idx="795" formatCode="0%">
                  <c:v>0.4281223327421978</c:v>
                </c:pt>
                <c:pt idx="796" formatCode="0%">
                  <c:v>0.42353276078669416</c:v>
                </c:pt>
                <c:pt idx="797" formatCode="0%">
                  <c:v>0.4141740386492887</c:v>
                </c:pt>
                <c:pt idx="798" formatCode="0%">
                  <c:v>0.40722939100796929</c:v>
                </c:pt>
                <c:pt idx="799" formatCode="0%">
                  <c:v>0.40163769987639891</c:v>
                </c:pt>
                <c:pt idx="800" formatCode="0%">
                  <c:v>0.39771700422209644</c:v>
                </c:pt>
                <c:pt idx="801" formatCode="0%">
                  <c:v>0.3956141795273555</c:v>
                </c:pt>
                <c:pt idx="802" formatCode="0%">
                  <c:v>0.39515337682607055</c:v>
                </c:pt>
                <c:pt idx="803" formatCode="0%">
                  <c:v>0.39461081726452446</c:v>
                </c:pt>
                <c:pt idx="804" formatCode="0%">
                  <c:v>0.39241705599187898</c:v>
                </c:pt>
                <c:pt idx="805" formatCode="0%">
                  <c:v>0.38896117916533035</c:v>
                </c:pt>
                <c:pt idx="806" formatCode="0%">
                  <c:v>0.38542220676969752</c:v>
                </c:pt>
                <c:pt idx="807" formatCode="0%">
                  <c:v>0.38078654498185954</c:v>
                </c:pt>
                <c:pt idx="808" formatCode="0%">
                  <c:v>0.37550581678545797</c:v>
                </c:pt>
                <c:pt idx="809" formatCode="0%">
                  <c:v>0.3717437581266797</c:v>
                </c:pt>
                <c:pt idx="810" formatCode="0%">
                  <c:v>0.3686333637985213</c:v>
                </c:pt>
                <c:pt idx="811" formatCode="0%">
                  <c:v>0.36459457490161928</c:v>
                </c:pt>
                <c:pt idx="812" formatCode="0%">
                  <c:v>0.36055760282383414</c:v>
                </c:pt>
                <c:pt idx="813" formatCode="0%">
                  <c:v>0.35834395216296144</c:v>
                </c:pt>
                <c:pt idx="814" formatCode="0%">
                  <c:v>0.35582230285074218</c:v>
                </c:pt>
                <c:pt idx="815" formatCode="0%">
                  <c:v>0.35438539017338</c:v>
                </c:pt>
                <c:pt idx="816" formatCode="0%">
                  <c:v>0.35360301048840115</c:v>
                </c:pt>
                <c:pt idx="817" formatCode="0%">
                  <c:v>0.35230121178010221</c:v>
                </c:pt>
                <c:pt idx="818" formatCode="0%">
                  <c:v>0.35105439575560454</c:v>
                </c:pt>
                <c:pt idx="819" formatCode="0%">
                  <c:v>0.35076389594101576</c:v>
                </c:pt>
                <c:pt idx="820" formatCode="0%">
                  <c:v>0.35118071249525956</c:v>
                </c:pt>
                <c:pt idx="821" formatCode="0%">
                  <c:v>0.35236948593007467</c:v>
                </c:pt>
                <c:pt idx="822" formatCode="0%">
                  <c:v>0.35295545790630911</c:v>
                </c:pt>
                <c:pt idx="823" formatCode="0%">
                  <c:v>0.3536716671266088</c:v>
                </c:pt>
                <c:pt idx="824" formatCode="0%">
                  <c:v>0.35437429801456094</c:v>
                </c:pt>
                <c:pt idx="825" formatCode="0%">
                  <c:v>0.35264736363290389</c:v>
                </c:pt>
                <c:pt idx="826" formatCode="0%">
                  <c:v>0.35025470847798562</c:v>
                </c:pt>
                <c:pt idx="827" formatCode="0%">
                  <c:v>0.3458144025562454</c:v>
                </c:pt>
                <c:pt idx="828" formatCode="0%">
                  <c:v>0.34162998126381378</c:v>
                </c:pt>
                <c:pt idx="829" formatCode="0%">
                  <c:v>0.33928217285446571</c:v>
                </c:pt>
                <c:pt idx="830" formatCode="0%">
                  <c:v>0.33906931815161029</c:v>
                </c:pt>
                <c:pt idx="831" formatCode="0%">
                  <c:v>0.33763613473454074</c:v>
                </c:pt>
                <c:pt idx="832" formatCode="0%">
                  <c:v>0.33432187417705267</c:v>
                </c:pt>
                <c:pt idx="833" formatCode="0%">
                  <c:v>0.329665175536282</c:v>
                </c:pt>
                <c:pt idx="834" formatCode="0%">
                  <c:v>0.326200979590619</c:v>
                </c:pt>
                <c:pt idx="835" formatCode="0%">
                  <c:v>0.32301294015072712</c:v>
                </c:pt>
                <c:pt idx="836" formatCode="0%">
                  <c:v>0.31897730678176506</c:v>
                </c:pt>
                <c:pt idx="837" formatCode="0%">
                  <c:v>0.31789123143808501</c:v>
                </c:pt>
                <c:pt idx="838" formatCode="0%">
                  <c:v>0.31838301568641625</c:v>
                </c:pt>
                <c:pt idx="839" formatCode="0%">
                  <c:v>0.31767091821464438</c:v>
                </c:pt>
                <c:pt idx="840" formatCode="0%">
                  <c:v>0.31795443761894188</c:v>
                </c:pt>
                <c:pt idx="841" formatCode="0%">
                  <c:v>0.3194080841565915</c:v>
                </c:pt>
                <c:pt idx="842" formatCode="0%">
                  <c:v>0.31846744996432341</c:v>
                </c:pt>
                <c:pt idx="843" formatCode="0%">
                  <c:v>0.31629625549755125</c:v>
                </c:pt>
                <c:pt idx="844" formatCode="0%">
                  <c:v>0.31706601307077042</c:v>
                </c:pt>
                <c:pt idx="845" formatCode="0%">
                  <c:v>0.31764117975436224</c:v>
                </c:pt>
                <c:pt idx="846" formatCode="0%">
                  <c:v>0.31528830337589853</c:v>
                </c:pt>
                <c:pt idx="847" formatCode="0%">
                  <c:v>0.31529595314060133</c:v>
                </c:pt>
                <c:pt idx="848" formatCode="0%">
                  <c:v>0.31388677086028682</c:v>
                </c:pt>
                <c:pt idx="849" formatCode="0%">
                  <c:v>0.31329735648993606</c:v>
                </c:pt>
                <c:pt idx="850" formatCode="0%">
                  <c:v>0.31160274236414831</c:v>
                </c:pt>
                <c:pt idx="851" formatCode="0%">
                  <c:v>0.32322165601151437</c:v>
                </c:pt>
                <c:pt idx="852" formatCode="0%">
                  <c:v>0.32351816906563058</c:v>
                </c:pt>
                <c:pt idx="853" formatCode="0%">
                  <c:v>0.32306407142987564</c:v>
                </c:pt>
                <c:pt idx="854" formatCode="0%">
                  <c:v>0.3215252401279412</c:v>
                </c:pt>
                <c:pt idx="855" formatCode="0%">
                  <c:v>0.31965347666517679</c:v>
                </c:pt>
                <c:pt idx="856" formatCode="0%">
                  <c:v>0.316306491293948</c:v>
                </c:pt>
                <c:pt idx="857" formatCode="0%">
                  <c:v>0.3120865389424447</c:v>
                </c:pt>
                <c:pt idx="858" formatCode="0%">
                  <c:v>0.31317286036259534</c:v>
                </c:pt>
                <c:pt idx="859" formatCode="0%">
                  <c:v>0.31648838835827031</c:v>
                </c:pt>
                <c:pt idx="860" formatCode="0%">
                  <c:v>0.3198997769999547</c:v>
                </c:pt>
                <c:pt idx="861" formatCode="0%">
                  <c:v>0.32101745656103603</c:v>
                </c:pt>
                <c:pt idx="862" formatCode="0%">
                  <c:v>0.32023231222229187</c:v>
                </c:pt>
                <c:pt idx="863" formatCode="0%">
                  <c:v>0.32046829215625722</c:v>
                </c:pt>
                <c:pt idx="864" formatCode="0%">
                  <c:v>0.32289586874355469</c:v>
                </c:pt>
                <c:pt idx="865" formatCode="0%">
                  <c:v>0.32367019650837026</c:v>
                </c:pt>
                <c:pt idx="866" formatCode="0%">
                  <c:v>0.32451924794445403</c:v>
                </c:pt>
                <c:pt idx="867" formatCode="0%">
                  <c:v>0.32436374728990242</c:v>
                </c:pt>
                <c:pt idx="868" formatCode="0%">
                  <c:v>0.32343372040128893</c:v>
                </c:pt>
                <c:pt idx="869" formatCode="0%">
                  <c:v>0.32469122154645647</c:v>
                </c:pt>
                <c:pt idx="870" formatCode="0%">
                  <c:v>0.32842085562473755</c:v>
                </c:pt>
                <c:pt idx="871" formatCode="0%">
                  <c:v>0.32940248451741405</c:v>
                </c:pt>
                <c:pt idx="872" formatCode="0%">
                  <c:v>0.33056541506667375</c:v>
                </c:pt>
                <c:pt idx="873" formatCode="0%">
                  <c:v>0.33192989113564897</c:v>
                </c:pt>
                <c:pt idx="874" formatCode="0%">
                  <c:v>0.33352677469215436</c:v>
                </c:pt>
                <c:pt idx="875" formatCode="0%">
                  <c:v>0.33335658731336942</c:v>
                </c:pt>
                <c:pt idx="876" formatCode="0%">
                  <c:v>0.33400845955315839</c:v>
                </c:pt>
                <c:pt idx="877" formatCode="0%">
                  <c:v>0.33140325299033613</c:v>
                </c:pt>
                <c:pt idx="878" formatCode="0%">
                  <c:v>0.3336149942721775</c:v>
                </c:pt>
                <c:pt idx="879" formatCode="0%">
                  <c:v>0.33632925968589461</c:v>
                </c:pt>
                <c:pt idx="880" formatCode="0%">
                  <c:v>0.34072872747076349</c:v>
                </c:pt>
                <c:pt idx="881" formatCode="0%">
                  <c:v>0.34178021753817156</c:v>
                </c:pt>
                <c:pt idx="882" formatCode="0%">
                  <c:v>0.34452097859628261</c:v>
                </c:pt>
                <c:pt idx="883" formatCode="0%">
                  <c:v>0.34712648286297443</c:v>
                </c:pt>
                <c:pt idx="884" formatCode="0%">
                  <c:v>0.35021922912956943</c:v>
                </c:pt>
                <c:pt idx="885" formatCode="0%">
                  <c:v>0.35191991210194012</c:v>
                </c:pt>
                <c:pt idx="886" formatCode="0%">
                  <c:v>0.35406675394020992</c:v>
                </c:pt>
                <c:pt idx="887" formatCode="0%">
                  <c:v>0.35636482934423375</c:v>
                </c:pt>
                <c:pt idx="888" formatCode="0%">
                  <c:v>0.35919400845161437</c:v>
                </c:pt>
                <c:pt idx="889" formatCode="0%">
                  <c:v>0.36293564991930238</c:v>
                </c:pt>
                <c:pt idx="890" formatCode="0%">
                  <c:v>0.36536630277991899</c:v>
                </c:pt>
                <c:pt idx="891" formatCode="0%">
                  <c:v>0.36820798544982258</c:v>
                </c:pt>
                <c:pt idx="892" formatCode="0%">
                  <c:v>0.37102227936372345</c:v>
                </c:pt>
                <c:pt idx="893" formatCode="0%">
                  <c:v>0.374384149928432</c:v>
                </c:pt>
                <c:pt idx="894" formatCode="0%">
                  <c:v>0.37753852089603307</c:v>
                </c:pt>
                <c:pt idx="895" formatCode="0%">
                  <c:v>0.380845018540997</c:v>
                </c:pt>
                <c:pt idx="896" formatCode="0%">
                  <c:v>0.38088203305544993</c:v>
                </c:pt>
                <c:pt idx="897" formatCode="0%">
                  <c:v>0.38291793058498413</c:v>
                </c:pt>
                <c:pt idx="898" formatCode="0%">
                  <c:v>0.38468728391660795</c:v>
                </c:pt>
                <c:pt idx="899" formatCode="0%">
                  <c:v>0.38778350339501494</c:v>
                </c:pt>
                <c:pt idx="900" formatCode="0%">
                  <c:v>0.39124996725257433</c:v>
                </c:pt>
                <c:pt idx="901" formatCode="0%">
                  <c:v>0.3945464422005952</c:v>
                </c:pt>
                <c:pt idx="902" formatCode="0%">
                  <c:v>0.39589563613759793</c:v>
                </c:pt>
                <c:pt idx="903" formatCode="0%">
                  <c:v>0.39817862787889563</c:v>
                </c:pt>
                <c:pt idx="904" formatCode="0%">
                  <c:v>0.39930851329863026</c:v>
                </c:pt>
                <c:pt idx="905" formatCode="0%">
                  <c:v>0.4017624862956985</c:v>
                </c:pt>
                <c:pt idx="906" formatCode="0%">
                  <c:v>0.40430656433063067</c:v>
                </c:pt>
                <c:pt idx="907" formatCode="0%">
                  <c:v>0.40733391498053811</c:v>
                </c:pt>
                <c:pt idx="908" formatCode="0%">
                  <c:v>0.41037972327036032</c:v>
                </c:pt>
                <c:pt idx="909" formatCode="0%">
                  <c:v>0.41264981451064225</c:v>
                </c:pt>
                <c:pt idx="910" formatCode="0%">
                  <c:v>0.4168679806389281</c:v>
                </c:pt>
                <c:pt idx="911" formatCode="0%">
                  <c:v>0.41919523102217215</c:v>
                </c:pt>
                <c:pt idx="912" formatCode="0%">
                  <c:v>0.42009915920488455</c:v>
                </c:pt>
                <c:pt idx="913" formatCode="0%">
                  <c:v>0.42246908047610382</c:v>
                </c:pt>
                <c:pt idx="914" formatCode="0%">
                  <c:v>0.42554237675655204</c:v>
                </c:pt>
                <c:pt idx="915" formatCode="0%">
                  <c:v>0.42820057460816213</c:v>
                </c:pt>
                <c:pt idx="916" formatCode="0%">
                  <c:v>0.43269332293883728</c:v>
                </c:pt>
                <c:pt idx="917" formatCode="0%">
                  <c:v>0.43397612891292042</c:v>
                </c:pt>
                <c:pt idx="918" formatCode="0%">
                  <c:v>0.43706738666016742</c:v>
                </c:pt>
                <c:pt idx="919" formatCode="0%">
                  <c:v>0.44127513315301736</c:v>
                </c:pt>
                <c:pt idx="920" formatCode="0%">
                  <c:v>0.44624857399846468</c:v>
                </c:pt>
                <c:pt idx="921" formatCode="0%">
                  <c:v>0.44971950341406797</c:v>
                </c:pt>
                <c:pt idx="922" formatCode="0%">
                  <c:v>0.4537921915847451</c:v>
                </c:pt>
                <c:pt idx="923" formatCode="0%">
                  <c:v>0.45666195765301382</c:v>
                </c:pt>
                <c:pt idx="924" formatCode="0%">
                  <c:v>0.45867572586157485</c:v>
                </c:pt>
                <c:pt idx="925" formatCode="0%">
                  <c:v>0.46088310081999551</c:v>
                </c:pt>
                <c:pt idx="926" formatCode="0%">
                  <c:v>0.46257604349175674</c:v>
                </c:pt>
                <c:pt idx="927" formatCode="0%">
                  <c:v>0.46555566228790579</c:v>
                </c:pt>
                <c:pt idx="928" formatCode="0%">
                  <c:v>0.4704048613851089</c:v>
                </c:pt>
                <c:pt idx="929" formatCode="0%">
                  <c:v>0.47507117107175773</c:v>
                </c:pt>
                <c:pt idx="930" formatCode="0%">
                  <c:v>0.47822554203935885</c:v>
                </c:pt>
                <c:pt idx="931" formatCode="0%">
                  <c:v>0.48216862979213915</c:v>
                </c:pt>
                <c:pt idx="932" formatCode="0%">
                  <c:v>0.48596028550991904</c:v>
                </c:pt>
                <c:pt idx="933" formatCode="0%">
                  <c:v>0.48858573593587379</c:v>
                </c:pt>
                <c:pt idx="934" formatCode="0%">
                  <c:v>0.4909630998038329</c:v>
                </c:pt>
                <c:pt idx="935" formatCode="0%">
                  <c:v>0.49536723161599211</c:v>
                </c:pt>
                <c:pt idx="936" formatCode="0%">
                  <c:v>0.49965555662287903</c:v>
                </c:pt>
                <c:pt idx="937" formatCode="0%">
                  <c:v>0.50489544243161344</c:v>
                </c:pt>
                <c:pt idx="938" formatCode="0%">
                  <c:v>0.50873155526058611</c:v>
                </c:pt>
                <c:pt idx="939" formatCode="0%">
                  <c:v>0.51317180847558941</c:v>
                </c:pt>
                <c:pt idx="940" formatCode="0%">
                  <c:v>0.51671756079708431</c:v>
                </c:pt>
                <c:pt idx="941" formatCode="0%">
                  <c:v>0.57664626961303178</c:v>
                </c:pt>
                <c:pt idx="942" formatCode="0%">
                  <c:v>0.58077984578382058</c:v>
                </c:pt>
                <c:pt idx="943" formatCode="0%">
                  <c:v>0.6181917892972314</c:v>
                </c:pt>
                <c:pt idx="944" formatCode="0%">
                  <c:v>0.62124616949325817</c:v>
                </c:pt>
                <c:pt idx="945" formatCode="0%">
                  <c:v>0.62372999477367719</c:v>
                </c:pt>
                <c:pt idx="946" formatCode="0%">
                  <c:v>0.62663939519195933</c:v>
                </c:pt>
                <c:pt idx="947" formatCode="0%">
                  <c:v>0.63017013751486151</c:v>
                </c:pt>
                <c:pt idx="948" formatCode="0%">
                  <c:v>0.63361550040938053</c:v>
                </c:pt>
                <c:pt idx="949" formatCode="0%">
                  <c:v>0.63701360165902687</c:v>
                </c:pt>
                <c:pt idx="950" formatCode="0%">
                  <c:v>0.64063302842044312</c:v>
                </c:pt>
                <c:pt idx="951" formatCode="0%">
                  <c:v>0.64385365062605693</c:v>
                </c:pt>
                <c:pt idx="952" formatCode="0%">
                  <c:v>0.64684523562959562</c:v>
                </c:pt>
                <c:pt idx="953" formatCode="0%">
                  <c:v>0.64914122616757186</c:v>
                </c:pt>
                <c:pt idx="954" formatCode="0%">
                  <c:v>0.65091976228604465</c:v>
                </c:pt>
                <c:pt idx="955" formatCode="0%">
                  <c:v>0.65280339772668183</c:v>
                </c:pt>
                <c:pt idx="956" formatCode="0%">
                  <c:v>0.65593004747757222</c:v>
                </c:pt>
                <c:pt idx="957" formatCode="0%">
                  <c:v>0.65902849447534506</c:v>
                </c:pt>
                <c:pt idx="958" formatCode="0%">
                  <c:v>0.66108112610067848</c:v>
                </c:pt>
                <c:pt idx="959" formatCode="0%">
                  <c:v>0.6631601978070597</c:v>
                </c:pt>
                <c:pt idx="960" formatCode="0%">
                  <c:v>0.66607995392375208</c:v>
                </c:pt>
                <c:pt idx="961" formatCode="0%">
                  <c:v>0.66871889434631737</c:v>
                </c:pt>
                <c:pt idx="962" formatCode="0%">
                  <c:v>0.67119842311356626</c:v>
                </c:pt>
                <c:pt idx="963" formatCode="0%">
                  <c:v>0.67409372215528962</c:v>
                </c:pt>
                <c:pt idx="964" formatCode="0%">
                  <c:v>0.67706327375795516</c:v>
                </c:pt>
                <c:pt idx="965" formatCode="0%">
                  <c:v>0.67924314827333043</c:v>
                </c:pt>
                <c:pt idx="966" formatCode="0%">
                  <c:v>0.68228871510900801</c:v>
                </c:pt>
                <c:pt idx="967" formatCode="0%">
                  <c:v>0.68412200422865033</c:v>
                </c:pt>
                <c:pt idx="968" formatCode="0%">
                  <c:v>0.68679212191345107</c:v>
                </c:pt>
                <c:pt idx="969" formatCode="0%">
                  <c:v>0.69084219149493098</c:v>
                </c:pt>
                <c:pt idx="970" formatCode="0%">
                  <c:v>0.69439606888874983</c:v>
                </c:pt>
                <c:pt idx="971" formatCode="0%">
                  <c:v>0.69840052933042251</c:v>
                </c:pt>
                <c:pt idx="972" formatCode="0%">
                  <c:v>0.70090396433761859</c:v>
                </c:pt>
                <c:pt idx="973" formatCode="0%">
                  <c:v>0.70300253560377235</c:v>
                </c:pt>
                <c:pt idx="974" formatCode="0%">
                  <c:v>0.79202842891681302</c:v>
                </c:pt>
                <c:pt idx="975" formatCode="0%">
                  <c:v>0.7964545070970771</c:v>
                </c:pt>
                <c:pt idx="976" formatCode="0%">
                  <c:v>0.80054754610797307</c:v>
                </c:pt>
                <c:pt idx="977" formatCode="0%">
                  <c:v>0.80614755640866409</c:v>
                </c:pt>
                <c:pt idx="978" formatCode="0%">
                  <c:v>0.81277379781526304</c:v>
                </c:pt>
                <c:pt idx="979" formatCode="0%">
                  <c:v>0.81613922671523842</c:v>
                </c:pt>
                <c:pt idx="980" formatCode="0%">
                  <c:v>0.81895619334000902</c:v>
                </c:pt>
                <c:pt idx="981" formatCode="0%">
                  <c:v>0.82170977109685528</c:v>
                </c:pt>
                <c:pt idx="982" formatCode="0%">
                  <c:v>0.8260946217516919</c:v>
                </c:pt>
                <c:pt idx="983" formatCode="0%">
                  <c:v>0.82931098776693901</c:v>
                </c:pt>
                <c:pt idx="984" formatCode="0%">
                  <c:v>0.8339937165784671</c:v>
                </c:pt>
                <c:pt idx="985" formatCode="0%">
                  <c:v>0.83875914805361518</c:v>
                </c:pt>
                <c:pt idx="986" formatCode="0%">
                  <c:v>0.84309039054475798</c:v>
                </c:pt>
                <c:pt idx="987" formatCode="0%">
                  <c:v>0.84526084023925341</c:v>
                </c:pt>
                <c:pt idx="988" formatCode="0%">
                  <c:v>0.84860039360525175</c:v>
                </c:pt>
                <c:pt idx="989" formatCode="0%">
                  <c:v>0.85014586868005559</c:v>
                </c:pt>
                <c:pt idx="990" formatCode="0%">
                  <c:v>0.85386872660678403</c:v>
                </c:pt>
                <c:pt idx="991" formatCode="0%">
                  <c:v>0.8587714593603073</c:v>
                </c:pt>
                <c:pt idx="992" formatCode="0%">
                  <c:v>0.86409216246170673</c:v>
                </c:pt>
                <c:pt idx="993" formatCode="0%">
                  <c:v>0.86658426113836506</c:v>
                </c:pt>
                <c:pt idx="994" formatCode="0%">
                  <c:v>0.86695939447783921</c:v>
                </c:pt>
                <c:pt idx="995" formatCode="0%">
                  <c:v>0.86964277401571455</c:v>
                </c:pt>
                <c:pt idx="996" formatCode="0%">
                  <c:v>0.87412419364902971</c:v>
                </c:pt>
                <c:pt idx="997" formatCode="0%">
                  <c:v>0.88016458325285929</c:v>
                </c:pt>
                <c:pt idx="998" formatCode="0%">
                  <c:v>0.88716595799893228</c:v>
                </c:pt>
                <c:pt idx="999" formatCode="0%">
                  <c:v>0.89606181801254114</c:v>
                </c:pt>
                <c:pt idx="1000" formatCode="0%">
                  <c:v>0.90256363400456208</c:v>
                </c:pt>
                <c:pt idx="1001" formatCode="0%">
                  <c:v>0.90411368991552443</c:v>
                </c:pt>
                <c:pt idx="1002" formatCode="0%">
                  <c:v>0.9086062521232795</c:v>
                </c:pt>
                <c:pt idx="1003" formatCode="0%">
                  <c:v>0.91065103833937011</c:v>
                </c:pt>
                <c:pt idx="1004" formatCode="0%">
                  <c:v>0.92873679852541646</c:v>
                </c:pt>
                <c:pt idx="1005" formatCode="0%">
                  <c:v>0.91583122119644511</c:v>
                </c:pt>
                <c:pt idx="1006" formatCode="0%">
                  <c:v>0.91583122119644511</c:v>
                </c:pt>
                <c:pt idx="1007" formatCode="0%">
                  <c:v>0.94449561774927926</c:v>
                </c:pt>
                <c:pt idx="1008" formatCode="0%">
                  <c:v>0.94039849312775536</c:v>
                </c:pt>
                <c:pt idx="1009" formatCode="0%">
                  <c:v>0.93598863358362039</c:v>
                </c:pt>
                <c:pt idx="1010" formatCode="0%">
                  <c:v>0.93522858620044158</c:v>
                </c:pt>
                <c:pt idx="1011" formatCode="0%">
                  <c:v>0.93072636709483869</c:v>
                </c:pt>
                <c:pt idx="1012" formatCode="0%">
                  <c:v>0.93079000357552832</c:v>
                </c:pt>
                <c:pt idx="1013" formatCode="0%">
                  <c:v>0.93103130221534192</c:v>
                </c:pt>
                <c:pt idx="1014" formatCode="0%">
                  <c:v>0.93017171450050073</c:v>
                </c:pt>
                <c:pt idx="1015" formatCode="0%">
                  <c:v>0.92680913314732671</c:v>
                </c:pt>
                <c:pt idx="1016" formatCode="0%">
                  <c:v>0.92680913314732671</c:v>
                </c:pt>
                <c:pt idx="1017" formatCode="0%">
                  <c:v>0.92633247857406742</c:v>
                </c:pt>
                <c:pt idx="1018" formatCode="0%">
                  <c:v>0.92552674663568535</c:v>
                </c:pt>
                <c:pt idx="1019" formatCode="0%">
                  <c:v>0.92500180757318695</c:v>
                </c:pt>
                <c:pt idx="1020" formatCode="0%">
                  <c:v>0.92520522145990514</c:v>
                </c:pt>
                <c:pt idx="1021" formatCode="0%">
                  <c:v>0.9236317661426191</c:v>
                </c:pt>
                <c:pt idx="1022" formatCode="0%">
                  <c:v>0.9254643482188224</c:v>
                </c:pt>
                <c:pt idx="1023" formatCode="0%">
                  <c:v>0.92765832112602398</c:v>
                </c:pt>
                <c:pt idx="1024" formatCode="0%">
                  <c:v>0.92547858595282884</c:v>
                </c:pt>
                <c:pt idx="1025" formatCode="0%">
                  <c:v>0.92480446019921936</c:v>
                </c:pt>
                <c:pt idx="1026" formatCode="0%">
                  <c:v>0.92390612108660408</c:v>
                </c:pt>
                <c:pt idx="1027" formatCode="0%">
                  <c:v>0.92384446550803712</c:v>
                </c:pt>
                <c:pt idx="1028" formatCode="0%">
                  <c:v>0.92248432858808238</c:v>
                </c:pt>
                <c:pt idx="1029" formatCode="0%">
                  <c:v>0.92107986898313365</c:v>
                </c:pt>
                <c:pt idx="1030" formatCode="0%">
                  <c:v>0.91899695040118223</c:v>
                </c:pt>
                <c:pt idx="1031" formatCode="0%">
                  <c:v>0.91877595600812567</c:v>
                </c:pt>
                <c:pt idx="1032" formatCode="0%">
                  <c:v>0.92162040764984787</c:v>
                </c:pt>
                <c:pt idx="1033" formatCode="0%">
                  <c:v>0.92034260197436524</c:v>
                </c:pt>
                <c:pt idx="1034" formatCode="0%">
                  <c:v>0.91896674164381209</c:v>
                </c:pt>
                <c:pt idx="1035" formatCode="0%">
                  <c:v>0.92024318544908534</c:v>
                </c:pt>
                <c:pt idx="1036" formatCode="0%">
                  <c:v>0.91740467651373114</c:v>
                </c:pt>
                <c:pt idx="1037" formatCode="0%">
                  <c:v>0.91246616371561773</c:v>
                </c:pt>
                <c:pt idx="1038" formatCode="0%">
                  <c:v>0.91041852995272576</c:v>
                </c:pt>
                <c:pt idx="1039" formatCode="0%">
                  <c:v>0.9113735723886015</c:v>
                </c:pt>
                <c:pt idx="1040" formatCode="0%">
                  <c:v>0.91199805178276239</c:v>
                </c:pt>
                <c:pt idx="1041" formatCode="0%">
                  <c:v>0.91312221373735813</c:v>
                </c:pt>
                <c:pt idx="1042" formatCode="0%">
                  <c:v>0.91015606042147656</c:v>
                </c:pt>
                <c:pt idx="1043" formatCode="0%">
                  <c:v>0.90783419552098232</c:v>
                </c:pt>
                <c:pt idx="1044" formatCode="0%">
                  <c:v>0.90854868215534035</c:v>
                </c:pt>
                <c:pt idx="1045" formatCode="0%">
                  <c:v>0.90353737120422017</c:v>
                </c:pt>
                <c:pt idx="1046" formatCode="0%">
                  <c:v>0.8984704711872834</c:v>
                </c:pt>
                <c:pt idx="1047" formatCode="0%">
                  <c:v>0.8963806194479027</c:v>
                </c:pt>
                <c:pt idx="1048" formatCode="0%">
                  <c:v>0.89420459846618749</c:v>
                </c:pt>
                <c:pt idx="1049" formatCode="0%">
                  <c:v>0.89127744416084542</c:v>
                </c:pt>
                <c:pt idx="1050" formatCode="0%">
                  <c:v>0.88743139888336553</c:v>
                </c:pt>
                <c:pt idx="1051" formatCode="0%">
                  <c:v>0.88417157682780323</c:v>
                </c:pt>
                <c:pt idx="1052" formatCode="0%">
                  <c:v>0.8829205133309761</c:v>
                </c:pt>
                <c:pt idx="1053" formatCode="0%">
                  <c:v>0.88351267925926147</c:v>
                </c:pt>
                <c:pt idx="1054" formatCode="0%">
                  <c:v>0.88515447569977845</c:v>
                </c:pt>
                <c:pt idx="1055" formatCode="0%">
                  <c:v>0.88466655474569678</c:v>
                </c:pt>
                <c:pt idx="1056" formatCode="0%">
                  <c:v>0.87855386221439113</c:v>
                </c:pt>
                <c:pt idx="1057" formatCode="0%">
                  <c:v>0.87669812834462957</c:v>
                </c:pt>
                <c:pt idx="1058" formatCode="0%">
                  <c:v>0.87483447086637722</c:v>
                </c:pt>
                <c:pt idx="1059" formatCode="0%">
                  <c:v>0.87316085618551542</c:v>
                </c:pt>
                <c:pt idx="1060" formatCode="0%">
                  <c:v>0.87060796857496869</c:v>
                </c:pt>
                <c:pt idx="1061" formatCode="0%">
                  <c:v>0.86935839075473365</c:v>
                </c:pt>
                <c:pt idx="1062" formatCode="0%">
                  <c:v>0.86779174478849419</c:v>
                </c:pt>
                <c:pt idx="1063" formatCode="0%">
                  <c:v>0.86351782465252502</c:v>
                </c:pt>
                <c:pt idx="1064" formatCode="0%">
                  <c:v>0.85732874358311517</c:v>
                </c:pt>
                <c:pt idx="1065" formatCode="0%">
                  <c:v>0.85508524812284759</c:v>
                </c:pt>
                <c:pt idx="1066" formatCode="0%">
                  <c:v>0.8518852245501124</c:v>
                </c:pt>
                <c:pt idx="1067" formatCode="0%">
                  <c:v>0.84826178314866374</c:v>
                </c:pt>
                <c:pt idx="1068" formatCode="0%">
                  <c:v>0.84982657201916334</c:v>
                </c:pt>
                <c:pt idx="1069" formatCode="0%">
                  <c:v>0.84939981141811793</c:v>
                </c:pt>
                <c:pt idx="1070" formatCode="0%">
                  <c:v>0.84787625007304579</c:v>
                </c:pt>
                <c:pt idx="1071" formatCode="0%">
                  <c:v>0.84439295749677368</c:v>
                </c:pt>
                <c:pt idx="1072" formatCode="0%">
                  <c:v>0.8433351557632861</c:v>
                </c:pt>
                <c:pt idx="1073" formatCode="0%">
                  <c:v>0.83867867390488304</c:v>
                </c:pt>
                <c:pt idx="1074" formatCode="0%">
                  <c:v>0.83379389307684615</c:v>
                </c:pt>
                <c:pt idx="1075" formatCode="0%">
                  <c:v>0.82982688896350298</c:v>
                </c:pt>
                <c:pt idx="1076" formatCode="0%">
                  <c:v>0.82625074160023226</c:v>
                </c:pt>
                <c:pt idx="1077" formatCode="0%">
                  <c:v>0.82569225100803156</c:v>
                </c:pt>
                <c:pt idx="1078" formatCode="0%">
                  <c:v>0.82464398236600933</c:v>
                </c:pt>
                <c:pt idx="1079" formatCode="0%">
                  <c:v>0.82136137993603675</c:v>
                </c:pt>
                <c:pt idx="1080" formatCode="0%">
                  <c:v>0.82286723696838782</c:v>
                </c:pt>
                <c:pt idx="1081" formatCode="0%">
                  <c:v>0.81909733261624673</c:v>
                </c:pt>
                <c:pt idx="1082" formatCode="0%">
                  <c:v>0.81889973762951396</c:v>
                </c:pt>
                <c:pt idx="1083" formatCode="0%">
                  <c:v>0.82048161178082113</c:v>
                </c:pt>
                <c:pt idx="1084" formatCode="0%">
                  <c:v>0.81633434557431794</c:v>
                </c:pt>
                <c:pt idx="1085" formatCode="0%">
                  <c:v>0.81018686344948354</c:v>
                </c:pt>
                <c:pt idx="1086" formatCode="0%">
                  <c:v>0.80551936282302328</c:v>
                </c:pt>
                <c:pt idx="1087" formatCode="0%">
                  <c:v>0.80133569754001677</c:v>
                </c:pt>
                <c:pt idx="1088" formatCode="0%">
                  <c:v>0.80218835209742867</c:v>
                </c:pt>
                <c:pt idx="1089" formatCode="0%">
                  <c:v>0.80098668734728484</c:v>
                </c:pt>
                <c:pt idx="1090" formatCode="0%">
                  <c:v>0.79903921294796865</c:v>
                </c:pt>
                <c:pt idx="1091" formatCode="0%">
                  <c:v>0.79622719857850466</c:v>
                </c:pt>
                <c:pt idx="1092" formatCode="0%">
                  <c:v>0.79525271854055057</c:v>
                </c:pt>
                <c:pt idx="1093" formatCode="0%">
                  <c:v>0.7960172229535053</c:v>
                </c:pt>
                <c:pt idx="1094" formatCode="0%">
                  <c:v>0.79669840567092665</c:v>
                </c:pt>
                <c:pt idx="1095" formatCode="0%">
                  <c:v>0.8009558595580013</c:v>
                </c:pt>
                <c:pt idx="1096" formatCode="0%">
                  <c:v>0.80314636588648836</c:v>
                </c:pt>
                <c:pt idx="1097" formatCode="0%">
                  <c:v>0.80394627892488524</c:v>
                </c:pt>
                <c:pt idx="1098" formatCode="0%">
                  <c:v>0.80406575208415676</c:v>
                </c:pt>
                <c:pt idx="1099" formatCode="0%">
                  <c:v>0.7985550061853669</c:v>
                </c:pt>
                <c:pt idx="1100" formatCode="0%">
                  <c:v>0.79538048672746064</c:v>
                </c:pt>
                <c:pt idx="1101" formatCode="0%">
                  <c:v>0.79029167298079228</c:v>
                </c:pt>
                <c:pt idx="1102" formatCode="0%">
                  <c:v>0.78436889944049426</c:v>
                </c:pt>
                <c:pt idx="1103" formatCode="0%">
                  <c:v>0.78203329203152405</c:v>
                </c:pt>
                <c:pt idx="1104" formatCode="0%">
                  <c:v>0.78253631736429086</c:v>
                </c:pt>
                <c:pt idx="1105" formatCode="0%">
                  <c:v>0.77563237824137488</c:v>
                </c:pt>
                <c:pt idx="1106" formatCode="0%">
                  <c:v>0.77055470706914631</c:v>
                </c:pt>
                <c:pt idx="1107" formatCode="0%">
                  <c:v>0.76801036209900353</c:v>
                </c:pt>
                <c:pt idx="1108" formatCode="0%">
                  <c:v>0.76884357905433709</c:v>
                </c:pt>
                <c:pt idx="1109" formatCode="0%">
                  <c:v>0.76358019830811152</c:v>
                </c:pt>
                <c:pt idx="1110" formatCode="0%">
                  <c:v>0.75781255416529236</c:v>
                </c:pt>
                <c:pt idx="1111" formatCode="0%">
                  <c:v>0.75590952625735297</c:v>
                </c:pt>
                <c:pt idx="1112" formatCode="0%">
                  <c:v>0.75220189651569225</c:v>
                </c:pt>
                <c:pt idx="1113" formatCode="0%">
                  <c:v>0.74749279694465665</c:v>
                </c:pt>
                <c:pt idx="1114" formatCode="0%">
                  <c:v>0.74199666019902133</c:v>
                </c:pt>
                <c:pt idx="1115" formatCode="0%">
                  <c:v>0.73831292508921498</c:v>
                </c:pt>
                <c:pt idx="1116" formatCode="0%">
                  <c:v>0.73217708076435095</c:v>
                </c:pt>
                <c:pt idx="1117" formatCode="0%">
                  <c:v>0.72835270160383736</c:v>
                </c:pt>
                <c:pt idx="1118" formatCode="0%">
                  <c:v>0.72533380676894066</c:v>
                </c:pt>
                <c:pt idx="1119" formatCode="0%">
                  <c:v>0.71974716755757739</c:v>
                </c:pt>
                <c:pt idx="1120" formatCode="0%">
                  <c:v>0.71172711389493892</c:v>
                </c:pt>
                <c:pt idx="1121" formatCode="0%">
                  <c:v>0.70613341771976379</c:v>
                </c:pt>
                <c:pt idx="1122" formatCode="0%">
                  <c:v>0.70383829499792505</c:v>
                </c:pt>
                <c:pt idx="1123" formatCode="0%">
                  <c:v>0.69792158797037762</c:v>
                </c:pt>
                <c:pt idx="1124" formatCode="0%">
                  <c:v>0.69555812412530793</c:v>
                </c:pt>
                <c:pt idx="1125" formatCode="0%">
                  <c:v>0.69204957504697218</c:v>
                </c:pt>
                <c:pt idx="1126" formatCode="0%">
                  <c:v>0.68526857566204236</c:v>
                </c:pt>
                <c:pt idx="1127" formatCode="0%">
                  <c:v>0.67962535693380133</c:v>
                </c:pt>
                <c:pt idx="1128" formatCode="0%">
                  <c:v>0.67402943224373812</c:v>
                </c:pt>
                <c:pt idx="1129" formatCode="0%">
                  <c:v>0.66928343837066839</c:v>
                </c:pt>
                <c:pt idx="1130" formatCode="0%">
                  <c:v>0.6641583493538793</c:v>
                </c:pt>
                <c:pt idx="1131" formatCode="0%">
                  <c:v>0.66004092048559837</c:v>
                </c:pt>
                <c:pt idx="1132" formatCode="0%">
                  <c:v>0.65589761608334052</c:v>
                </c:pt>
                <c:pt idx="1133" formatCode="0%">
                  <c:v>0.65017330417445418</c:v>
                </c:pt>
                <c:pt idx="1134" formatCode="0%">
                  <c:v>0.64558553485842984</c:v>
                </c:pt>
                <c:pt idx="1135" formatCode="0%">
                  <c:v>0.6396867797563689</c:v>
                </c:pt>
                <c:pt idx="1136" formatCode="0%">
                  <c:v>0.63259985479987446</c:v>
                </c:pt>
                <c:pt idx="1137" formatCode="0%">
                  <c:v>0.62589672962964071</c:v>
                </c:pt>
                <c:pt idx="1138" formatCode="0%">
                  <c:v>0.61809135623454281</c:v>
                </c:pt>
                <c:pt idx="1139" formatCode="0%">
                  <c:v>0.61101396436951361</c:v>
                </c:pt>
                <c:pt idx="1140" formatCode="0%">
                  <c:v>0.60418604236555373</c:v>
                </c:pt>
                <c:pt idx="1141" formatCode="0%">
                  <c:v>0.60080600431242392</c:v>
                </c:pt>
                <c:pt idx="1142" formatCode="0%">
                  <c:v>0.59559140328096816</c:v>
                </c:pt>
                <c:pt idx="1143" formatCode="0%">
                  <c:v>0.5912846744535929</c:v>
                </c:pt>
                <c:pt idx="1144" formatCode="0%">
                  <c:v>0.58681984487555483</c:v>
                </c:pt>
                <c:pt idx="1145" formatCode="0%">
                  <c:v>0.58155881645059981</c:v>
                </c:pt>
                <c:pt idx="1146" formatCode="0%">
                  <c:v>0.57717619431065104</c:v>
                </c:pt>
                <c:pt idx="1147" formatCode="0%">
                  <c:v>0.57080709876084668</c:v>
                </c:pt>
                <c:pt idx="1148" formatCode="0%">
                  <c:v>0.5643462626814878</c:v>
                </c:pt>
                <c:pt idx="1149" formatCode="0%">
                  <c:v>0.55644184418025822</c:v>
                </c:pt>
                <c:pt idx="1150" formatCode="0%">
                  <c:v>0.54859214810016632</c:v>
                </c:pt>
                <c:pt idx="1151" formatCode="0%">
                  <c:v>0.5433864611282625</c:v>
                </c:pt>
                <c:pt idx="1152" formatCode="0%">
                  <c:v>0.53580641534961437</c:v>
                </c:pt>
                <c:pt idx="1153" formatCode="0%">
                  <c:v>0.52779663761673712</c:v>
                </c:pt>
                <c:pt idx="1154" formatCode="0%">
                  <c:v>0.51901653657091973</c:v>
                </c:pt>
                <c:pt idx="1155" formatCode="0%">
                  <c:v>0.50962359393091206</c:v>
                </c:pt>
                <c:pt idx="1156" formatCode="0%">
                  <c:v>0.50097324197412751</c:v>
                </c:pt>
                <c:pt idx="1157" formatCode="0%">
                  <c:v>0.49389188830485292</c:v>
                </c:pt>
                <c:pt idx="1158" formatCode="0%">
                  <c:v>0.487389700893684</c:v>
                </c:pt>
                <c:pt idx="1159" formatCode="0%">
                  <c:v>0.482425560174359</c:v>
                </c:pt>
                <c:pt idx="1160" formatCode="0%">
                  <c:v>0.47839392912926476</c:v>
                </c:pt>
                <c:pt idx="1161" formatCode="0%">
                  <c:v>0.47076844640817878</c:v>
                </c:pt>
                <c:pt idx="1162" formatCode="0%">
                  <c:v>0.46608361288814543</c:v>
                </c:pt>
                <c:pt idx="1163" formatCode="0%">
                  <c:v>0.46068751169970318</c:v>
                </c:pt>
                <c:pt idx="1164" formatCode="0%">
                  <c:v>0.4568139814052718</c:v>
                </c:pt>
                <c:pt idx="1165" formatCode="0%">
                  <c:v>0.45238406522714508</c:v>
                </c:pt>
                <c:pt idx="1166" formatCode="0%">
                  <c:v>0.45002617266929534</c:v>
                </c:pt>
                <c:pt idx="1167" formatCode="0%">
                  <c:v>0.44948761490470374</c:v>
                </c:pt>
                <c:pt idx="1168" formatCode="0%">
                  <c:v>0.44439186800060615</c:v>
                </c:pt>
                <c:pt idx="1169" formatCode="0%">
                  <c:v>0.43993100022681331</c:v>
                </c:pt>
                <c:pt idx="1170" formatCode="0%">
                  <c:v>0.43614264872365527</c:v>
                </c:pt>
                <c:pt idx="1171" formatCode="0%">
                  <c:v>0.43266950827076156</c:v>
                </c:pt>
                <c:pt idx="1172" formatCode="0%">
                  <c:v>0.43007217416883825</c:v>
                </c:pt>
                <c:pt idx="1173" formatCode="0%">
                  <c:v>0.43100604571327833</c:v>
                </c:pt>
                <c:pt idx="1174" formatCode="0%">
                  <c:v>0.43220993897831012</c:v>
                </c:pt>
                <c:pt idx="1175" formatCode="0%">
                  <c:v>0.42897760193969942</c:v>
                </c:pt>
                <c:pt idx="1176" formatCode="0%">
                  <c:v>0.42567098107148982</c:v>
                </c:pt>
                <c:pt idx="1177" formatCode="0%">
                  <c:v>0.42150737242247494</c:v>
                </c:pt>
                <c:pt idx="1178" formatCode="0%">
                  <c:v>0.41880356483145992</c:v>
                </c:pt>
                <c:pt idx="1179" formatCode="0%">
                  <c:v>0.41939882591931194</c:v>
                </c:pt>
                <c:pt idx="1180" formatCode="0%">
                  <c:v>0.42075475342225604</c:v>
                </c:pt>
                <c:pt idx="1181" formatCode="0%">
                  <c:v>0.42218199340161505</c:v>
                </c:pt>
                <c:pt idx="1182" formatCode="0%">
                  <c:v>0.41969497078664592</c:v>
                </c:pt>
                <c:pt idx="1183" formatCode="0%">
                  <c:v>0.4165781451030614</c:v>
                </c:pt>
                <c:pt idx="1184" formatCode="0%">
                  <c:v>0.41355702175327669</c:v>
                </c:pt>
                <c:pt idx="1185" formatCode="0%">
                  <c:v>0.41091226980679274</c:v>
                </c:pt>
                <c:pt idx="1186" formatCode="0%">
                  <c:v>0.32689393247758686</c:v>
                </c:pt>
                <c:pt idx="1187" formatCode="0%">
                  <c:v>0.32637959942555061</c:v>
                </c:pt>
                <c:pt idx="1188" formatCode="0%">
                  <c:v>0.32638545426831927</c:v>
                </c:pt>
                <c:pt idx="1189" formatCode="0%">
                  <c:v>0.32659057223446997</c:v>
                </c:pt>
                <c:pt idx="1190" formatCode="0%">
                  <c:v>0.32486299667921259</c:v>
                </c:pt>
                <c:pt idx="1191" formatCode="0%">
                  <c:v>0.32399608301095306</c:v>
                </c:pt>
                <c:pt idx="1192" formatCode="0%">
                  <c:v>0.32577774143585353</c:v>
                </c:pt>
                <c:pt idx="1193" formatCode="0%">
                  <c:v>0.32611345216613302</c:v>
                </c:pt>
                <c:pt idx="1194" formatCode="0%">
                  <c:v>0.32816691422397332</c:v>
                </c:pt>
                <c:pt idx="1195" formatCode="0%">
                  <c:v>0.33110703764008953</c:v>
                </c:pt>
                <c:pt idx="1196" formatCode="0%">
                  <c:v>0.33308031812238564</c:v>
                </c:pt>
                <c:pt idx="1197" formatCode="0%">
                  <c:v>0.33534693615085565</c:v>
                </c:pt>
                <c:pt idx="1198" formatCode="0%">
                  <c:v>0.33346753162210502</c:v>
                </c:pt>
                <c:pt idx="1199" formatCode="0%">
                  <c:v>0.33522239669874193</c:v>
                </c:pt>
                <c:pt idx="1200" formatCode="0%">
                  <c:v>0.33827683840078243</c:v>
                </c:pt>
                <c:pt idx="1201" formatCode="0%">
                  <c:v>0.34246721883457265</c:v>
                </c:pt>
                <c:pt idx="1202" formatCode="0%">
                  <c:v>0.34869200827854918</c:v>
                </c:pt>
                <c:pt idx="1203" formatCode="0%">
                  <c:v>0.35439333508515519</c:v>
                </c:pt>
                <c:pt idx="1204" formatCode="0%">
                  <c:v>0.35862082926802158</c:v>
                </c:pt>
                <c:pt idx="1205" formatCode="0%">
                  <c:v>0.36149158768252221</c:v>
                </c:pt>
                <c:pt idx="1206" formatCode="0%">
                  <c:v>0.36255766523954047</c:v>
                </c:pt>
                <c:pt idx="1207" formatCode="0%">
                  <c:v>0.36208540766774022</c:v>
                </c:pt>
                <c:pt idx="1208" formatCode="0%">
                  <c:v>0.36460963877803276</c:v>
                </c:pt>
                <c:pt idx="1209" formatCode="0%">
                  <c:v>0.36778028422383835</c:v>
                </c:pt>
                <c:pt idx="1210" formatCode="0%">
                  <c:v>0.36745022986708115</c:v>
                </c:pt>
                <c:pt idx="1211" formatCode="0%">
                  <c:v>0.3692364530846487</c:v>
                </c:pt>
                <c:pt idx="1212" formatCode="0%">
                  <c:v>0.36963438392367348</c:v>
                </c:pt>
                <c:pt idx="1213" formatCode="0%">
                  <c:v>0.37230895548811127</c:v>
                </c:pt>
                <c:pt idx="1214" formatCode="0%">
                  <c:v>0.37935223210422647</c:v>
                </c:pt>
                <c:pt idx="1215" formatCode="0%">
                  <c:v>0.38558307486021809</c:v>
                </c:pt>
                <c:pt idx="1216" formatCode="0%">
                  <c:v>0.42574857142857148</c:v>
                </c:pt>
                <c:pt idx="1217" formatCode="0%">
                  <c:v>0.43120366576819408</c:v>
                </c:pt>
                <c:pt idx="1218" formatCode="0%">
                  <c:v>0.43463946091644207</c:v>
                </c:pt>
                <c:pt idx="1219" formatCode="0%">
                  <c:v>0.42935385444743934</c:v>
                </c:pt>
                <c:pt idx="1220" formatCode="0%">
                  <c:v>0.42950016172506739</c:v>
                </c:pt>
                <c:pt idx="1221" formatCode="0%">
                  <c:v>0.43306253369272241</c:v>
                </c:pt>
                <c:pt idx="1222" formatCode="0%">
                  <c:v>0.44007493261455527</c:v>
                </c:pt>
                <c:pt idx="1223" formatCode="0%">
                  <c:v>0.44665132075471697</c:v>
                </c:pt>
                <c:pt idx="1224" formatCode="0%">
                  <c:v>0.45288754716981133</c:v>
                </c:pt>
                <c:pt idx="1225" formatCode="0%">
                  <c:v>0.46266867924528304</c:v>
                </c:pt>
                <c:pt idx="1226" formatCode="0%">
                  <c:v>0.47299320754716978</c:v>
                </c:pt>
                <c:pt idx="1227" formatCode="0%">
                  <c:v>0.48202145552560643</c:v>
                </c:pt>
                <c:pt idx="1228" formatCode="0%">
                  <c:v>0.49234598382749328</c:v>
                </c:pt>
                <c:pt idx="1229" formatCode="0%">
                  <c:v>0.50171741239892187</c:v>
                </c:pt>
                <c:pt idx="1230" formatCode="0%">
                  <c:v>0.51178318059299188</c:v>
                </c:pt>
                <c:pt idx="1231" formatCode="0%">
                  <c:v>0.51604172506738544</c:v>
                </c:pt>
                <c:pt idx="1232" formatCode="0%">
                  <c:v>0.52297336927223725</c:v>
                </c:pt>
                <c:pt idx="1233" formatCode="0%">
                  <c:v>0.53229584905660376</c:v>
                </c:pt>
                <c:pt idx="1234" formatCode="0%">
                  <c:v>0.54066350404312669</c:v>
                </c:pt>
                <c:pt idx="1235" formatCode="0%">
                  <c:v>0.54931331536388139</c:v>
                </c:pt>
                <c:pt idx="1236" formatCode="0%">
                  <c:v>0.55746425876010774</c:v>
                </c:pt>
                <c:pt idx="1237" formatCode="0%">
                  <c:v>0.57003564618184965</c:v>
                </c:pt>
                <c:pt idx="1238" formatCode="0%">
                  <c:v>0.57978785646181852</c:v>
                </c:pt>
                <c:pt idx="1239" formatCode="0%">
                  <c:v>0.58951612204212522</c:v>
                </c:pt>
                <c:pt idx="1240" formatCode="0%">
                  <c:v>0.60043750541735286</c:v>
                </c:pt>
                <c:pt idx="1241" formatCode="0%">
                  <c:v>0.61109885585507495</c:v>
                </c:pt>
                <c:pt idx="1242" formatCode="0%">
                  <c:v>0.62176020629279705</c:v>
                </c:pt>
                <c:pt idx="1243" formatCode="0%">
                  <c:v>0.63114609517205511</c:v>
                </c:pt>
                <c:pt idx="1244" formatCode="0%">
                  <c:v>0.64110221461385108</c:v>
                </c:pt>
                <c:pt idx="1245" formatCode="0%">
                  <c:v>0.64968449336916012</c:v>
                </c:pt>
                <c:pt idx="1246" formatCode="0%">
                  <c:v>0.65764821877437807</c:v>
                </c:pt>
                <c:pt idx="1247" formatCode="0%">
                  <c:v>0.66512199878651301</c:v>
                </c:pt>
                <c:pt idx="1248" formatCode="0%">
                  <c:v>0.67089949726965414</c:v>
                </c:pt>
                <c:pt idx="1249" formatCode="0%">
                  <c:v>0.67719110253965509</c:v>
                </c:pt>
                <c:pt idx="1250" formatCode="0%">
                  <c:v>0.68516002860362302</c:v>
                </c:pt>
                <c:pt idx="1251" formatCode="0%">
                  <c:v>0.693764193464505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899-43FB-9B00-42D97902B992}"/>
            </c:ext>
          </c:extLst>
        </c:ser>
        <c:ser>
          <c:idx val="5"/>
          <c:order val="6"/>
          <c:tx>
            <c:v>Storage filling (%)</c:v>
          </c:tx>
          <c:spPr>
            <a:ln w="15875">
              <a:solidFill>
                <a:srgbClr val="37B9FF"/>
              </a:solidFill>
            </a:ln>
          </c:spPr>
          <c:marker>
            <c:symbol val="none"/>
          </c:marker>
          <c:cat>
            <c:numRef>
              <c:f>'DK udtræk og injicering'!$D$4641:$D$5892</c:f>
              <c:numCache>
                <c:formatCode>m/d/yyyy</c:formatCode>
                <c:ptCount val="1252"/>
                <c:pt idx="0">
                  <c:v>43831</c:v>
                </c:pt>
                <c:pt idx="1">
                  <c:v>43832</c:v>
                </c:pt>
                <c:pt idx="2">
                  <c:v>43833</c:v>
                </c:pt>
                <c:pt idx="3">
                  <c:v>43834</c:v>
                </c:pt>
                <c:pt idx="4">
                  <c:v>43835</c:v>
                </c:pt>
                <c:pt idx="5">
                  <c:v>43836</c:v>
                </c:pt>
                <c:pt idx="6">
                  <c:v>43837</c:v>
                </c:pt>
                <c:pt idx="7">
                  <c:v>43838</c:v>
                </c:pt>
                <c:pt idx="8">
                  <c:v>43839</c:v>
                </c:pt>
                <c:pt idx="9">
                  <c:v>43840</c:v>
                </c:pt>
                <c:pt idx="10">
                  <c:v>43841</c:v>
                </c:pt>
                <c:pt idx="11">
                  <c:v>43842</c:v>
                </c:pt>
                <c:pt idx="12">
                  <c:v>43843</c:v>
                </c:pt>
                <c:pt idx="13">
                  <c:v>43844</c:v>
                </c:pt>
                <c:pt idx="14">
                  <c:v>43845</c:v>
                </c:pt>
                <c:pt idx="15">
                  <c:v>43846</c:v>
                </c:pt>
                <c:pt idx="16">
                  <c:v>43847</c:v>
                </c:pt>
                <c:pt idx="17">
                  <c:v>43848</c:v>
                </c:pt>
                <c:pt idx="18">
                  <c:v>43849</c:v>
                </c:pt>
                <c:pt idx="19">
                  <c:v>43850</c:v>
                </c:pt>
                <c:pt idx="20">
                  <c:v>43851</c:v>
                </c:pt>
                <c:pt idx="21">
                  <c:v>43852</c:v>
                </c:pt>
                <c:pt idx="22">
                  <c:v>43853</c:v>
                </c:pt>
                <c:pt idx="23">
                  <c:v>43854</c:v>
                </c:pt>
                <c:pt idx="24">
                  <c:v>43855</c:v>
                </c:pt>
                <c:pt idx="25">
                  <c:v>43856</c:v>
                </c:pt>
                <c:pt idx="26">
                  <c:v>43857</c:v>
                </c:pt>
                <c:pt idx="27">
                  <c:v>43858</c:v>
                </c:pt>
                <c:pt idx="28">
                  <c:v>43859</c:v>
                </c:pt>
                <c:pt idx="29">
                  <c:v>43860</c:v>
                </c:pt>
                <c:pt idx="30">
                  <c:v>43861</c:v>
                </c:pt>
                <c:pt idx="31">
                  <c:v>43862</c:v>
                </c:pt>
                <c:pt idx="32">
                  <c:v>43863</c:v>
                </c:pt>
                <c:pt idx="33">
                  <c:v>43864</c:v>
                </c:pt>
                <c:pt idx="34">
                  <c:v>43865</c:v>
                </c:pt>
                <c:pt idx="35">
                  <c:v>43866</c:v>
                </c:pt>
                <c:pt idx="36">
                  <c:v>43867</c:v>
                </c:pt>
                <c:pt idx="37">
                  <c:v>43868</c:v>
                </c:pt>
                <c:pt idx="38">
                  <c:v>43869</c:v>
                </c:pt>
                <c:pt idx="39">
                  <c:v>43870</c:v>
                </c:pt>
                <c:pt idx="40">
                  <c:v>43871</c:v>
                </c:pt>
                <c:pt idx="41">
                  <c:v>43872</c:v>
                </c:pt>
                <c:pt idx="42">
                  <c:v>43873</c:v>
                </c:pt>
                <c:pt idx="43">
                  <c:v>43874</c:v>
                </c:pt>
                <c:pt idx="44">
                  <c:v>43875</c:v>
                </c:pt>
                <c:pt idx="45">
                  <c:v>43876</c:v>
                </c:pt>
                <c:pt idx="46">
                  <c:v>43877</c:v>
                </c:pt>
                <c:pt idx="47">
                  <c:v>43878</c:v>
                </c:pt>
                <c:pt idx="48">
                  <c:v>43879</c:v>
                </c:pt>
                <c:pt idx="49">
                  <c:v>43880</c:v>
                </c:pt>
                <c:pt idx="50">
                  <c:v>43881</c:v>
                </c:pt>
                <c:pt idx="51">
                  <c:v>43882</c:v>
                </c:pt>
                <c:pt idx="52">
                  <c:v>43883</c:v>
                </c:pt>
                <c:pt idx="53">
                  <c:v>43884</c:v>
                </c:pt>
                <c:pt idx="54">
                  <c:v>43885</c:v>
                </c:pt>
                <c:pt idx="55">
                  <c:v>43886</c:v>
                </c:pt>
                <c:pt idx="56">
                  <c:v>43887</c:v>
                </c:pt>
                <c:pt idx="57">
                  <c:v>43888</c:v>
                </c:pt>
                <c:pt idx="58">
                  <c:v>43889</c:v>
                </c:pt>
                <c:pt idx="59">
                  <c:v>43890</c:v>
                </c:pt>
                <c:pt idx="60">
                  <c:v>43891</c:v>
                </c:pt>
                <c:pt idx="61">
                  <c:v>43892</c:v>
                </c:pt>
                <c:pt idx="62">
                  <c:v>43893</c:v>
                </c:pt>
                <c:pt idx="63">
                  <c:v>43894</c:v>
                </c:pt>
                <c:pt idx="64">
                  <c:v>43895</c:v>
                </c:pt>
                <c:pt idx="65">
                  <c:v>43896</c:v>
                </c:pt>
                <c:pt idx="66">
                  <c:v>43897</c:v>
                </c:pt>
                <c:pt idx="67">
                  <c:v>43898</c:v>
                </c:pt>
                <c:pt idx="68">
                  <c:v>43899</c:v>
                </c:pt>
                <c:pt idx="69">
                  <c:v>43900</c:v>
                </c:pt>
                <c:pt idx="70">
                  <c:v>43901</c:v>
                </c:pt>
                <c:pt idx="71">
                  <c:v>43902</c:v>
                </c:pt>
                <c:pt idx="72">
                  <c:v>43903</c:v>
                </c:pt>
                <c:pt idx="73">
                  <c:v>43904</c:v>
                </c:pt>
                <c:pt idx="74">
                  <c:v>43905</c:v>
                </c:pt>
                <c:pt idx="75">
                  <c:v>43906</c:v>
                </c:pt>
                <c:pt idx="76">
                  <c:v>43907</c:v>
                </c:pt>
                <c:pt idx="77">
                  <c:v>43908</c:v>
                </c:pt>
                <c:pt idx="78">
                  <c:v>43909</c:v>
                </c:pt>
                <c:pt idx="79">
                  <c:v>43910</c:v>
                </c:pt>
                <c:pt idx="80">
                  <c:v>43911</c:v>
                </c:pt>
                <c:pt idx="81">
                  <c:v>43912</c:v>
                </c:pt>
                <c:pt idx="82">
                  <c:v>43913</c:v>
                </c:pt>
                <c:pt idx="83">
                  <c:v>43914</c:v>
                </c:pt>
                <c:pt idx="84">
                  <c:v>43915</c:v>
                </c:pt>
                <c:pt idx="85">
                  <c:v>43916</c:v>
                </c:pt>
                <c:pt idx="86">
                  <c:v>43917</c:v>
                </c:pt>
                <c:pt idx="87">
                  <c:v>43918</c:v>
                </c:pt>
                <c:pt idx="88">
                  <c:v>43919</c:v>
                </c:pt>
                <c:pt idx="89">
                  <c:v>43920</c:v>
                </c:pt>
                <c:pt idx="90">
                  <c:v>43921</c:v>
                </c:pt>
                <c:pt idx="91">
                  <c:v>43922</c:v>
                </c:pt>
                <c:pt idx="92">
                  <c:v>43923</c:v>
                </c:pt>
                <c:pt idx="93">
                  <c:v>43924</c:v>
                </c:pt>
                <c:pt idx="94">
                  <c:v>43925</c:v>
                </c:pt>
                <c:pt idx="95">
                  <c:v>43926</c:v>
                </c:pt>
                <c:pt idx="96">
                  <c:v>43927</c:v>
                </c:pt>
                <c:pt idx="97">
                  <c:v>43928</c:v>
                </c:pt>
                <c:pt idx="98">
                  <c:v>43929</c:v>
                </c:pt>
                <c:pt idx="99">
                  <c:v>43930</c:v>
                </c:pt>
                <c:pt idx="100">
                  <c:v>43931</c:v>
                </c:pt>
                <c:pt idx="101">
                  <c:v>43932</c:v>
                </c:pt>
                <c:pt idx="102">
                  <c:v>43933</c:v>
                </c:pt>
                <c:pt idx="103">
                  <c:v>43934</c:v>
                </c:pt>
                <c:pt idx="104">
                  <c:v>43935</c:v>
                </c:pt>
                <c:pt idx="105">
                  <c:v>43936</c:v>
                </c:pt>
                <c:pt idx="106">
                  <c:v>43937</c:v>
                </c:pt>
                <c:pt idx="107">
                  <c:v>43938</c:v>
                </c:pt>
                <c:pt idx="108">
                  <c:v>43939</c:v>
                </c:pt>
                <c:pt idx="109">
                  <c:v>43940</c:v>
                </c:pt>
                <c:pt idx="110">
                  <c:v>43941</c:v>
                </c:pt>
                <c:pt idx="111">
                  <c:v>43942</c:v>
                </c:pt>
                <c:pt idx="112">
                  <c:v>43943</c:v>
                </c:pt>
                <c:pt idx="113">
                  <c:v>43944</c:v>
                </c:pt>
                <c:pt idx="114">
                  <c:v>43945</c:v>
                </c:pt>
                <c:pt idx="115">
                  <c:v>43946</c:v>
                </c:pt>
                <c:pt idx="116">
                  <c:v>43947</c:v>
                </c:pt>
                <c:pt idx="117">
                  <c:v>43948</c:v>
                </c:pt>
                <c:pt idx="118">
                  <c:v>43949</c:v>
                </c:pt>
                <c:pt idx="119">
                  <c:v>43950</c:v>
                </c:pt>
                <c:pt idx="120">
                  <c:v>43951</c:v>
                </c:pt>
                <c:pt idx="121">
                  <c:v>43952</c:v>
                </c:pt>
                <c:pt idx="122">
                  <c:v>43953</c:v>
                </c:pt>
                <c:pt idx="123">
                  <c:v>43954</c:v>
                </c:pt>
                <c:pt idx="124">
                  <c:v>43955</c:v>
                </c:pt>
                <c:pt idx="125">
                  <c:v>43956</c:v>
                </c:pt>
                <c:pt idx="126">
                  <c:v>43957</c:v>
                </c:pt>
                <c:pt idx="127">
                  <c:v>43958</c:v>
                </c:pt>
                <c:pt idx="128">
                  <c:v>43959</c:v>
                </c:pt>
                <c:pt idx="129">
                  <c:v>43960</c:v>
                </c:pt>
                <c:pt idx="130">
                  <c:v>43961</c:v>
                </c:pt>
                <c:pt idx="131">
                  <c:v>43962</c:v>
                </c:pt>
                <c:pt idx="132">
                  <c:v>43963</c:v>
                </c:pt>
                <c:pt idx="133">
                  <c:v>43964</c:v>
                </c:pt>
                <c:pt idx="134">
                  <c:v>43965</c:v>
                </c:pt>
                <c:pt idx="135">
                  <c:v>43966</c:v>
                </c:pt>
                <c:pt idx="136">
                  <c:v>43967</c:v>
                </c:pt>
                <c:pt idx="137">
                  <c:v>43968</c:v>
                </c:pt>
                <c:pt idx="138">
                  <c:v>43969</c:v>
                </c:pt>
                <c:pt idx="139">
                  <c:v>43970</c:v>
                </c:pt>
                <c:pt idx="140">
                  <c:v>43971</c:v>
                </c:pt>
                <c:pt idx="141">
                  <c:v>43972</c:v>
                </c:pt>
                <c:pt idx="142">
                  <c:v>43973</c:v>
                </c:pt>
                <c:pt idx="143">
                  <c:v>43974</c:v>
                </c:pt>
                <c:pt idx="144">
                  <c:v>43975</c:v>
                </c:pt>
                <c:pt idx="145">
                  <c:v>43976</c:v>
                </c:pt>
                <c:pt idx="146">
                  <c:v>43977</c:v>
                </c:pt>
                <c:pt idx="147">
                  <c:v>43978</c:v>
                </c:pt>
                <c:pt idx="148">
                  <c:v>43979</c:v>
                </c:pt>
                <c:pt idx="149">
                  <c:v>43980</c:v>
                </c:pt>
                <c:pt idx="150">
                  <c:v>43981</c:v>
                </c:pt>
                <c:pt idx="151">
                  <c:v>43982</c:v>
                </c:pt>
                <c:pt idx="152">
                  <c:v>43983</c:v>
                </c:pt>
                <c:pt idx="153">
                  <c:v>43984</c:v>
                </c:pt>
                <c:pt idx="154">
                  <c:v>43985</c:v>
                </c:pt>
                <c:pt idx="155">
                  <c:v>43986</c:v>
                </c:pt>
                <c:pt idx="156">
                  <c:v>43987</c:v>
                </c:pt>
                <c:pt idx="157">
                  <c:v>43988</c:v>
                </c:pt>
                <c:pt idx="158">
                  <c:v>43989</c:v>
                </c:pt>
                <c:pt idx="159">
                  <c:v>43990</c:v>
                </c:pt>
                <c:pt idx="160">
                  <c:v>43991</c:v>
                </c:pt>
                <c:pt idx="161">
                  <c:v>43992</c:v>
                </c:pt>
                <c:pt idx="162">
                  <c:v>43993</c:v>
                </c:pt>
                <c:pt idx="163">
                  <c:v>43994</c:v>
                </c:pt>
                <c:pt idx="164">
                  <c:v>43995</c:v>
                </c:pt>
                <c:pt idx="165">
                  <c:v>43996</c:v>
                </c:pt>
                <c:pt idx="166">
                  <c:v>43997</c:v>
                </c:pt>
                <c:pt idx="167">
                  <c:v>43998</c:v>
                </c:pt>
                <c:pt idx="168">
                  <c:v>43999</c:v>
                </c:pt>
                <c:pt idx="169">
                  <c:v>44000</c:v>
                </c:pt>
                <c:pt idx="170">
                  <c:v>44001</c:v>
                </c:pt>
                <c:pt idx="171">
                  <c:v>44002</c:v>
                </c:pt>
                <c:pt idx="172">
                  <c:v>44003</c:v>
                </c:pt>
                <c:pt idx="173">
                  <c:v>44004</c:v>
                </c:pt>
                <c:pt idx="174">
                  <c:v>44005</c:v>
                </c:pt>
                <c:pt idx="175">
                  <c:v>44006</c:v>
                </c:pt>
                <c:pt idx="176">
                  <c:v>44007</c:v>
                </c:pt>
                <c:pt idx="177">
                  <c:v>44008</c:v>
                </c:pt>
                <c:pt idx="178">
                  <c:v>44009</c:v>
                </c:pt>
                <c:pt idx="179">
                  <c:v>44010</c:v>
                </c:pt>
                <c:pt idx="180">
                  <c:v>44011</c:v>
                </c:pt>
                <c:pt idx="181">
                  <c:v>44012</c:v>
                </c:pt>
                <c:pt idx="182">
                  <c:v>44013</c:v>
                </c:pt>
                <c:pt idx="183">
                  <c:v>44014</c:v>
                </c:pt>
                <c:pt idx="184">
                  <c:v>44015</c:v>
                </c:pt>
                <c:pt idx="185">
                  <c:v>44016</c:v>
                </c:pt>
                <c:pt idx="186">
                  <c:v>44017</c:v>
                </c:pt>
                <c:pt idx="187">
                  <c:v>44018</c:v>
                </c:pt>
                <c:pt idx="188">
                  <c:v>44019</c:v>
                </c:pt>
                <c:pt idx="189">
                  <c:v>44020</c:v>
                </c:pt>
                <c:pt idx="190">
                  <c:v>44021</c:v>
                </c:pt>
                <c:pt idx="191">
                  <c:v>44022</c:v>
                </c:pt>
                <c:pt idx="192">
                  <c:v>44023</c:v>
                </c:pt>
                <c:pt idx="193">
                  <c:v>44024</c:v>
                </c:pt>
                <c:pt idx="194">
                  <c:v>44025</c:v>
                </c:pt>
                <c:pt idx="195">
                  <c:v>44026</c:v>
                </c:pt>
                <c:pt idx="196">
                  <c:v>44027</c:v>
                </c:pt>
                <c:pt idx="197">
                  <c:v>44028</c:v>
                </c:pt>
                <c:pt idx="198">
                  <c:v>44029</c:v>
                </c:pt>
                <c:pt idx="199">
                  <c:v>44030</c:v>
                </c:pt>
                <c:pt idx="200">
                  <c:v>44031</c:v>
                </c:pt>
                <c:pt idx="201">
                  <c:v>44032</c:v>
                </c:pt>
                <c:pt idx="202">
                  <c:v>44033</c:v>
                </c:pt>
                <c:pt idx="203">
                  <c:v>44034</c:v>
                </c:pt>
                <c:pt idx="204">
                  <c:v>44035</c:v>
                </c:pt>
                <c:pt idx="205">
                  <c:v>44036</c:v>
                </c:pt>
                <c:pt idx="206">
                  <c:v>44037</c:v>
                </c:pt>
                <c:pt idx="207">
                  <c:v>44038</c:v>
                </c:pt>
                <c:pt idx="208">
                  <c:v>44039</c:v>
                </c:pt>
                <c:pt idx="209">
                  <c:v>44040</c:v>
                </c:pt>
                <c:pt idx="210">
                  <c:v>44041</c:v>
                </c:pt>
                <c:pt idx="211">
                  <c:v>44042</c:v>
                </c:pt>
                <c:pt idx="212">
                  <c:v>44043</c:v>
                </c:pt>
                <c:pt idx="213">
                  <c:v>44044</c:v>
                </c:pt>
                <c:pt idx="214">
                  <c:v>44045</c:v>
                </c:pt>
                <c:pt idx="215">
                  <c:v>44046</c:v>
                </c:pt>
                <c:pt idx="216">
                  <c:v>44047</c:v>
                </c:pt>
                <c:pt idx="217">
                  <c:v>44048</c:v>
                </c:pt>
                <c:pt idx="218">
                  <c:v>44049</c:v>
                </c:pt>
                <c:pt idx="219">
                  <c:v>44050</c:v>
                </c:pt>
                <c:pt idx="220">
                  <c:v>44051</c:v>
                </c:pt>
                <c:pt idx="221">
                  <c:v>44052</c:v>
                </c:pt>
                <c:pt idx="222">
                  <c:v>44053</c:v>
                </c:pt>
                <c:pt idx="223">
                  <c:v>44054</c:v>
                </c:pt>
                <c:pt idx="224">
                  <c:v>44055</c:v>
                </c:pt>
                <c:pt idx="225">
                  <c:v>44056</c:v>
                </c:pt>
                <c:pt idx="226">
                  <c:v>44057</c:v>
                </c:pt>
                <c:pt idx="227">
                  <c:v>44058</c:v>
                </c:pt>
                <c:pt idx="228">
                  <c:v>44059</c:v>
                </c:pt>
                <c:pt idx="229">
                  <c:v>44060</c:v>
                </c:pt>
                <c:pt idx="230">
                  <c:v>44061</c:v>
                </c:pt>
                <c:pt idx="231">
                  <c:v>44062</c:v>
                </c:pt>
                <c:pt idx="232">
                  <c:v>44063</c:v>
                </c:pt>
                <c:pt idx="233">
                  <c:v>44064</c:v>
                </c:pt>
                <c:pt idx="234">
                  <c:v>44065</c:v>
                </c:pt>
                <c:pt idx="235">
                  <c:v>44066</c:v>
                </c:pt>
                <c:pt idx="236">
                  <c:v>44067</c:v>
                </c:pt>
                <c:pt idx="237">
                  <c:v>44068</c:v>
                </c:pt>
                <c:pt idx="238">
                  <c:v>44069</c:v>
                </c:pt>
                <c:pt idx="239">
                  <c:v>44070</c:v>
                </c:pt>
                <c:pt idx="240">
                  <c:v>44071</c:v>
                </c:pt>
                <c:pt idx="241">
                  <c:v>44072</c:v>
                </c:pt>
                <c:pt idx="242">
                  <c:v>44073</c:v>
                </c:pt>
                <c:pt idx="243">
                  <c:v>44074</c:v>
                </c:pt>
                <c:pt idx="244">
                  <c:v>44075</c:v>
                </c:pt>
                <c:pt idx="245">
                  <c:v>44076</c:v>
                </c:pt>
                <c:pt idx="246">
                  <c:v>44077</c:v>
                </c:pt>
                <c:pt idx="247">
                  <c:v>44078</c:v>
                </c:pt>
                <c:pt idx="248">
                  <c:v>44079</c:v>
                </c:pt>
                <c:pt idx="249">
                  <c:v>44080</c:v>
                </c:pt>
                <c:pt idx="250">
                  <c:v>44081</c:v>
                </c:pt>
                <c:pt idx="251">
                  <c:v>44082</c:v>
                </c:pt>
                <c:pt idx="252">
                  <c:v>44083</c:v>
                </c:pt>
                <c:pt idx="253">
                  <c:v>44084</c:v>
                </c:pt>
                <c:pt idx="254">
                  <c:v>44085</c:v>
                </c:pt>
                <c:pt idx="255">
                  <c:v>44086</c:v>
                </c:pt>
                <c:pt idx="256">
                  <c:v>44087</c:v>
                </c:pt>
                <c:pt idx="257">
                  <c:v>44088</c:v>
                </c:pt>
                <c:pt idx="258">
                  <c:v>44089</c:v>
                </c:pt>
                <c:pt idx="259">
                  <c:v>44090</c:v>
                </c:pt>
                <c:pt idx="260">
                  <c:v>44091</c:v>
                </c:pt>
                <c:pt idx="261">
                  <c:v>44092</c:v>
                </c:pt>
                <c:pt idx="262">
                  <c:v>44093</c:v>
                </c:pt>
                <c:pt idx="263">
                  <c:v>44094</c:v>
                </c:pt>
                <c:pt idx="264">
                  <c:v>44095</c:v>
                </c:pt>
                <c:pt idx="265">
                  <c:v>44096</c:v>
                </c:pt>
                <c:pt idx="266">
                  <c:v>44097</c:v>
                </c:pt>
                <c:pt idx="267">
                  <c:v>44098</c:v>
                </c:pt>
                <c:pt idx="268">
                  <c:v>44099</c:v>
                </c:pt>
                <c:pt idx="269">
                  <c:v>44100</c:v>
                </c:pt>
                <c:pt idx="270">
                  <c:v>44101</c:v>
                </c:pt>
                <c:pt idx="271">
                  <c:v>44102</c:v>
                </c:pt>
                <c:pt idx="272">
                  <c:v>44103</c:v>
                </c:pt>
                <c:pt idx="273">
                  <c:v>44104</c:v>
                </c:pt>
                <c:pt idx="274">
                  <c:v>44105</c:v>
                </c:pt>
                <c:pt idx="275">
                  <c:v>44106</c:v>
                </c:pt>
                <c:pt idx="276">
                  <c:v>44107</c:v>
                </c:pt>
                <c:pt idx="277">
                  <c:v>44108</c:v>
                </c:pt>
                <c:pt idx="278">
                  <c:v>44109</c:v>
                </c:pt>
                <c:pt idx="279">
                  <c:v>44110</c:v>
                </c:pt>
                <c:pt idx="280">
                  <c:v>44111</c:v>
                </c:pt>
                <c:pt idx="281">
                  <c:v>44112</c:v>
                </c:pt>
                <c:pt idx="282">
                  <c:v>44113</c:v>
                </c:pt>
                <c:pt idx="283">
                  <c:v>44114</c:v>
                </c:pt>
                <c:pt idx="284">
                  <c:v>44115</c:v>
                </c:pt>
                <c:pt idx="285">
                  <c:v>44116</c:v>
                </c:pt>
                <c:pt idx="286">
                  <c:v>44117</c:v>
                </c:pt>
                <c:pt idx="287">
                  <c:v>44118</c:v>
                </c:pt>
                <c:pt idx="288">
                  <c:v>44119</c:v>
                </c:pt>
                <c:pt idx="289">
                  <c:v>44120</c:v>
                </c:pt>
                <c:pt idx="290">
                  <c:v>44121</c:v>
                </c:pt>
                <c:pt idx="291">
                  <c:v>44122</c:v>
                </c:pt>
                <c:pt idx="292">
                  <c:v>44123</c:v>
                </c:pt>
                <c:pt idx="293">
                  <c:v>44124</c:v>
                </c:pt>
                <c:pt idx="294">
                  <c:v>44125</c:v>
                </c:pt>
                <c:pt idx="295">
                  <c:v>44126</c:v>
                </c:pt>
                <c:pt idx="296">
                  <c:v>44127</c:v>
                </c:pt>
                <c:pt idx="297">
                  <c:v>44128</c:v>
                </c:pt>
                <c:pt idx="298">
                  <c:v>44129</c:v>
                </c:pt>
                <c:pt idx="299">
                  <c:v>44130</c:v>
                </c:pt>
                <c:pt idx="300">
                  <c:v>44131</c:v>
                </c:pt>
                <c:pt idx="301">
                  <c:v>44132</c:v>
                </c:pt>
                <c:pt idx="302">
                  <c:v>44133</c:v>
                </c:pt>
                <c:pt idx="303">
                  <c:v>44134</c:v>
                </c:pt>
                <c:pt idx="304">
                  <c:v>44135</c:v>
                </c:pt>
                <c:pt idx="305">
                  <c:v>44136</c:v>
                </c:pt>
                <c:pt idx="306">
                  <c:v>44137</c:v>
                </c:pt>
                <c:pt idx="307">
                  <c:v>44138</c:v>
                </c:pt>
                <c:pt idx="308">
                  <c:v>44139</c:v>
                </c:pt>
                <c:pt idx="309">
                  <c:v>44140</c:v>
                </c:pt>
                <c:pt idx="310">
                  <c:v>44141</c:v>
                </c:pt>
                <c:pt idx="311">
                  <c:v>44142</c:v>
                </c:pt>
                <c:pt idx="312">
                  <c:v>44143</c:v>
                </c:pt>
                <c:pt idx="313">
                  <c:v>44144</c:v>
                </c:pt>
                <c:pt idx="314">
                  <c:v>44145</c:v>
                </c:pt>
                <c:pt idx="315">
                  <c:v>44146</c:v>
                </c:pt>
                <c:pt idx="316">
                  <c:v>44147</c:v>
                </c:pt>
                <c:pt idx="317">
                  <c:v>44148</c:v>
                </c:pt>
                <c:pt idx="318">
                  <c:v>44149</c:v>
                </c:pt>
                <c:pt idx="319">
                  <c:v>44150</c:v>
                </c:pt>
                <c:pt idx="320">
                  <c:v>44151</c:v>
                </c:pt>
                <c:pt idx="321">
                  <c:v>44152</c:v>
                </c:pt>
                <c:pt idx="322">
                  <c:v>44153</c:v>
                </c:pt>
                <c:pt idx="323">
                  <c:v>44154</c:v>
                </c:pt>
                <c:pt idx="324">
                  <c:v>44155</c:v>
                </c:pt>
                <c:pt idx="325">
                  <c:v>44156</c:v>
                </c:pt>
                <c:pt idx="326">
                  <c:v>44157</c:v>
                </c:pt>
                <c:pt idx="327">
                  <c:v>44158</c:v>
                </c:pt>
                <c:pt idx="328">
                  <c:v>44159</c:v>
                </c:pt>
                <c:pt idx="329">
                  <c:v>44160</c:v>
                </c:pt>
                <c:pt idx="330">
                  <c:v>44161</c:v>
                </c:pt>
                <c:pt idx="331">
                  <c:v>44162</c:v>
                </c:pt>
                <c:pt idx="332">
                  <c:v>44163</c:v>
                </c:pt>
                <c:pt idx="333">
                  <c:v>44164</c:v>
                </c:pt>
                <c:pt idx="334">
                  <c:v>44165</c:v>
                </c:pt>
                <c:pt idx="335">
                  <c:v>44166</c:v>
                </c:pt>
                <c:pt idx="336">
                  <c:v>44167</c:v>
                </c:pt>
                <c:pt idx="337">
                  <c:v>44168</c:v>
                </c:pt>
                <c:pt idx="338">
                  <c:v>44169</c:v>
                </c:pt>
                <c:pt idx="339">
                  <c:v>44170</c:v>
                </c:pt>
                <c:pt idx="340">
                  <c:v>44171</c:v>
                </c:pt>
                <c:pt idx="341">
                  <c:v>44172</c:v>
                </c:pt>
                <c:pt idx="342">
                  <c:v>44173</c:v>
                </c:pt>
                <c:pt idx="343">
                  <c:v>44174</c:v>
                </c:pt>
                <c:pt idx="344">
                  <c:v>44175</c:v>
                </c:pt>
                <c:pt idx="345">
                  <c:v>44176</c:v>
                </c:pt>
                <c:pt idx="346">
                  <c:v>44177</c:v>
                </c:pt>
                <c:pt idx="347">
                  <c:v>44178</c:v>
                </c:pt>
                <c:pt idx="348">
                  <c:v>44179</c:v>
                </c:pt>
                <c:pt idx="349">
                  <c:v>44180</c:v>
                </c:pt>
                <c:pt idx="350">
                  <c:v>44181</c:v>
                </c:pt>
                <c:pt idx="351">
                  <c:v>44182</c:v>
                </c:pt>
                <c:pt idx="352">
                  <c:v>44183</c:v>
                </c:pt>
                <c:pt idx="353">
                  <c:v>44184</c:v>
                </c:pt>
                <c:pt idx="354">
                  <c:v>44185</c:v>
                </c:pt>
                <c:pt idx="355">
                  <c:v>44186</c:v>
                </c:pt>
                <c:pt idx="356">
                  <c:v>44187</c:v>
                </c:pt>
                <c:pt idx="357">
                  <c:v>44188</c:v>
                </c:pt>
                <c:pt idx="358">
                  <c:v>44189</c:v>
                </c:pt>
                <c:pt idx="359">
                  <c:v>44190</c:v>
                </c:pt>
                <c:pt idx="360">
                  <c:v>44191</c:v>
                </c:pt>
                <c:pt idx="361">
                  <c:v>44192</c:v>
                </c:pt>
                <c:pt idx="362">
                  <c:v>44193</c:v>
                </c:pt>
                <c:pt idx="363">
                  <c:v>44194</c:v>
                </c:pt>
                <c:pt idx="364">
                  <c:v>44195</c:v>
                </c:pt>
                <c:pt idx="365">
                  <c:v>44196</c:v>
                </c:pt>
                <c:pt idx="366">
                  <c:v>44197</c:v>
                </c:pt>
                <c:pt idx="367">
                  <c:v>44198</c:v>
                </c:pt>
                <c:pt idx="368">
                  <c:v>44199</c:v>
                </c:pt>
                <c:pt idx="369">
                  <c:v>44200</c:v>
                </c:pt>
                <c:pt idx="370">
                  <c:v>44201</c:v>
                </c:pt>
                <c:pt idx="371">
                  <c:v>44202</c:v>
                </c:pt>
                <c:pt idx="372">
                  <c:v>44203</c:v>
                </c:pt>
                <c:pt idx="373">
                  <c:v>44204</c:v>
                </c:pt>
                <c:pt idx="374">
                  <c:v>44205</c:v>
                </c:pt>
                <c:pt idx="375">
                  <c:v>44206</c:v>
                </c:pt>
                <c:pt idx="376">
                  <c:v>44207</c:v>
                </c:pt>
                <c:pt idx="377">
                  <c:v>44208</c:v>
                </c:pt>
                <c:pt idx="378">
                  <c:v>44209</c:v>
                </c:pt>
                <c:pt idx="379">
                  <c:v>44210</c:v>
                </c:pt>
                <c:pt idx="380">
                  <c:v>44211</c:v>
                </c:pt>
                <c:pt idx="381">
                  <c:v>44212</c:v>
                </c:pt>
                <c:pt idx="382">
                  <c:v>44213</c:v>
                </c:pt>
                <c:pt idx="383">
                  <c:v>44214</c:v>
                </c:pt>
                <c:pt idx="384">
                  <c:v>44215</c:v>
                </c:pt>
                <c:pt idx="385">
                  <c:v>44216</c:v>
                </c:pt>
                <c:pt idx="386">
                  <c:v>44217</c:v>
                </c:pt>
                <c:pt idx="387">
                  <c:v>44218</c:v>
                </c:pt>
                <c:pt idx="388">
                  <c:v>44219</c:v>
                </c:pt>
                <c:pt idx="389">
                  <c:v>44220</c:v>
                </c:pt>
                <c:pt idx="390">
                  <c:v>44221</c:v>
                </c:pt>
                <c:pt idx="391">
                  <c:v>44222</c:v>
                </c:pt>
                <c:pt idx="392">
                  <c:v>44223</c:v>
                </c:pt>
                <c:pt idx="393">
                  <c:v>44224</c:v>
                </c:pt>
                <c:pt idx="394">
                  <c:v>44225</c:v>
                </c:pt>
                <c:pt idx="395">
                  <c:v>44226</c:v>
                </c:pt>
                <c:pt idx="396">
                  <c:v>44227</c:v>
                </c:pt>
                <c:pt idx="397">
                  <c:v>44228</c:v>
                </c:pt>
                <c:pt idx="398">
                  <c:v>44229</c:v>
                </c:pt>
                <c:pt idx="399">
                  <c:v>44230</c:v>
                </c:pt>
                <c:pt idx="400">
                  <c:v>44231</c:v>
                </c:pt>
                <c:pt idx="401">
                  <c:v>44232</c:v>
                </c:pt>
                <c:pt idx="402">
                  <c:v>44233</c:v>
                </c:pt>
                <c:pt idx="403">
                  <c:v>44234</c:v>
                </c:pt>
                <c:pt idx="404">
                  <c:v>44235</c:v>
                </c:pt>
                <c:pt idx="405">
                  <c:v>44236</c:v>
                </c:pt>
                <c:pt idx="406">
                  <c:v>44237</c:v>
                </c:pt>
                <c:pt idx="407">
                  <c:v>44238</c:v>
                </c:pt>
                <c:pt idx="408">
                  <c:v>44239</c:v>
                </c:pt>
                <c:pt idx="409">
                  <c:v>44240</c:v>
                </c:pt>
                <c:pt idx="410">
                  <c:v>44241</c:v>
                </c:pt>
                <c:pt idx="411">
                  <c:v>44242</c:v>
                </c:pt>
                <c:pt idx="412">
                  <c:v>44243</c:v>
                </c:pt>
                <c:pt idx="413">
                  <c:v>44244</c:v>
                </c:pt>
                <c:pt idx="414">
                  <c:v>44245</c:v>
                </c:pt>
                <c:pt idx="415">
                  <c:v>44246</c:v>
                </c:pt>
                <c:pt idx="416">
                  <c:v>44247</c:v>
                </c:pt>
                <c:pt idx="417">
                  <c:v>44248</c:v>
                </c:pt>
                <c:pt idx="418">
                  <c:v>44249</c:v>
                </c:pt>
                <c:pt idx="419">
                  <c:v>44250</c:v>
                </c:pt>
                <c:pt idx="420">
                  <c:v>44251</c:v>
                </c:pt>
                <c:pt idx="421">
                  <c:v>44252</c:v>
                </c:pt>
                <c:pt idx="422">
                  <c:v>44253</c:v>
                </c:pt>
                <c:pt idx="423">
                  <c:v>44254</c:v>
                </c:pt>
                <c:pt idx="424">
                  <c:v>44255</c:v>
                </c:pt>
                <c:pt idx="425">
                  <c:v>44256</c:v>
                </c:pt>
                <c:pt idx="426">
                  <c:v>44257</c:v>
                </c:pt>
                <c:pt idx="427">
                  <c:v>44258</c:v>
                </c:pt>
                <c:pt idx="428">
                  <c:v>44259</c:v>
                </c:pt>
                <c:pt idx="429">
                  <c:v>44260</c:v>
                </c:pt>
                <c:pt idx="430">
                  <c:v>44261</c:v>
                </c:pt>
                <c:pt idx="431">
                  <c:v>44262</c:v>
                </c:pt>
                <c:pt idx="432">
                  <c:v>44263</c:v>
                </c:pt>
                <c:pt idx="433">
                  <c:v>44264</c:v>
                </c:pt>
                <c:pt idx="434">
                  <c:v>44265</c:v>
                </c:pt>
                <c:pt idx="435">
                  <c:v>44266</c:v>
                </c:pt>
                <c:pt idx="436">
                  <c:v>44267</c:v>
                </c:pt>
                <c:pt idx="437">
                  <c:v>44268</c:v>
                </c:pt>
                <c:pt idx="438">
                  <c:v>44269</c:v>
                </c:pt>
                <c:pt idx="439">
                  <c:v>44270</c:v>
                </c:pt>
                <c:pt idx="440">
                  <c:v>44271</c:v>
                </c:pt>
                <c:pt idx="441">
                  <c:v>44272</c:v>
                </c:pt>
                <c:pt idx="442">
                  <c:v>44273</c:v>
                </c:pt>
                <c:pt idx="443">
                  <c:v>44274</c:v>
                </c:pt>
                <c:pt idx="444">
                  <c:v>44275</c:v>
                </c:pt>
                <c:pt idx="445">
                  <c:v>44276</c:v>
                </c:pt>
                <c:pt idx="446">
                  <c:v>44277</c:v>
                </c:pt>
                <c:pt idx="447">
                  <c:v>44278</c:v>
                </c:pt>
                <c:pt idx="448">
                  <c:v>44279</c:v>
                </c:pt>
                <c:pt idx="449">
                  <c:v>44280</c:v>
                </c:pt>
                <c:pt idx="450">
                  <c:v>44281</c:v>
                </c:pt>
                <c:pt idx="451">
                  <c:v>44282</c:v>
                </c:pt>
                <c:pt idx="452">
                  <c:v>44283</c:v>
                </c:pt>
                <c:pt idx="453">
                  <c:v>44284</c:v>
                </c:pt>
                <c:pt idx="454">
                  <c:v>44285</c:v>
                </c:pt>
                <c:pt idx="455">
                  <c:v>44286</c:v>
                </c:pt>
                <c:pt idx="456">
                  <c:v>44287</c:v>
                </c:pt>
                <c:pt idx="457">
                  <c:v>44288</c:v>
                </c:pt>
                <c:pt idx="458">
                  <c:v>44289</c:v>
                </c:pt>
                <c:pt idx="459">
                  <c:v>44290</c:v>
                </c:pt>
                <c:pt idx="460">
                  <c:v>44291</c:v>
                </c:pt>
                <c:pt idx="461">
                  <c:v>44292</c:v>
                </c:pt>
                <c:pt idx="462">
                  <c:v>44293</c:v>
                </c:pt>
                <c:pt idx="463">
                  <c:v>44294</c:v>
                </c:pt>
                <c:pt idx="464">
                  <c:v>44295</c:v>
                </c:pt>
                <c:pt idx="465">
                  <c:v>44296</c:v>
                </c:pt>
                <c:pt idx="466">
                  <c:v>44297</c:v>
                </c:pt>
                <c:pt idx="467">
                  <c:v>44298</c:v>
                </c:pt>
                <c:pt idx="468">
                  <c:v>44299</c:v>
                </c:pt>
                <c:pt idx="469">
                  <c:v>44300</c:v>
                </c:pt>
                <c:pt idx="470">
                  <c:v>44301</c:v>
                </c:pt>
                <c:pt idx="471">
                  <c:v>44302</c:v>
                </c:pt>
                <c:pt idx="472">
                  <c:v>44303</c:v>
                </c:pt>
                <c:pt idx="473">
                  <c:v>44304</c:v>
                </c:pt>
                <c:pt idx="474">
                  <c:v>44305</c:v>
                </c:pt>
                <c:pt idx="475">
                  <c:v>44306</c:v>
                </c:pt>
                <c:pt idx="476">
                  <c:v>44307</c:v>
                </c:pt>
                <c:pt idx="477">
                  <c:v>44308</c:v>
                </c:pt>
                <c:pt idx="478">
                  <c:v>44309</c:v>
                </c:pt>
                <c:pt idx="479">
                  <c:v>44310</c:v>
                </c:pt>
                <c:pt idx="480">
                  <c:v>44311</c:v>
                </c:pt>
                <c:pt idx="481">
                  <c:v>44312</c:v>
                </c:pt>
                <c:pt idx="482">
                  <c:v>44313</c:v>
                </c:pt>
                <c:pt idx="483">
                  <c:v>44314</c:v>
                </c:pt>
                <c:pt idx="484">
                  <c:v>44315</c:v>
                </c:pt>
                <c:pt idx="485">
                  <c:v>44316</c:v>
                </c:pt>
                <c:pt idx="486">
                  <c:v>44317</c:v>
                </c:pt>
                <c:pt idx="487">
                  <c:v>44318</c:v>
                </c:pt>
                <c:pt idx="488">
                  <c:v>44319</c:v>
                </c:pt>
                <c:pt idx="489">
                  <c:v>44320</c:v>
                </c:pt>
                <c:pt idx="490">
                  <c:v>44321</c:v>
                </c:pt>
                <c:pt idx="491">
                  <c:v>44322</c:v>
                </c:pt>
                <c:pt idx="492">
                  <c:v>44323</c:v>
                </c:pt>
                <c:pt idx="493">
                  <c:v>44324</c:v>
                </c:pt>
                <c:pt idx="494">
                  <c:v>44325</c:v>
                </c:pt>
                <c:pt idx="495">
                  <c:v>44326</c:v>
                </c:pt>
                <c:pt idx="496">
                  <c:v>44327</c:v>
                </c:pt>
                <c:pt idx="497">
                  <c:v>44328</c:v>
                </c:pt>
                <c:pt idx="498">
                  <c:v>44329</c:v>
                </c:pt>
                <c:pt idx="499">
                  <c:v>44330</c:v>
                </c:pt>
                <c:pt idx="500">
                  <c:v>44331</c:v>
                </c:pt>
                <c:pt idx="501">
                  <c:v>44332</c:v>
                </c:pt>
                <c:pt idx="502">
                  <c:v>44333</c:v>
                </c:pt>
                <c:pt idx="503">
                  <c:v>44334</c:v>
                </c:pt>
                <c:pt idx="504">
                  <c:v>44335</c:v>
                </c:pt>
                <c:pt idx="505">
                  <c:v>44336</c:v>
                </c:pt>
                <c:pt idx="506">
                  <c:v>44337</c:v>
                </c:pt>
                <c:pt idx="507">
                  <c:v>44338</c:v>
                </c:pt>
                <c:pt idx="508">
                  <c:v>44339</c:v>
                </c:pt>
                <c:pt idx="509">
                  <c:v>44340</c:v>
                </c:pt>
                <c:pt idx="510">
                  <c:v>44341</c:v>
                </c:pt>
                <c:pt idx="511">
                  <c:v>44342</c:v>
                </c:pt>
                <c:pt idx="512">
                  <c:v>44343</c:v>
                </c:pt>
                <c:pt idx="513">
                  <c:v>44344</c:v>
                </c:pt>
                <c:pt idx="514">
                  <c:v>44345</c:v>
                </c:pt>
                <c:pt idx="515">
                  <c:v>44346</c:v>
                </c:pt>
                <c:pt idx="516">
                  <c:v>44347</c:v>
                </c:pt>
                <c:pt idx="517">
                  <c:v>44348</c:v>
                </c:pt>
                <c:pt idx="518">
                  <c:v>44349</c:v>
                </c:pt>
                <c:pt idx="519">
                  <c:v>44350</c:v>
                </c:pt>
                <c:pt idx="520">
                  <c:v>44351</c:v>
                </c:pt>
                <c:pt idx="521">
                  <c:v>44352</c:v>
                </c:pt>
                <c:pt idx="522">
                  <c:v>44353</c:v>
                </c:pt>
                <c:pt idx="523">
                  <c:v>44354</c:v>
                </c:pt>
                <c:pt idx="524">
                  <c:v>44355</c:v>
                </c:pt>
                <c:pt idx="525">
                  <c:v>44356</c:v>
                </c:pt>
                <c:pt idx="526">
                  <c:v>44357</c:v>
                </c:pt>
                <c:pt idx="527">
                  <c:v>44358</c:v>
                </c:pt>
                <c:pt idx="528">
                  <c:v>44359</c:v>
                </c:pt>
                <c:pt idx="529">
                  <c:v>44360</c:v>
                </c:pt>
                <c:pt idx="530">
                  <c:v>44361</c:v>
                </c:pt>
                <c:pt idx="531">
                  <c:v>44362</c:v>
                </c:pt>
                <c:pt idx="532">
                  <c:v>44363</c:v>
                </c:pt>
                <c:pt idx="533">
                  <c:v>44364</c:v>
                </c:pt>
                <c:pt idx="534">
                  <c:v>44365</c:v>
                </c:pt>
                <c:pt idx="535">
                  <c:v>44366</c:v>
                </c:pt>
                <c:pt idx="536">
                  <c:v>44367</c:v>
                </c:pt>
                <c:pt idx="537">
                  <c:v>44368</c:v>
                </c:pt>
                <c:pt idx="538">
                  <c:v>44369</c:v>
                </c:pt>
                <c:pt idx="539">
                  <c:v>44370</c:v>
                </c:pt>
                <c:pt idx="540">
                  <c:v>44371</c:v>
                </c:pt>
                <c:pt idx="541">
                  <c:v>44372</c:v>
                </c:pt>
                <c:pt idx="542">
                  <c:v>44373</c:v>
                </c:pt>
                <c:pt idx="543">
                  <c:v>44374</c:v>
                </c:pt>
                <c:pt idx="544">
                  <c:v>44375</c:v>
                </c:pt>
                <c:pt idx="545">
                  <c:v>44376</c:v>
                </c:pt>
                <c:pt idx="546">
                  <c:v>44377</c:v>
                </c:pt>
                <c:pt idx="547">
                  <c:v>44378</c:v>
                </c:pt>
                <c:pt idx="548">
                  <c:v>44379</c:v>
                </c:pt>
                <c:pt idx="549">
                  <c:v>44380</c:v>
                </c:pt>
                <c:pt idx="550">
                  <c:v>44381</c:v>
                </c:pt>
                <c:pt idx="551">
                  <c:v>44382</c:v>
                </c:pt>
                <c:pt idx="552">
                  <c:v>44383</c:v>
                </c:pt>
                <c:pt idx="553">
                  <c:v>44384</c:v>
                </c:pt>
                <c:pt idx="554">
                  <c:v>44385</c:v>
                </c:pt>
                <c:pt idx="555">
                  <c:v>44386</c:v>
                </c:pt>
                <c:pt idx="556">
                  <c:v>44387</c:v>
                </c:pt>
                <c:pt idx="557">
                  <c:v>44388</c:v>
                </c:pt>
                <c:pt idx="558">
                  <c:v>44389</c:v>
                </c:pt>
                <c:pt idx="559">
                  <c:v>44390</c:v>
                </c:pt>
                <c:pt idx="560">
                  <c:v>44391</c:v>
                </c:pt>
                <c:pt idx="561">
                  <c:v>44392</c:v>
                </c:pt>
                <c:pt idx="562">
                  <c:v>44393</c:v>
                </c:pt>
                <c:pt idx="563">
                  <c:v>44394</c:v>
                </c:pt>
                <c:pt idx="564">
                  <c:v>44395</c:v>
                </c:pt>
                <c:pt idx="565">
                  <c:v>44396</c:v>
                </c:pt>
                <c:pt idx="566">
                  <c:v>44397</c:v>
                </c:pt>
                <c:pt idx="567">
                  <c:v>44398</c:v>
                </c:pt>
                <c:pt idx="568">
                  <c:v>44399</c:v>
                </c:pt>
                <c:pt idx="569">
                  <c:v>44400</c:v>
                </c:pt>
                <c:pt idx="570">
                  <c:v>44401</c:v>
                </c:pt>
                <c:pt idx="571">
                  <c:v>44402</c:v>
                </c:pt>
                <c:pt idx="572">
                  <c:v>44403</c:v>
                </c:pt>
                <c:pt idx="573">
                  <c:v>44404</c:v>
                </c:pt>
                <c:pt idx="574">
                  <c:v>44405</c:v>
                </c:pt>
                <c:pt idx="575">
                  <c:v>44406</c:v>
                </c:pt>
                <c:pt idx="576">
                  <c:v>44407</c:v>
                </c:pt>
                <c:pt idx="577">
                  <c:v>44408</c:v>
                </c:pt>
                <c:pt idx="578">
                  <c:v>44409</c:v>
                </c:pt>
                <c:pt idx="579">
                  <c:v>44410</c:v>
                </c:pt>
                <c:pt idx="580">
                  <c:v>44411</c:v>
                </c:pt>
                <c:pt idx="581">
                  <c:v>44412</c:v>
                </c:pt>
                <c:pt idx="582">
                  <c:v>44413</c:v>
                </c:pt>
                <c:pt idx="583">
                  <c:v>44414</c:v>
                </c:pt>
                <c:pt idx="584">
                  <c:v>44415</c:v>
                </c:pt>
                <c:pt idx="585">
                  <c:v>44416</c:v>
                </c:pt>
                <c:pt idx="586">
                  <c:v>44417</c:v>
                </c:pt>
                <c:pt idx="587">
                  <c:v>44418</c:v>
                </c:pt>
                <c:pt idx="588">
                  <c:v>44419</c:v>
                </c:pt>
                <c:pt idx="589">
                  <c:v>44420</c:v>
                </c:pt>
                <c:pt idx="590">
                  <c:v>44421</c:v>
                </c:pt>
                <c:pt idx="591">
                  <c:v>44422</c:v>
                </c:pt>
                <c:pt idx="592">
                  <c:v>44423</c:v>
                </c:pt>
                <c:pt idx="593">
                  <c:v>44424</c:v>
                </c:pt>
                <c:pt idx="594">
                  <c:v>44425</c:v>
                </c:pt>
                <c:pt idx="595">
                  <c:v>44426</c:v>
                </c:pt>
                <c:pt idx="596">
                  <c:v>44427</c:v>
                </c:pt>
                <c:pt idx="597">
                  <c:v>44428</c:v>
                </c:pt>
                <c:pt idx="598">
                  <c:v>44429</c:v>
                </c:pt>
                <c:pt idx="599">
                  <c:v>44430</c:v>
                </c:pt>
                <c:pt idx="600">
                  <c:v>44431</c:v>
                </c:pt>
                <c:pt idx="601">
                  <c:v>44432</c:v>
                </c:pt>
                <c:pt idx="602">
                  <c:v>44433</c:v>
                </c:pt>
                <c:pt idx="603">
                  <c:v>44434</c:v>
                </c:pt>
                <c:pt idx="604">
                  <c:v>44435</c:v>
                </c:pt>
                <c:pt idx="605">
                  <c:v>44436</c:v>
                </c:pt>
                <c:pt idx="606">
                  <c:v>44437</c:v>
                </c:pt>
                <c:pt idx="607">
                  <c:v>44438</c:v>
                </c:pt>
                <c:pt idx="608">
                  <c:v>44439</c:v>
                </c:pt>
                <c:pt idx="609">
                  <c:v>44440</c:v>
                </c:pt>
                <c:pt idx="610">
                  <c:v>44441</c:v>
                </c:pt>
                <c:pt idx="611">
                  <c:v>44442</c:v>
                </c:pt>
                <c:pt idx="612">
                  <c:v>44443</c:v>
                </c:pt>
                <c:pt idx="613">
                  <c:v>44444</c:v>
                </c:pt>
                <c:pt idx="614">
                  <c:v>44445</c:v>
                </c:pt>
                <c:pt idx="615">
                  <c:v>44446</c:v>
                </c:pt>
                <c:pt idx="616">
                  <c:v>44447</c:v>
                </c:pt>
                <c:pt idx="617">
                  <c:v>44448</c:v>
                </c:pt>
                <c:pt idx="618">
                  <c:v>44449</c:v>
                </c:pt>
                <c:pt idx="619">
                  <c:v>44450</c:v>
                </c:pt>
                <c:pt idx="620">
                  <c:v>44451</c:v>
                </c:pt>
                <c:pt idx="621">
                  <c:v>44452</c:v>
                </c:pt>
                <c:pt idx="622">
                  <c:v>44453</c:v>
                </c:pt>
                <c:pt idx="623">
                  <c:v>44454</c:v>
                </c:pt>
                <c:pt idx="624">
                  <c:v>44455</c:v>
                </c:pt>
                <c:pt idx="625">
                  <c:v>44456</c:v>
                </c:pt>
                <c:pt idx="626">
                  <c:v>44457</c:v>
                </c:pt>
                <c:pt idx="627">
                  <c:v>44458</c:v>
                </c:pt>
                <c:pt idx="628">
                  <c:v>44459</c:v>
                </c:pt>
                <c:pt idx="629">
                  <c:v>44460</c:v>
                </c:pt>
                <c:pt idx="630">
                  <c:v>44461</c:v>
                </c:pt>
                <c:pt idx="631">
                  <c:v>44462</c:v>
                </c:pt>
                <c:pt idx="632">
                  <c:v>44463</c:v>
                </c:pt>
                <c:pt idx="633">
                  <c:v>44464</c:v>
                </c:pt>
                <c:pt idx="634">
                  <c:v>44465</c:v>
                </c:pt>
                <c:pt idx="635">
                  <c:v>44466</c:v>
                </c:pt>
                <c:pt idx="636">
                  <c:v>44467</c:v>
                </c:pt>
                <c:pt idx="637">
                  <c:v>44468</c:v>
                </c:pt>
                <c:pt idx="638">
                  <c:v>44469</c:v>
                </c:pt>
                <c:pt idx="639">
                  <c:v>44470</c:v>
                </c:pt>
                <c:pt idx="640">
                  <c:v>44471</c:v>
                </c:pt>
                <c:pt idx="641">
                  <c:v>44472</c:v>
                </c:pt>
                <c:pt idx="642">
                  <c:v>44473</c:v>
                </c:pt>
                <c:pt idx="643">
                  <c:v>44474</c:v>
                </c:pt>
                <c:pt idx="644">
                  <c:v>44475</c:v>
                </c:pt>
                <c:pt idx="645">
                  <c:v>44476</c:v>
                </c:pt>
                <c:pt idx="646">
                  <c:v>44477</c:v>
                </c:pt>
                <c:pt idx="647">
                  <c:v>44478</c:v>
                </c:pt>
                <c:pt idx="648">
                  <c:v>44479</c:v>
                </c:pt>
                <c:pt idx="649">
                  <c:v>44480</c:v>
                </c:pt>
                <c:pt idx="650">
                  <c:v>44481</c:v>
                </c:pt>
                <c:pt idx="651">
                  <c:v>44482</c:v>
                </c:pt>
                <c:pt idx="652">
                  <c:v>44483</c:v>
                </c:pt>
                <c:pt idx="653">
                  <c:v>44484</c:v>
                </c:pt>
                <c:pt idx="654">
                  <c:v>44485</c:v>
                </c:pt>
                <c:pt idx="655">
                  <c:v>44486</c:v>
                </c:pt>
                <c:pt idx="656">
                  <c:v>44487</c:v>
                </c:pt>
                <c:pt idx="657">
                  <c:v>44488</c:v>
                </c:pt>
                <c:pt idx="658">
                  <c:v>44489</c:v>
                </c:pt>
                <c:pt idx="659">
                  <c:v>44490</c:v>
                </c:pt>
                <c:pt idx="660">
                  <c:v>44491</c:v>
                </c:pt>
                <c:pt idx="661">
                  <c:v>44492</c:v>
                </c:pt>
                <c:pt idx="662">
                  <c:v>44493</c:v>
                </c:pt>
                <c:pt idx="663">
                  <c:v>44494</c:v>
                </c:pt>
                <c:pt idx="664">
                  <c:v>44495</c:v>
                </c:pt>
                <c:pt idx="665">
                  <c:v>44496</c:v>
                </c:pt>
                <c:pt idx="666">
                  <c:v>44497</c:v>
                </c:pt>
                <c:pt idx="667">
                  <c:v>44498</c:v>
                </c:pt>
                <c:pt idx="668">
                  <c:v>44499</c:v>
                </c:pt>
                <c:pt idx="669">
                  <c:v>44500</c:v>
                </c:pt>
                <c:pt idx="670">
                  <c:v>44501</c:v>
                </c:pt>
                <c:pt idx="671">
                  <c:v>44502</c:v>
                </c:pt>
                <c:pt idx="672">
                  <c:v>44503</c:v>
                </c:pt>
                <c:pt idx="673">
                  <c:v>44504</c:v>
                </c:pt>
                <c:pt idx="674">
                  <c:v>44505</c:v>
                </c:pt>
                <c:pt idx="675">
                  <c:v>44506</c:v>
                </c:pt>
                <c:pt idx="676">
                  <c:v>44507</c:v>
                </c:pt>
                <c:pt idx="677">
                  <c:v>44508</c:v>
                </c:pt>
                <c:pt idx="678">
                  <c:v>44509</c:v>
                </c:pt>
                <c:pt idx="679">
                  <c:v>44510</c:v>
                </c:pt>
                <c:pt idx="680">
                  <c:v>44511</c:v>
                </c:pt>
                <c:pt idx="681">
                  <c:v>44512</c:v>
                </c:pt>
                <c:pt idx="682">
                  <c:v>44513</c:v>
                </c:pt>
                <c:pt idx="683">
                  <c:v>44514</c:v>
                </c:pt>
                <c:pt idx="684">
                  <c:v>44515</c:v>
                </c:pt>
                <c:pt idx="685">
                  <c:v>44516</c:v>
                </c:pt>
                <c:pt idx="686">
                  <c:v>44517</c:v>
                </c:pt>
                <c:pt idx="687">
                  <c:v>44518</c:v>
                </c:pt>
                <c:pt idx="688">
                  <c:v>44519</c:v>
                </c:pt>
                <c:pt idx="689">
                  <c:v>44520</c:v>
                </c:pt>
                <c:pt idx="690">
                  <c:v>44521</c:v>
                </c:pt>
                <c:pt idx="691">
                  <c:v>44522</c:v>
                </c:pt>
                <c:pt idx="692">
                  <c:v>44523</c:v>
                </c:pt>
                <c:pt idx="693">
                  <c:v>44524</c:v>
                </c:pt>
                <c:pt idx="694">
                  <c:v>44525</c:v>
                </c:pt>
                <c:pt idx="695">
                  <c:v>44526</c:v>
                </c:pt>
                <c:pt idx="696">
                  <c:v>44527</c:v>
                </c:pt>
                <c:pt idx="697">
                  <c:v>44528</c:v>
                </c:pt>
                <c:pt idx="698">
                  <c:v>44529</c:v>
                </c:pt>
                <c:pt idx="699">
                  <c:v>44530</c:v>
                </c:pt>
                <c:pt idx="700">
                  <c:v>44531</c:v>
                </c:pt>
                <c:pt idx="701">
                  <c:v>44532</c:v>
                </c:pt>
                <c:pt idx="702">
                  <c:v>44533</c:v>
                </c:pt>
                <c:pt idx="703">
                  <c:v>44534</c:v>
                </c:pt>
                <c:pt idx="704">
                  <c:v>44535</c:v>
                </c:pt>
                <c:pt idx="705">
                  <c:v>44536</c:v>
                </c:pt>
                <c:pt idx="706">
                  <c:v>44537</c:v>
                </c:pt>
                <c:pt idx="707">
                  <c:v>44538</c:v>
                </c:pt>
                <c:pt idx="708">
                  <c:v>44539</c:v>
                </c:pt>
                <c:pt idx="709">
                  <c:v>44540</c:v>
                </c:pt>
                <c:pt idx="710">
                  <c:v>44541</c:v>
                </c:pt>
                <c:pt idx="711">
                  <c:v>44542</c:v>
                </c:pt>
                <c:pt idx="712">
                  <c:v>44543</c:v>
                </c:pt>
                <c:pt idx="713">
                  <c:v>44544</c:v>
                </c:pt>
                <c:pt idx="714">
                  <c:v>44545</c:v>
                </c:pt>
                <c:pt idx="715">
                  <c:v>44546</c:v>
                </c:pt>
                <c:pt idx="716">
                  <c:v>44547</c:v>
                </c:pt>
                <c:pt idx="717">
                  <c:v>44548</c:v>
                </c:pt>
                <c:pt idx="718">
                  <c:v>44549</c:v>
                </c:pt>
                <c:pt idx="719">
                  <c:v>44550</c:v>
                </c:pt>
                <c:pt idx="720">
                  <c:v>44551</c:v>
                </c:pt>
                <c:pt idx="721">
                  <c:v>44552</c:v>
                </c:pt>
                <c:pt idx="722">
                  <c:v>44553</c:v>
                </c:pt>
                <c:pt idx="723">
                  <c:v>44554</c:v>
                </c:pt>
                <c:pt idx="724">
                  <c:v>44555</c:v>
                </c:pt>
                <c:pt idx="725">
                  <c:v>44556</c:v>
                </c:pt>
                <c:pt idx="726">
                  <c:v>44557</c:v>
                </c:pt>
                <c:pt idx="727">
                  <c:v>44558</c:v>
                </c:pt>
                <c:pt idx="728">
                  <c:v>44559</c:v>
                </c:pt>
                <c:pt idx="729">
                  <c:v>44560</c:v>
                </c:pt>
                <c:pt idx="730">
                  <c:v>44561</c:v>
                </c:pt>
                <c:pt idx="731">
                  <c:v>44562</c:v>
                </c:pt>
                <c:pt idx="732">
                  <c:v>44563</c:v>
                </c:pt>
                <c:pt idx="733">
                  <c:v>44564</c:v>
                </c:pt>
                <c:pt idx="734">
                  <c:v>44565</c:v>
                </c:pt>
                <c:pt idx="735">
                  <c:v>44566</c:v>
                </c:pt>
                <c:pt idx="736">
                  <c:v>44567</c:v>
                </c:pt>
                <c:pt idx="737">
                  <c:v>44568</c:v>
                </c:pt>
                <c:pt idx="738">
                  <c:v>44569</c:v>
                </c:pt>
                <c:pt idx="739">
                  <c:v>44570</c:v>
                </c:pt>
                <c:pt idx="740">
                  <c:v>44571</c:v>
                </c:pt>
                <c:pt idx="741">
                  <c:v>44572</c:v>
                </c:pt>
                <c:pt idx="742">
                  <c:v>44573</c:v>
                </c:pt>
                <c:pt idx="743">
                  <c:v>44574</c:v>
                </c:pt>
                <c:pt idx="744">
                  <c:v>44575</c:v>
                </c:pt>
                <c:pt idx="745">
                  <c:v>44576</c:v>
                </c:pt>
                <c:pt idx="746">
                  <c:v>44577</c:v>
                </c:pt>
                <c:pt idx="747">
                  <c:v>44578</c:v>
                </c:pt>
                <c:pt idx="748">
                  <c:v>44579</c:v>
                </c:pt>
                <c:pt idx="749">
                  <c:v>44580</c:v>
                </c:pt>
                <c:pt idx="750">
                  <c:v>44581</c:v>
                </c:pt>
                <c:pt idx="751">
                  <c:v>44582</c:v>
                </c:pt>
                <c:pt idx="752">
                  <c:v>44583</c:v>
                </c:pt>
                <c:pt idx="753">
                  <c:v>44584</c:v>
                </c:pt>
                <c:pt idx="754">
                  <c:v>44585</c:v>
                </c:pt>
                <c:pt idx="755">
                  <c:v>44586</c:v>
                </c:pt>
                <c:pt idx="756">
                  <c:v>44587</c:v>
                </c:pt>
                <c:pt idx="757">
                  <c:v>44588</c:v>
                </c:pt>
                <c:pt idx="758">
                  <c:v>44589</c:v>
                </c:pt>
                <c:pt idx="759">
                  <c:v>44590</c:v>
                </c:pt>
                <c:pt idx="760">
                  <c:v>44591</c:v>
                </c:pt>
                <c:pt idx="761">
                  <c:v>44592</c:v>
                </c:pt>
                <c:pt idx="762">
                  <c:v>44593</c:v>
                </c:pt>
                <c:pt idx="763">
                  <c:v>44594</c:v>
                </c:pt>
                <c:pt idx="764">
                  <c:v>44595</c:v>
                </c:pt>
                <c:pt idx="765">
                  <c:v>44596</c:v>
                </c:pt>
                <c:pt idx="766">
                  <c:v>44597</c:v>
                </c:pt>
                <c:pt idx="767">
                  <c:v>44598</c:v>
                </c:pt>
                <c:pt idx="768">
                  <c:v>44599</c:v>
                </c:pt>
                <c:pt idx="769">
                  <c:v>44600</c:v>
                </c:pt>
                <c:pt idx="770">
                  <c:v>44601</c:v>
                </c:pt>
                <c:pt idx="771">
                  <c:v>44602</c:v>
                </c:pt>
                <c:pt idx="772">
                  <c:v>44603</c:v>
                </c:pt>
                <c:pt idx="773">
                  <c:v>44604</c:v>
                </c:pt>
                <c:pt idx="774">
                  <c:v>44605</c:v>
                </c:pt>
                <c:pt idx="775">
                  <c:v>44606</c:v>
                </c:pt>
                <c:pt idx="776">
                  <c:v>44607</c:v>
                </c:pt>
                <c:pt idx="777">
                  <c:v>44608</c:v>
                </c:pt>
                <c:pt idx="778">
                  <c:v>44609</c:v>
                </c:pt>
                <c:pt idx="779">
                  <c:v>44610</c:v>
                </c:pt>
                <c:pt idx="780">
                  <c:v>44611</c:v>
                </c:pt>
                <c:pt idx="781">
                  <c:v>44612</c:v>
                </c:pt>
                <c:pt idx="782">
                  <c:v>44613</c:v>
                </c:pt>
                <c:pt idx="783">
                  <c:v>44614</c:v>
                </c:pt>
                <c:pt idx="784">
                  <c:v>44615</c:v>
                </c:pt>
                <c:pt idx="785">
                  <c:v>44616</c:v>
                </c:pt>
                <c:pt idx="786">
                  <c:v>44617</c:v>
                </c:pt>
                <c:pt idx="787">
                  <c:v>44618</c:v>
                </c:pt>
                <c:pt idx="788">
                  <c:v>44619</c:v>
                </c:pt>
                <c:pt idx="789">
                  <c:v>44620</c:v>
                </c:pt>
                <c:pt idx="790">
                  <c:v>44621</c:v>
                </c:pt>
                <c:pt idx="791">
                  <c:v>44622</c:v>
                </c:pt>
                <c:pt idx="792">
                  <c:v>44623</c:v>
                </c:pt>
                <c:pt idx="793">
                  <c:v>44624</c:v>
                </c:pt>
                <c:pt idx="794">
                  <c:v>44625</c:v>
                </c:pt>
                <c:pt idx="795">
                  <c:v>44626</c:v>
                </c:pt>
                <c:pt idx="796">
                  <c:v>44627</c:v>
                </c:pt>
                <c:pt idx="797">
                  <c:v>44628</c:v>
                </c:pt>
                <c:pt idx="798">
                  <c:v>44629</c:v>
                </c:pt>
                <c:pt idx="799">
                  <c:v>44630</c:v>
                </c:pt>
                <c:pt idx="800">
                  <c:v>44631</c:v>
                </c:pt>
                <c:pt idx="801">
                  <c:v>44632</c:v>
                </c:pt>
                <c:pt idx="802">
                  <c:v>44633</c:v>
                </c:pt>
                <c:pt idx="803">
                  <c:v>44634</c:v>
                </c:pt>
                <c:pt idx="804">
                  <c:v>44635</c:v>
                </c:pt>
                <c:pt idx="805">
                  <c:v>44636</c:v>
                </c:pt>
                <c:pt idx="806">
                  <c:v>44637</c:v>
                </c:pt>
                <c:pt idx="807">
                  <c:v>44638</c:v>
                </c:pt>
                <c:pt idx="808">
                  <c:v>44639</c:v>
                </c:pt>
                <c:pt idx="809">
                  <c:v>44640</c:v>
                </c:pt>
                <c:pt idx="810">
                  <c:v>44641</c:v>
                </c:pt>
                <c:pt idx="811">
                  <c:v>44642</c:v>
                </c:pt>
                <c:pt idx="812">
                  <c:v>44643</c:v>
                </c:pt>
                <c:pt idx="813">
                  <c:v>44644</c:v>
                </c:pt>
                <c:pt idx="814">
                  <c:v>44645</c:v>
                </c:pt>
                <c:pt idx="815">
                  <c:v>44646</c:v>
                </c:pt>
                <c:pt idx="816">
                  <c:v>44647</c:v>
                </c:pt>
                <c:pt idx="817">
                  <c:v>44648</c:v>
                </c:pt>
                <c:pt idx="818">
                  <c:v>44649</c:v>
                </c:pt>
                <c:pt idx="819">
                  <c:v>44650</c:v>
                </c:pt>
                <c:pt idx="820">
                  <c:v>44651</c:v>
                </c:pt>
                <c:pt idx="821">
                  <c:v>44652</c:v>
                </c:pt>
                <c:pt idx="822">
                  <c:v>44653</c:v>
                </c:pt>
                <c:pt idx="823">
                  <c:v>44654</c:v>
                </c:pt>
                <c:pt idx="824">
                  <c:v>44655</c:v>
                </c:pt>
                <c:pt idx="825">
                  <c:v>44656</c:v>
                </c:pt>
                <c:pt idx="826">
                  <c:v>44657</c:v>
                </c:pt>
                <c:pt idx="827">
                  <c:v>44658</c:v>
                </c:pt>
                <c:pt idx="828">
                  <c:v>44659</c:v>
                </c:pt>
                <c:pt idx="829">
                  <c:v>44660</c:v>
                </c:pt>
                <c:pt idx="830">
                  <c:v>44661</c:v>
                </c:pt>
                <c:pt idx="831">
                  <c:v>44662</c:v>
                </c:pt>
                <c:pt idx="832">
                  <c:v>44663</c:v>
                </c:pt>
                <c:pt idx="833">
                  <c:v>44664</c:v>
                </c:pt>
                <c:pt idx="834">
                  <c:v>44665</c:v>
                </c:pt>
                <c:pt idx="835">
                  <c:v>44666</c:v>
                </c:pt>
                <c:pt idx="836">
                  <c:v>44667</c:v>
                </c:pt>
                <c:pt idx="837">
                  <c:v>44668</c:v>
                </c:pt>
                <c:pt idx="838">
                  <c:v>44669</c:v>
                </c:pt>
                <c:pt idx="839">
                  <c:v>44670</c:v>
                </c:pt>
                <c:pt idx="840">
                  <c:v>44671</c:v>
                </c:pt>
                <c:pt idx="841">
                  <c:v>44672</c:v>
                </c:pt>
                <c:pt idx="842">
                  <c:v>44673</c:v>
                </c:pt>
                <c:pt idx="843">
                  <c:v>44674</c:v>
                </c:pt>
                <c:pt idx="844">
                  <c:v>44675</c:v>
                </c:pt>
                <c:pt idx="845">
                  <c:v>44676</c:v>
                </c:pt>
                <c:pt idx="846">
                  <c:v>44677</c:v>
                </c:pt>
                <c:pt idx="847">
                  <c:v>44678</c:v>
                </c:pt>
                <c:pt idx="848">
                  <c:v>44679</c:v>
                </c:pt>
                <c:pt idx="849">
                  <c:v>44680</c:v>
                </c:pt>
                <c:pt idx="850">
                  <c:v>44681</c:v>
                </c:pt>
                <c:pt idx="851">
                  <c:v>44682</c:v>
                </c:pt>
                <c:pt idx="852">
                  <c:v>44683</c:v>
                </c:pt>
                <c:pt idx="853">
                  <c:v>44684</c:v>
                </c:pt>
                <c:pt idx="854">
                  <c:v>44685</c:v>
                </c:pt>
                <c:pt idx="855">
                  <c:v>44686</c:v>
                </c:pt>
                <c:pt idx="856">
                  <c:v>44687</c:v>
                </c:pt>
                <c:pt idx="857">
                  <c:v>44688</c:v>
                </c:pt>
                <c:pt idx="858">
                  <c:v>44689</c:v>
                </c:pt>
                <c:pt idx="859">
                  <c:v>44690</c:v>
                </c:pt>
                <c:pt idx="860">
                  <c:v>44691</c:v>
                </c:pt>
                <c:pt idx="861">
                  <c:v>44692</c:v>
                </c:pt>
                <c:pt idx="862">
                  <c:v>44693</c:v>
                </c:pt>
                <c:pt idx="863">
                  <c:v>44694</c:v>
                </c:pt>
                <c:pt idx="864">
                  <c:v>44695</c:v>
                </c:pt>
                <c:pt idx="865">
                  <c:v>44696</c:v>
                </c:pt>
                <c:pt idx="866">
                  <c:v>44697</c:v>
                </c:pt>
                <c:pt idx="867">
                  <c:v>44698</c:v>
                </c:pt>
                <c:pt idx="868">
                  <c:v>44699</c:v>
                </c:pt>
                <c:pt idx="869">
                  <c:v>44700</c:v>
                </c:pt>
                <c:pt idx="870">
                  <c:v>44701</c:v>
                </c:pt>
                <c:pt idx="871">
                  <c:v>44702</c:v>
                </c:pt>
                <c:pt idx="872">
                  <c:v>44703</c:v>
                </c:pt>
                <c:pt idx="873">
                  <c:v>44704</c:v>
                </c:pt>
                <c:pt idx="874">
                  <c:v>44705</c:v>
                </c:pt>
                <c:pt idx="875">
                  <c:v>44706</c:v>
                </c:pt>
                <c:pt idx="876">
                  <c:v>44707</c:v>
                </c:pt>
                <c:pt idx="877">
                  <c:v>44708</c:v>
                </c:pt>
                <c:pt idx="878">
                  <c:v>44709</c:v>
                </c:pt>
                <c:pt idx="879">
                  <c:v>44710</c:v>
                </c:pt>
                <c:pt idx="880">
                  <c:v>44711</c:v>
                </c:pt>
                <c:pt idx="881">
                  <c:v>44712</c:v>
                </c:pt>
                <c:pt idx="882">
                  <c:v>44713</c:v>
                </c:pt>
                <c:pt idx="883">
                  <c:v>44714</c:v>
                </c:pt>
                <c:pt idx="884">
                  <c:v>44715</c:v>
                </c:pt>
                <c:pt idx="885">
                  <c:v>44716</c:v>
                </c:pt>
                <c:pt idx="886">
                  <c:v>44717</c:v>
                </c:pt>
                <c:pt idx="887">
                  <c:v>44718</c:v>
                </c:pt>
                <c:pt idx="888">
                  <c:v>44719</c:v>
                </c:pt>
                <c:pt idx="889">
                  <c:v>44720</c:v>
                </c:pt>
                <c:pt idx="890">
                  <c:v>44721</c:v>
                </c:pt>
                <c:pt idx="891">
                  <c:v>44722</c:v>
                </c:pt>
                <c:pt idx="892">
                  <c:v>44723</c:v>
                </c:pt>
                <c:pt idx="893">
                  <c:v>44724</c:v>
                </c:pt>
                <c:pt idx="894">
                  <c:v>44725</c:v>
                </c:pt>
                <c:pt idx="895">
                  <c:v>44726</c:v>
                </c:pt>
                <c:pt idx="896">
                  <c:v>44727</c:v>
                </c:pt>
                <c:pt idx="897">
                  <c:v>44728</c:v>
                </c:pt>
                <c:pt idx="898">
                  <c:v>44729</c:v>
                </c:pt>
                <c:pt idx="899">
                  <c:v>44730</c:v>
                </c:pt>
                <c:pt idx="900">
                  <c:v>44731</c:v>
                </c:pt>
                <c:pt idx="901">
                  <c:v>44732</c:v>
                </c:pt>
                <c:pt idx="902">
                  <c:v>44733</c:v>
                </c:pt>
                <c:pt idx="903">
                  <c:v>44734</c:v>
                </c:pt>
                <c:pt idx="904">
                  <c:v>44735</c:v>
                </c:pt>
                <c:pt idx="905">
                  <c:v>44736</c:v>
                </c:pt>
                <c:pt idx="906">
                  <c:v>44737</c:v>
                </c:pt>
                <c:pt idx="907">
                  <c:v>44738</c:v>
                </c:pt>
                <c:pt idx="908">
                  <c:v>44739</c:v>
                </c:pt>
                <c:pt idx="909">
                  <c:v>44740</c:v>
                </c:pt>
                <c:pt idx="910">
                  <c:v>44741</c:v>
                </c:pt>
                <c:pt idx="911">
                  <c:v>44742</c:v>
                </c:pt>
                <c:pt idx="912">
                  <c:v>44743</c:v>
                </c:pt>
                <c:pt idx="913">
                  <c:v>44744</c:v>
                </c:pt>
                <c:pt idx="914">
                  <c:v>44745</c:v>
                </c:pt>
                <c:pt idx="915">
                  <c:v>44746</c:v>
                </c:pt>
                <c:pt idx="916">
                  <c:v>44747</c:v>
                </c:pt>
                <c:pt idx="917">
                  <c:v>44748</c:v>
                </c:pt>
                <c:pt idx="918">
                  <c:v>44749</c:v>
                </c:pt>
                <c:pt idx="919">
                  <c:v>44750</c:v>
                </c:pt>
                <c:pt idx="920">
                  <c:v>44751</c:v>
                </c:pt>
                <c:pt idx="921">
                  <c:v>44752</c:v>
                </c:pt>
                <c:pt idx="922">
                  <c:v>44753</c:v>
                </c:pt>
                <c:pt idx="923">
                  <c:v>44754</c:v>
                </c:pt>
                <c:pt idx="924">
                  <c:v>44755</c:v>
                </c:pt>
                <c:pt idx="925">
                  <c:v>44756</c:v>
                </c:pt>
                <c:pt idx="926">
                  <c:v>44757</c:v>
                </c:pt>
                <c:pt idx="927">
                  <c:v>44758</c:v>
                </c:pt>
                <c:pt idx="928">
                  <c:v>44759</c:v>
                </c:pt>
                <c:pt idx="929">
                  <c:v>44760</c:v>
                </c:pt>
                <c:pt idx="930">
                  <c:v>44761</c:v>
                </c:pt>
                <c:pt idx="931">
                  <c:v>44762</c:v>
                </c:pt>
                <c:pt idx="932">
                  <c:v>44763</c:v>
                </c:pt>
                <c:pt idx="933">
                  <c:v>44764</c:v>
                </c:pt>
                <c:pt idx="934">
                  <c:v>44765</c:v>
                </c:pt>
                <c:pt idx="935">
                  <c:v>44766</c:v>
                </c:pt>
                <c:pt idx="936">
                  <c:v>44767</c:v>
                </c:pt>
                <c:pt idx="937">
                  <c:v>44768</c:v>
                </c:pt>
                <c:pt idx="938">
                  <c:v>44769</c:v>
                </c:pt>
                <c:pt idx="939">
                  <c:v>44770</c:v>
                </c:pt>
                <c:pt idx="940">
                  <c:v>44771</c:v>
                </c:pt>
                <c:pt idx="941">
                  <c:v>44772</c:v>
                </c:pt>
                <c:pt idx="942">
                  <c:v>44773</c:v>
                </c:pt>
                <c:pt idx="943">
                  <c:v>44774</c:v>
                </c:pt>
                <c:pt idx="944">
                  <c:v>44775</c:v>
                </c:pt>
                <c:pt idx="945">
                  <c:v>44776</c:v>
                </c:pt>
                <c:pt idx="946">
                  <c:v>44777</c:v>
                </c:pt>
                <c:pt idx="947">
                  <c:v>44778</c:v>
                </c:pt>
                <c:pt idx="948">
                  <c:v>44779</c:v>
                </c:pt>
                <c:pt idx="949">
                  <c:v>44780</c:v>
                </c:pt>
                <c:pt idx="950">
                  <c:v>44781</c:v>
                </c:pt>
                <c:pt idx="951">
                  <c:v>44782</c:v>
                </c:pt>
                <c:pt idx="952">
                  <c:v>44783</c:v>
                </c:pt>
                <c:pt idx="953">
                  <c:v>44784</c:v>
                </c:pt>
                <c:pt idx="954">
                  <c:v>44785</c:v>
                </c:pt>
                <c:pt idx="955">
                  <c:v>44786</c:v>
                </c:pt>
                <c:pt idx="956">
                  <c:v>44787</c:v>
                </c:pt>
                <c:pt idx="957">
                  <c:v>44788</c:v>
                </c:pt>
                <c:pt idx="958">
                  <c:v>44789</c:v>
                </c:pt>
                <c:pt idx="959">
                  <c:v>44790</c:v>
                </c:pt>
                <c:pt idx="960">
                  <c:v>44791</c:v>
                </c:pt>
                <c:pt idx="961">
                  <c:v>44792</c:v>
                </c:pt>
                <c:pt idx="962">
                  <c:v>44793</c:v>
                </c:pt>
                <c:pt idx="963">
                  <c:v>44794</c:v>
                </c:pt>
                <c:pt idx="964">
                  <c:v>44795</c:v>
                </c:pt>
                <c:pt idx="965">
                  <c:v>44796</c:v>
                </c:pt>
                <c:pt idx="966">
                  <c:v>44797</c:v>
                </c:pt>
                <c:pt idx="967">
                  <c:v>44798</c:v>
                </c:pt>
                <c:pt idx="968">
                  <c:v>44799</c:v>
                </c:pt>
                <c:pt idx="969">
                  <c:v>44800</c:v>
                </c:pt>
                <c:pt idx="970">
                  <c:v>44801</c:v>
                </c:pt>
                <c:pt idx="971">
                  <c:v>44802</c:v>
                </c:pt>
                <c:pt idx="972">
                  <c:v>44803</c:v>
                </c:pt>
                <c:pt idx="973">
                  <c:v>44804</c:v>
                </c:pt>
                <c:pt idx="974">
                  <c:v>44805</c:v>
                </c:pt>
                <c:pt idx="975">
                  <c:v>44806</c:v>
                </c:pt>
                <c:pt idx="976">
                  <c:v>44807</c:v>
                </c:pt>
                <c:pt idx="977">
                  <c:v>44808</c:v>
                </c:pt>
                <c:pt idx="978">
                  <c:v>44809</c:v>
                </c:pt>
                <c:pt idx="979">
                  <c:v>44810</c:v>
                </c:pt>
                <c:pt idx="980">
                  <c:v>44811</c:v>
                </c:pt>
                <c:pt idx="981">
                  <c:v>44812</c:v>
                </c:pt>
                <c:pt idx="982">
                  <c:v>44813</c:v>
                </c:pt>
                <c:pt idx="983">
                  <c:v>44814</c:v>
                </c:pt>
                <c:pt idx="984">
                  <c:v>44815</c:v>
                </c:pt>
                <c:pt idx="985">
                  <c:v>44816</c:v>
                </c:pt>
                <c:pt idx="986">
                  <c:v>44817</c:v>
                </c:pt>
                <c:pt idx="987">
                  <c:v>44818</c:v>
                </c:pt>
                <c:pt idx="988">
                  <c:v>44819</c:v>
                </c:pt>
                <c:pt idx="989">
                  <c:v>44820</c:v>
                </c:pt>
                <c:pt idx="990">
                  <c:v>44821</c:v>
                </c:pt>
                <c:pt idx="991">
                  <c:v>44822</c:v>
                </c:pt>
                <c:pt idx="992">
                  <c:v>44823</c:v>
                </c:pt>
                <c:pt idx="993">
                  <c:v>44824</c:v>
                </c:pt>
                <c:pt idx="994">
                  <c:v>44825</c:v>
                </c:pt>
                <c:pt idx="995">
                  <c:v>44826</c:v>
                </c:pt>
                <c:pt idx="996">
                  <c:v>44827</c:v>
                </c:pt>
                <c:pt idx="997">
                  <c:v>44828</c:v>
                </c:pt>
                <c:pt idx="998">
                  <c:v>44829</c:v>
                </c:pt>
                <c:pt idx="999">
                  <c:v>44830</c:v>
                </c:pt>
                <c:pt idx="1000">
                  <c:v>44831</c:v>
                </c:pt>
                <c:pt idx="1001">
                  <c:v>44832</c:v>
                </c:pt>
                <c:pt idx="1002">
                  <c:v>44833</c:v>
                </c:pt>
                <c:pt idx="1003">
                  <c:v>44834</c:v>
                </c:pt>
                <c:pt idx="1004">
                  <c:v>44835</c:v>
                </c:pt>
                <c:pt idx="1005">
                  <c:v>44836</c:v>
                </c:pt>
                <c:pt idx="1006">
                  <c:v>44837</c:v>
                </c:pt>
                <c:pt idx="1007">
                  <c:v>44838</c:v>
                </c:pt>
                <c:pt idx="1008">
                  <c:v>44839</c:v>
                </c:pt>
                <c:pt idx="1009">
                  <c:v>44840</c:v>
                </c:pt>
                <c:pt idx="1010">
                  <c:v>44841</c:v>
                </c:pt>
                <c:pt idx="1011">
                  <c:v>44842</c:v>
                </c:pt>
                <c:pt idx="1012">
                  <c:v>44843</c:v>
                </c:pt>
                <c:pt idx="1013">
                  <c:v>44844</c:v>
                </c:pt>
                <c:pt idx="1014">
                  <c:v>44845</c:v>
                </c:pt>
                <c:pt idx="1015">
                  <c:v>44846</c:v>
                </c:pt>
                <c:pt idx="1016">
                  <c:v>44847</c:v>
                </c:pt>
                <c:pt idx="1017">
                  <c:v>44848</c:v>
                </c:pt>
                <c:pt idx="1018">
                  <c:v>44849</c:v>
                </c:pt>
                <c:pt idx="1019">
                  <c:v>44850</c:v>
                </c:pt>
                <c:pt idx="1020">
                  <c:v>44851</c:v>
                </c:pt>
                <c:pt idx="1021">
                  <c:v>44852</c:v>
                </c:pt>
                <c:pt idx="1022">
                  <c:v>44853</c:v>
                </c:pt>
                <c:pt idx="1023">
                  <c:v>44854</c:v>
                </c:pt>
                <c:pt idx="1024">
                  <c:v>44855</c:v>
                </c:pt>
                <c:pt idx="1025">
                  <c:v>44856</c:v>
                </c:pt>
                <c:pt idx="1026">
                  <c:v>44857</c:v>
                </c:pt>
                <c:pt idx="1027">
                  <c:v>44858</c:v>
                </c:pt>
                <c:pt idx="1028">
                  <c:v>44859</c:v>
                </c:pt>
                <c:pt idx="1029">
                  <c:v>44860</c:v>
                </c:pt>
                <c:pt idx="1030">
                  <c:v>44861</c:v>
                </c:pt>
                <c:pt idx="1031">
                  <c:v>44862</c:v>
                </c:pt>
                <c:pt idx="1032">
                  <c:v>44863</c:v>
                </c:pt>
                <c:pt idx="1033">
                  <c:v>44864</c:v>
                </c:pt>
                <c:pt idx="1034">
                  <c:v>44865</c:v>
                </c:pt>
                <c:pt idx="1035">
                  <c:v>44866</c:v>
                </c:pt>
                <c:pt idx="1036">
                  <c:v>44867</c:v>
                </c:pt>
                <c:pt idx="1037">
                  <c:v>44868</c:v>
                </c:pt>
                <c:pt idx="1038">
                  <c:v>44869</c:v>
                </c:pt>
                <c:pt idx="1039">
                  <c:v>44870</c:v>
                </c:pt>
                <c:pt idx="1040">
                  <c:v>44871</c:v>
                </c:pt>
                <c:pt idx="1041">
                  <c:v>44872</c:v>
                </c:pt>
                <c:pt idx="1042">
                  <c:v>44873</c:v>
                </c:pt>
                <c:pt idx="1043">
                  <c:v>44874</c:v>
                </c:pt>
                <c:pt idx="1044">
                  <c:v>44875</c:v>
                </c:pt>
                <c:pt idx="1045">
                  <c:v>44876</c:v>
                </c:pt>
                <c:pt idx="1046">
                  <c:v>44877</c:v>
                </c:pt>
                <c:pt idx="1047">
                  <c:v>44878</c:v>
                </c:pt>
                <c:pt idx="1048">
                  <c:v>44879</c:v>
                </c:pt>
                <c:pt idx="1049">
                  <c:v>44880</c:v>
                </c:pt>
                <c:pt idx="1050">
                  <c:v>44881</c:v>
                </c:pt>
                <c:pt idx="1051">
                  <c:v>44882</c:v>
                </c:pt>
                <c:pt idx="1052">
                  <c:v>44883</c:v>
                </c:pt>
                <c:pt idx="1053">
                  <c:v>44884</c:v>
                </c:pt>
                <c:pt idx="1054">
                  <c:v>44885</c:v>
                </c:pt>
                <c:pt idx="1055">
                  <c:v>44886</c:v>
                </c:pt>
                <c:pt idx="1056">
                  <c:v>44887</c:v>
                </c:pt>
                <c:pt idx="1057">
                  <c:v>44888</c:v>
                </c:pt>
                <c:pt idx="1058">
                  <c:v>44889</c:v>
                </c:pt>
                <c:pt idx="1059">
                  <c:v>44890</c:v>
                </c:pt>
                <c:pt idx="1060">
                  <c:v>44891</c:v>
                </c:pt>
                <c:pt idx="1061">
                  <c:v>44892</c:v>
                </c:pt>
                <c:pt idx="1062">
                  <c:v>44893</c:v>
                </c:pt>
                <c:pt idx="1063">
                  <c:v>44894</c:v>
                </c:pt>
                <c:pt idx="1064">
                  <c:v>44895</c:v>
                </c:pt>
                <c:pt idx="1065">
                  <c:v>44896</c:v>
                </c:pt>
                <c:pt idx="1066">
                  <c:v>44897</c:v>
                </c:pt>
                <c:pt idx="1067">
                  <c:v>44898</c:v>
                </c:pt>
                <c:pt idx="1068">
                  <c:v>44899</c:v>
                </c:pt>
                <c:pt idx="1069">
                  <c:v>44900</c:v>
                </c:pt>
                <c:pt idx="1070">
                  <c:v>44901</c:v>
                </c:pt>
                <c:pt idx="1071">
                  <c:v>44902</c:v>
                </c:pt>
                <c:pt idx="1072">
                  <c:v>44903</c:v>
                </c:pt>
                <c:pt idx="1073">
                  <c:v>44904</c:v>
                </c:pt>
                <c:pt idx="1074">
                  <c:v>44905</c:v>
                </c:pt>
                <c:pt idx="1075">
                  <c:v>44906</c:v>
                </c:pt>
                <c:pt idx="1076">
                  <c:v>44907</c:v>
                </c:pt>
                <c:pt idx="1077">
                  <c:v>44908</c:v>
                </c:pt>
                <c:pt idx="1078">
                  <c:v>44909</c:v>
                </c:pt>
                <c:pt idx="1079">
                  <c:v>44910</c:v>
                </c:pt>
                <c:pt idx="1080">
                  <c:v>44911</c:v>
                </c:pt>
                <c:pt idx="1081">
                  <c:v>44912</c:v>
                </c:pt>
                <c:pt idx="1082">
                  <c:v>44913</c:v>
                </c:pt>
                <c:pt idx="1083">
                  <c:v>44914</c:v>
                </c:pt>
                <c:pt idx="1084">
                  <c:v>44915</c:v>
                </c:pt>
                <c:pt idx="1085">
                  <c:v>44916</c:v>
                </c:pt>
                <c:pt idx="1086">
                  <c:v>44917</c:v>
                </c:pt>
                <c:pt idx="1087">
                  <c:v>44918</c:v>
                </c:pt>
                <c:pt idx="1088">
                  <c:v>44919</c:v>
                </c:pt>
                <c:pt idx="1089">
                  <c:v>44920</c:v>
                </c:pt>
                <c:pt idx="1090">
                  <c:v>44921</c:v>
                </c:pt>
                <c:pt idx="1091">
                  <c:v>44922</c:v>
                </c:pt>
                <c:pt idx="1092">
                  <c:v>44923</c:v>
                </c:pt>
                <c:pt idx="1093">
                  <c:v>44924</c:v>
                </c:pt>
                <c:pt idx="1094">
                  <c:v>44925</c:v>
                </c:pt>
                <c:pt idx="1095">
                  <c:v>44926</c:v>
                </c:pt>
                <c:pt idx="1096">
                  <c:v>44927</c:v>
                </c:pt>
                <c:pt idx="1097">
                  <c:v>44928</c:v>
                </c:pt>
                <c:pt idx="1098">
                  <c:v>44929</c:v>
                </c:pt>
                <c:pt idx="1099">
                  <c:v>44930</c:v>
                </c:pt>
                <c:pt idx="1100">
                  <c:v>44931</c:v>
                </c:pt>
                <c:pt idx="1101">
                  <c:v>44932</c:v>
                </c:pt>
                <c:pt idx="1102">
                  <c:v>44933</c:v>
                </c:pt>
                <c:pt idx="1103">
                  <c:v>44934</c:v>
                </c:pt>
                <c:pt idx="1104">
                  <c:v>44935</c:v>
                </c:pt>
                <c:pt idx="1105">
                  <c:v>44936</c:v>
                </c:pt>
                <c:pt idx="1106">
                  <c:v>44937</c:v>
                </c:pt>
                <c:pt idx="1107">
                  <c:v>44938</c:v>
                </c:pt>
                <c:pt idx="1108">
                  <c:v>44939</c:v>
                </c:pt>
                <c:pt idx="1109">
                  <c:v>44940</c:v>
                </c:pt>
                <c:pt idx="1110">
                  <c:v>44941</c:v>
                </c:pt>
                <c:pt idx="1111">
                  <c:v>44942</c:v>
                </c:pt>
                <c:pt idx="1112">
                  <c:v>44943</c:v>
                </c:pt>
                <c:pt idx="1113">
                  <c:v>44944</c:v>
                </c:pt>
                <c:pt idx="1114">
                  <c:v>44945</c:v>
                </c:pt>
                <c:pt idx="1115">
                  <c:v>44946</c:v>
                </c:pt>
                <c:pt idx="1116">
                  <c:v>44947</c:v>
                </c:pt>
                <c:pt idx="1117">
                  <c:v>44948</c:v>
                </c:pt>
                <c:pt idx="1118">
                  <c:v>44949</c:v>
                </c:pt>
                <c:pt idx="1119">
                  <c:v>44950</c:v>
                </c:pt>
                <c:pt idx="1120">
                  <c:v>44951</c:v>
                </c:pt>
                <c:pt idx="1121">
                  <c:v>44952</c:v>
                </c:pt>
                <c:pt idx="1122">
                  <c:v>44953</c:v>
                </c:pt>
                <c:pt idx="1123">
                  <c:v>44954</c:v>
                </c:pt>
                <c:pt idx="1124">
                  <c:v>44955</c:v>
                </c:pt>
                <c:pt idx="1125">
                  <c:v>44956</c:v>
                </c:pt>
                <c:pt idx="1126">
                  <c:v>44957</c:v>
                </c:pt>
                <c:pt idx="1127">
                  <c:v>44958</c:v>
                </c:pt>
                <c:pt idx="1128">
                  <c:v>44959</c:v>
                </c:pt>
                <c:pt idx="1129">
                  <c:v>44960</c:v>
                </c:pt>
                <c:pt idx="1130">
                  <c:v>44961</c:v>
                </c:pt>
                <c:pt idx="1131">
                  <c:v>44962</c:v>
                </c:pt>
                <c:pt idx="1132">
                  <c:v>44963</c:v>
                </c:pt>
                <c:pt idx="1133">
                  <c:v>44964</c:v>
                </c:pt>
                <c:pt idx="1134">
                  <c:v>44965</c:v>
                </c:pt>
                <c:pt idx="1135">
                  <c:v>44966</c:v>
                </c:pt>
                <c:pt idx="1136">
                  <c:v>44967</c:v>
                </c:pt>
                <c:pt idx="1137">
                  <c:v>44968</c:v>
                </c:pt>
                <c:pt idx="1138">
                  <c:v>44969</c:v>
                </c:pt>
                <c:pt idx="1139">
                  <c:v>44970</c:v>
                </c:pt>
                <c:pt idx="1140">
                  <c:v>44971</c:v>
                </c:pt>
                <c:pt idx="1141">
                  <c:v>44972</c:v>
                </c:pt>
                <c:pt idx="1142">
                  <c:v>44973</c:v>
                </c:pt>
                <c:pt idx="1143">
                  <c:v>44974</c:v>
                </c:pt>
                <c:pt idx="1144">
                  <c:v>44975</c:v>
                </c:pt>
                <c:pt idx="1145">
                  <c:v>44976</c:v>
                </c:pt>
                <c:pt idx="1146">
                  <c:v>44977</c:v>
                </c:pt>
                <c:pt idx="1147">
                  <c:v>44978</c:v>
                </c:pt>
                <c:pt idx="1148">
                  <c:v>44979</c:v>
                </c:pt>
                <c:pt idx="1149">
                  <c:v>44980</c:v>
                </c:pt>
                <c:pt idx="1150">
                  <c:v>44981</c:v>
                </c:pt>
                <c:pt idx="1151">
                  <c:v>44982</c:v>
                </c:pt>
                <c:pt idx="1152">
                  <c:v>44983</c:v>
                </c:pt>
                <c:pt idx="1153">
                  <c:v>44984</c:v>
                </c:pt>
                <c:pt idx="1154">
                  <c:v>44985</c:v>
                </c:pt>
                <c:pt idx="1155">
                  <c:v>44986</c:v>
                </c:pt>
                <c:pt idx="1156">
                  <c:v>44987</c:v>
                </c:pt>
                <c:pt idx="1157">
                  <c:v>44988</c:v>
                </c:pt>
                <c:pt idx="1158">
                  <c:v>44989</c:v>
                </c:pt>
                <c:pt idx="1159">
                  <c:v>44990</c:v>
                </c:pt>
                <c:pt idx="1160">
                  <c:v>44991</c:v>
                </c:pt>
                <c:pt idx="1161">
                  <c:v>44992</c:v>
                </c:pt>
                <c:pt idx="1162">
                  <c:v>44993</c:v>
                </c:pt>
                <c:pt idx="1163">
                  <c:v>44994</c:v>
                </c:pt>
                <c:pt idx="1164">
                  <c:v>44995</c:v>
                </c:pt>
                <c:pt idx="1165">
                  <c:v>44996</c:v>
                </c:pt>
                <c:pt idx="1166">
                  <c:v>44997</c:v>
                </c:pt>
                <c:pt idx="1167">
                  <c:v>44998</c:v>
                </c:pt>
                <c:pt idx="1168">
                  <c:v>44999</c:v>
                </c:pt>
                <c:pt idx="1169">
                  <c:v>45000</c:v>
                </c:pt>
                <c:pt idx="1170">
                  <c:v>45001</c:v>
                </c:pt>
                <c:pt idx="1171">
                  <c:v>45002</c:v>
                </c:pt>
                <c:pt idx="1172">
                  <c:v>45003</c:v>
                </c:pt>
                <c:pt idx="1173">
                  <c:v>45004</c:v>
                </c:pt>
                <c:pt idx="1174">
                  <c:v>45005</c:v>
                </c:pt>
                <c:pt idx="1175">
                  <c:v>45006</c:v>
                </c:pt>
                <c:pt idx="1176">
                  <c:v>45007</c:v>
                </c:pt>
                <c:pt idx="1177">
                  <c:v>45008</c:v>
                </c:pt>
                <c:pt idx="1178">
                  <c:v>45009</c:v>
                </c:pt>
                <c:pt idx="1179">
                  <c:v>45010</c:v>
                </c:pt>
                <c:pt idx="1180">
                  <c:v>45011</c:v>
                </c:pt>
                <c:pt idx="1181">
                  <c:v>45012</c:v>
                </c:pt>
                <c:pt idx="1182">
                  <c:v>45013</c:v>
                </c:pt>
                <c:pt idx="1183">
                  <c:v>45014</c:v>
                </c:pt>
                <c:pt idx="1184">
                  <c:v>45015</c:v>
                </c:pt>
                <c:pt idx="1185">
                  <c:v>45016</c:v>
                </c:pt>
                <c:pt idx="1186">
                  <c:v>45017</c:v>
                </c:pt>
                <c:pt idx="1187">
                  <c:v>45018</c:v>
                </c:pt>
                <c:pt idx="1188">
                  <c:v>45019</c:v>
                </c:pt>
                <c:pt idx="1189">
                  <c:v>45020</c:v>
                </c:pt>
                <c:pt idx="1190">
                  <c:v>45021</c:v>
                </c:pt>
                <c:pt idx="1191">
                  <c:v>45022</c:v>
                </c:pt>
                <c:pt idx="1192">
                  <c:v>45023</c:v>
                </c:pt>
                <c:pt idx="1193">
                  <c:v>45024</c:v>
                </c:pt>
                <c:pt idx="1194">
                  <c:v>45025</c:v>
                </c:pt>
                <c:pt idx="1195">
                  <c:v>45026</c:v>
                </c:pt>
                <c:pt idx="1196">
                  <c:v>45027</c:v>
                </c:pt>
                <c:pt idx="1197">
                  <c:v>45028</c:v>
                </c:pt>
                <c:pt idx="1198">
                  <c:v>45029</c:v>
                </c:pt>
                <c:pt idx="1199">
                  <c:v>45030</c:v>
                </c:pt>
                <c:pt idx="1200">
                  <c:v>45031</c:v>
                </c:pt>
                <c:pt idx="1201">
                  <c:v>45032</c:v>
                </c:pt>
                <c:pt idx="1202">
                  <c:v>45033</c:v>
                </c:pt>
                <c:pt idx="1203">
                  <c:v>45034</c:v>
                </c:pt>
                <c:pt idx="1204">
                  <c:v>45035</c:v>
                </c:pt>
                <c:pt idx="1205">
                  <c:v>45036</c:v>
                </c:pt>
                <c:pt idx="1206">
                  <c:v>45037</c:v>
                </c:pt>
                <c:pt idx="1207">
                  <c:v>45038</c:v>
                </c:pt>
                <c:pt idx="1208">
                  <c:v>45039</c:v>
                </c:pt>
                <c:pt idx="1209">
                  <c:v>45040</c:v>
                </c:pt>
                <c:pt idx="1210">
                  <c:v>45041</c:v>
                </c:pt>
                <c:pt idx="1211">
                  <c:v>45042</c:v>
                </c:pt>
                <c:pt idx="1212">
                  <c:v>45043</c:v>
                </c:pt>
                <c:pt idx="1213">
                  <c:v>45044</c:v>
                </c:pt>
                <c:pt idx="1214">
                  <c:v>45045</c:v>
                </c:pt>
                <c:pt idx="1215">
                  <c:v>45046</c:v>
                </c:pt>
                <c:pt idx="1216">
                  <c:v>45047</c:v>
                </c:pt>
                <c:pt idx="1217">
                  <c:v>45048</c:v>
                </c:pt>
                <c:pt idx="1218">
                  <c:v>45049</c:v>
                </c:pt>
                <c:pt idx="1219">
                  <c:v>45050</c:v>
                </c:pt>
                <c:pt idx="1220">
                  <c:v>45051</c:v>
                </c:pt>
                <c:pt idx="1221">
                  <c:v>45052</c:v>
                </c:pt>
                <c:pt idx="1222">
                  <c:v>45053</c:v>
                </c:pt>
                <c:pt idx="1223">
                  <c:v>45054</c:v>
                </c:pt>
                <c:pt idx="1224">
                  <c:v>45055</c:v>
                </c:pt>
                <c:pt idx="1225">
                  <c:v>45056</c:v>
                </c:pt>
                <c:pt idx="1226">
                  <c:v>45057</c:v>
                </c:pt>
                <c:pt idx="1227">
                  <c:v>45058</c:v>
                </c:pt>
                <c:pt idx="1228">
                  <c:v>45059</c:v>
                </c:pt>
                <c:pt idx="1229">
                  <c:v>45060</c:v>
                </c:pt>
                <c:pt idx="1230">
                  <c:v>45061</c:v>
                </c:pt>
                <c:pt idx="1231">
                  <c:v>45062</c:v>
                </c:pt>
                <c:pt idx="1232">
                  <c:v>45063</c:v>
                </c:pt>
                <c:pt idx="1233">
                  <c:v>45064</c:v>
                </c:pt>
                <c:pt idx="1234">
                  <c:v>45065</c:v>
                </c:pt>
                <c:pt idx="1235">
                  <c:v>45066</c:v>
                </c:pt>
                <c:pt idx="1236">
                  <c:v>45067</c:v>
                </c:pt>
                <c:pt idx="1237">
                  <c:v>45068</c:v>
                </c:pt>
                <c:pt idx="1238">
                  <c:v>45069</c:v>
                </c:pt>
                <c:pt idx="1239">
                  <c:v>45070</c:v>
                </c:pt>
                <c:pt idx="1240">
                  <c:v>45071</c:v>
                </c:pt>
                <c:pt idx="1241">
                  <c:v>45072</c:v>
                </c:pt>
                <c:pt idx="1242">
                  <c:v>45073</c:v>
                </c:pt>
                <c:pt idx="1243">
                  <c:v>45074</c:v>
                </c:pt>
                <c:pt idx="1244">
                  <c:v>45075</c:v>
                </c:pt>
                <c:pt idx="1245">
                  <c:v>45076</c:v>
                </c:pt>
                <c:pt idx="1246">
                  <c:v>45077</c:v>
                </c:pt>
                <c:pt idx="1247">
                  <c:v>45078</c:v>
                </c:pt>
                <c:pt idx="1248">
                  <c:v>45079</c:v>
                </c:pt>
                <c:pt idx="1249">
                  <c:v>45080</c:v>
                </c:pt>
                <c:pt idx="1250">
                  <c:v>45081</c:v>
                </c:pt>
                <c:pt idx="1251">
                  <c:v>45082</c:v>
                </c:pt>
              </c:numCache>
            </c:numRef>
          </c:cat>
          <c:val>
            <c:numRef>
              <c:f>'DK udtræk og injicering'!$E$4641:$E$5892</c:f>
              <c:numCache>
                <c:formatCode>0.00%</c:formatCode>
                <c:ptCount val="1252"/>
                <c:pt idx="0">
                  <c:v>0.9494383817125247</c:v>
                </c:pt>
                <c:pt idx="1">
                  <c:v>0.94620049138664053</c:v>
                </c:pt>
                <c:pt idx="2">
                  <c:v>0.94346873869599324</c:v>
                </c:pt>
                <c:pt idx="3">
                  <c:v>0.93972865686085683</c:v>
                </c:pt>
                <c:pt idx="4">
                  <c:v>0.93646333156384032</c:v>
                </c:pt>
                <c:pt idx="5">
                  <c:v>0.93285835756599178</c:v>
                </c:pt>
                <c:pt idx="6">
                  <c:v>0.9292821339146039</c:v>
                </c:pt>
                <c:pt idx="7">
                  <c:v>0.92486961342058649</c:v>
                </c:pt>
                <c:pt idx="8">
                  <c:v>0.92074215355127853</c:v>
                </c:pt>
                <c:pt idx="9">
                  <c:v>0.9161669962934601</c:v>
                </c:pt>
                <c:pt idx="10">
                  <c:v>0.91293013947676249</c:v>
                </c:pt>
                <c:pt idx="11">
                  <c:v>0.91026979287536347</c:v>
                </c:pt>
                <c:pt idx="12">
                  <c:v>0.90483287686677594</c:v>
                </c:pt>
                <c:pt idx="13">
                  <c:v>0.8990358298843879</c:v>
                </c:pt>
                <c:pt idx="14">
                  <c:v>0.89543630529861362</c:v>
                </c:pt>
                <c:pt idx="15">
                  <c:v>0.89093114479933477</c:v>
                </c:pt>
                <c:pt idx="16">
                  <c:v>0.88743656837367935</c:v>
                </c:pt>
                <c:pt idx="17">
                  <c:v>0.88344346469861468</c:v>
                </c:pt>
                <c:pt idx="18">
                  <c:v>0.87948164816528618</c:v>
                </c:pt>
                <c:pt idx="19">
                  <c:v>0.87469715831951411</c:v>
                </c:pt>
                <c:pt idx="20">
                  <c:v>0.870616394274359</c:v>
                </c:pt>
                <c:pt idx="21">
                  <c:v>0.86430569322628681</c:v>
                </c:pt>
                <c:pt idx="22">
                  <c:v>0.85804817092362828</c:v>
                </c:pt>
                <c:pt idx="23">
                  <c:v>0.85235710561054545</c:v>
                </c:pt>
                <c:pt idx="24">
                  <c:v>0.84802679607454412</c:v>
                </c:pt>
                <c:pt idx="25">
                  <c:v>0.84353225253327191</c:v>
                </c:pt>
                <c:pt idx="26">
                  <c:v>0.83773078964799619</c:v>
                </c:pt>
                <c:pt idx="27">
                  <c:v>0.83282368803055418</c:v>
                </c:pt>
                <c:pt idx="28">
                  <c:v>0.82693672574894184</c:v>
                </c:pt>
                <c:pt idx="29">
                  <c:v>0.82162552203958339</c:v>
                </c:pt>
                <c:pt idx="30">
                  <c:v>0.8165412205743493</c:v>
                </c:pt>
                <c:pt idx="31">
                  <c:v>0.81359327655296498</c:v>
                </c:pt>
                <c:pt idx="32">
                  <c:v>0.81020674881498778</c:v>
                </c:pt>
                <c:pt idx="33">
                  <c:v>0.80521245660435847</c:v>
                </c:pt>
                <c:pt idx="34">
                  <c:v>0.79939116913377839</c:v>
                </c:pt>
                <c:pt idx="35">
                  <c:v>0.79223543339268188</c:v>
                </c:pt>
                <c:pt idx="36">
                  <c:v>0.78543400339178915</c:v>
                </c:pt>
                <c:pt idx="37">
                  <c:v>0.7804598176326063</c:v>
                </c:pt>
                <c:pt idx="38">
                  <c:v>0.77559114376582561</c:v>
                </c:pt>
                <c:pt idx="39">
                  <c:v>0.77145071805399612</c:v>
                </c:pt>
                <c:pt idx="40">
                  <c:v>0.76662704881451793</c:v>
                </c:pt>
                <c:pt idx="41">
                  <c:v>0.7615219832101735</c:v>
                </c:pt>
                <c:pt idx="42">
                  <c:v>0.75603301592073924</c:v>
                </c:pt>
                <c:pt idx="43">
                  <c:v>0.7495316794054504</c:v>
                </c:pt>
                <c:pt idx="44">
                  <c:v>0.7439623802656119</c:v>
                </c:pt>
                <c:pt idx="45">
                  <c:v>0.74210027857770344</c:v>
                </c:pt>
                <c:pt idx="46">
                  <c:v>0.74172304772463549</c:v>
                </c:pt>
                <c:pt idx="47">
                  <c:v>0.7387923914932798</c:v>
                </c:pt>
                <c:pt idx="48">
                  <c:v>0.73524501214373295</c:v>
                </c:pt>
                <c:pt idx="49">
                  <c:v>0.73877068780036359</c:v>
                </c:pt>
                <c:pt idx="50">
                  <c:v>0.73431682693888678</c:v>
                </c:pt>
                <c:pt idx="51">
                  <c:v>0.73028830208533968</c:v>
                </c:pt>
                <c:pt idx="52">
                  <c:v>0.72846829240793542</c:v>
                </c:pt>
                <c:pt idx="53">
                  <c:v>0.72568035439969558</c:v>
                </c:pt>
                <c:pt idx="54">
                  <c:v>0.72148252195032581</c:v>
                </c:pt>
                <c:pt idx="55">
                  <c:v>0.71698008615708397</c:v>
                </c:pt>
                <c:pt idx="56">
                  <c:v>0.71157746386241172</c:v>
                </c:pt>
                <c:pt idx="57">
                  <c:v>0.70526535348363062</c:v>
                </c:pt>
                <c:pt idx="58">
                  <c:v>0.70067723038329099</c:v>
                </c:pt>
                <c:pt idx="59">
                  <c:v>0.69787275622806721</c:v>
                </c:pt>
                <c:pt idx="60">
                  <c:v>0.69771368976872883</c:v>
                </c:pt>
                <c:pt idx="61">
                  <c:v>0.69564244340362758</c:v>
                </c:pt>
                <c:pt idx="62">
                  <c:v>0.69432377963705028</c:v>
                </c:pt>
                <c:pt idx="63">
                  <c:v>0.69194257447138352</c:v>
                </c:pt>
                <c:pt idx="64">
                  <c:v>0.69027646370738538</c:v>
                </c:pt>
                <c:pt idx="65">
                  <c:v>0.68742012618207615</c:v>
                </c:pt>
                <c:pt idx="66">
                  <c:v>0.68633325033941384</c:v>
                </c:pt>
                <c:pt idx="67">
                  <c:v>0.68653412694311466</c:v>
                </c:pt>
                <c:pt idx="68">
                  <c:v>0.68398521142309521</c:v>
                </c:pt>
                <c:pt idx="69">
                  <c:v>0.68216811436248925</c:v>
                </c:pt>
                <c:pt idx="70">
                  <c:v>0.6810241136484283</c:v>
                </c:pt>
                <c:pt idx="71">
                  <c:v>0.67986329492124187</c:v>
                </c:pt>
                <c:pt idx="72">
                  <c:v>0.67728412576867247</c:v>
                </c:pt>
                <c:pt idx="73">
                  <c:v>0.67618334452968276</c:v>
                </c:pt>
                <c:pt idx="74">
                  <c:v>0.67566226798893203</c:v>
                </c:pt>
                <c:pt idx="75">
                  <c:v>0.67439152146645553</c:v>
                </c:pt>
                <c:pt idx="76">
                  <c:v>0.67274965119064956</c:v>
                </c:pt>
                <c:pt idx="77">
                  <c:v>0.67150925225610358</c:v>
                </c:pt>
                <c:pt idx="78">
                  <c:v>0.66992507058397965</c:v>
                </c:pt>
                <c:pt idx="79">
                  <c:v>0.66770481098526302</c:v>
                </c:pt>
                <c:pt idx="80">
                  <c:v>0.66655301197461325</c:v>
                </c:pt>
                <c:pt idx="81">
                  <c:v>0.66516510309254129</c:v>
                </c:pt>
                <c:pt idx="82">
                  <c:v>0.6612048838006831</c:v>
                </c:pt>
                <c:pt idx="83">
                  <c:v>0.65871328106282323</c:v>
                </c:pt>
                <c:pt idx="84">
                  <c:v>0.656098126999488</c:v>
                </c:pt>
                <c:pt idx="85">
                  <c:v>0.65236603137170157</c:v>
                </c:pt>
                <c:pt idx="86">
                  <c:v>0.64951223064166819</c:v>
                </c:pt>
                <c:pt idx="87">
                  <c:v>0.64892406995917629</c:v>
                </c:pt>
                <c:pt idx="88">
                  <c:v>0.64722291383821817</c:v>
                </c:pt>
                <c:pt idx="89">
                  <c:v>0.6444518877984845</c:v>
                </c:pt>
                <c:pt idx="90">
                  <c:v>0.64100842309986983</c:v>
                </c:pt>
                <c:pt idx="91">
                  <c:v>0.63771763589471364</c:v>
                </c:pt>
                <c:pt idx="92">
                  <c:v>0.63544955300727679</c:v>
                </c:pt>
                <c:pt idx="93">
                  <c:v>0.63212484790972767</c:v>
                </c:pt>
                <c:pt idx="94">
                  <c:v>0.63055504141083396</c:v>
                </c:pt>
                <c:pt idx="95">
                  <c:v>0.6307668168386833</c:v>
                </c:pt>
                <c:pt idx="96">
                  <c:v>0.63099916849488169</c:v>
                </c:pt>
                <c:pt idx="97">
                  <c:v>0.63109331178623274</c:v>
                </c:pt>
                <c:pt idx="98">
                  <c:v>0.63098056532952507</c:v>
                </c:pt>
                <c:pt idx="99">
                  <c:v>0.63227799518008887</c:v>
                </c:pt>
                <c:pt idx="100">
                  <c:v>0.63352901107264159</c:v>
                </c:pt>
                <c:pt idx="101">
                  <c:v>0.63464708010165971</c:v>
                </c:pt>
                <c:pt idx="102">
                  <c:v>0.6360231506057773</c:v>
                </c:pt>
                <c:pt idx="103">
                  <c:v>0.63725218093927183</c:v>
                </c:pt>
                <c:pt idx="104">
                  <c:v>0.63544889531961268</c:v>
                </c:pt>
                <c:pt idx="105">
                  <c:v>0.63436333485227869</c:v>
                </c:pt>
                <c:pt idx="106">
                  <c:v>0.63459361949010418</c:v>
                </c:pt>
                <c:pt idx="107">
                  <c:v>0.63444620349795877</c:v>
                </c:pt>
                <c:pt idx="108">
                  <c:v>0.63585309136690982</c:v>
                </c:pt>
                <c:pt idx="109">
                  <c:v>0.6373040443093575</c:v>
                </c:pt>
                <c:pt idx="110">
                  <c:v>0.63732537218075136</c:v>
                </c:pt>
                <c:pt idx="111">
                  <c:v>0.63893153941193326</c:v>
                </c:pt>
                <c:pt idx="112">
                  <c:v>0.63985220818633226</c:v>
                </c:pt>
                <c:pt idx="113">
                  <c:v>0.6408800800499842</c:v>
                </c:pt>
                <c:pt idx="114">
                  <c:v>0.64271333743605152</c:v>
                </c:pt>
                <c:pt idx="115">
                  <c:v>0.64606002809265883</c:v>
                </c:pt>
                <c:pt idx="116">
                  <c:v>0.64928720750515578</c:v>
                </c:pt>
                <c:pt idx="117">
                  <c:v>0.6503442994921711</c:v>
                </c:pt>
                <c:pt idx="118">
                  <c:v>0.65103083145814056</c:v>
                </c:pt>
                <c:pt idx="119">
                  <c:v>0.65056518859193768</c:v>
                </c:pt>
                <c:pt idx="120">
                  <c:v>0.64995410279658195</c:v>
                </c:pt>
                <c:pt idx="121">
                  <c:v>0.68129111231157835</c:v>
                </c:pt>
                <c:pt idx="122">
                  <c:v>0.68366410140602263</c:v>
                </c:pt>
                <c:pt idx="123">
                  <c:v>0.6860481111829424</c:v>
                </c:pt>
                <c:pt idx="124">
                  <c:v>0.68702462236942707</c:v>
                </c:pt>
                <c:pt idx="125">
                  <c:v>0.68781132198006245</c:v>
                </c:pt>
                <c:pt idx="126">
                  <c:v>0.68885326846874506</c:v>
                </c:pt>
                <c:pt idx="127">
                  <c:v>0.69031665766316275</c:v>
                </c:pt>
                <c:pt idx="128">
                  <c:v>0.69305126290133257</c:v>
                </c:pt>
                <c:pt idx="129">
                  <c:v>0.69633896864123845</c:v>
                </c:pt>
                <c:pt idx="130">
                  <c:v>0.70001436624679836</c:v>
                </c:pt>
                <c:pt idx="131">
                  <c:v>0.70212669652090842</c:v>
                </c:pt>
                <c:pt idx="132">
                  <c:v>0.70316687182847892</c:v>
                </c:pt>
                <c:pt idx="133">
                  <c:v>0.70409044437950119</c:v>
                </c:pt>
                <c:pt idx="134">
                  <c:v>0.70519339821760152</c:v>
                </c:pt>
                <c:pt idx="135">
                  <c:v>0.70695218106194124</c:v>
                </c:pt>
                <c:pt idx="136">
                  <c:v>0.70940930125921142</c:v>
                </c:pt>
                <c:pt idx="137">
                  <c:v>0.7119409094621415</c:v>
                </c:pt>
                <c:pt idx="138">
                  <c:v>0.71363209222736856</c:v>
                </c:pt>
                <c:pt idx="139">
                  <c:v>0.71513415220940091</c:v>
                </c:pt>
                <c:pt idx="140">
                  <c:v>0.7164696227679429</c:v>
                </c:pt>
                <c:pt idx="141">
                  <c:v>0.71887655950036955</c:v>
                </c:pt>
                <c:pt idx="142">
                  <c:v>0.72180628985772499</c:v>
                </c:pt>
                <c:pt idx="143">
                  <c:v>0.72487604192188904</c:v>
                </c:pt>
                <c:pt idx="144">
                  <c:v>0.72765630427317129</c:v>
                </c:pt>
                <c:pt idx="145">
                  <c:v>0.72761674789500053</c:v>
                </c:pt>
                <c:pt idx="146">
                  <c:v>0.72826883774111439</c:v>
                </c:pt>
                <c:pt idx="147">
                  <c:v>0.72945365950617502</c:v>
                </c:pt>
                <c:pt idx="148">
                  <c:v>0.73106523752030717</c:v>
                </c:pt>
                <c:pt idx="149">
                  <c:v>0.73302170385655019</c:v>
                </c:pt>
                <c:pt idx="150">
                  <c:v>0.73646763510913926</c:v>
                </c:pt>
                <c:pt idx="151">
                  <c:v>0.73996178184755845</c:v>
                </c:pt>
                <c:pt idx="152">
                  <c:v>0.74264571162613124</c:v>
                </c:pt>
                <c:pt idx="153">
                  <c:v>0.74572736996332678</c:v>
                </c:pt>
                <c:pt idx="154">
                  <c:v>0.74778075926598331</c:v>
                </c:pt>
                <c:pt idx="155">
                  <c:v>0.75023030274405156</c:v>
                </c:pt>
                <c:pt idx="156">
                  <c:v>0.75281032323071306</c:v>
                </c:pt>
                <c:pt idx="157">
                  <c:v>0.75547811558137545</c:v>
                </c:pt>
                <c:pt idx="158">
                  <c:v>0.75788583950540755</c:v>
                </c:pt>
                <c:pt idx="159">
                  <c:v>0.75914426368557208</c:v>
                </c:pt>
                <c:pt idx="160">
                  <c:v>0.76054743272217751</c:v>
                </c:pt>
                <c:pt idx="161">
                  <c:v>0.76155503797707502</c:v>
                </c:pt>
                <c:pt idx="162">
                  <c:v>0.762766033863015</c:v>
                </c:pt>
                <c:pt idx="163">
                  <c:v>0.7648223751341916</c:v>
                </c:pt>
                <c:pt idx="164">
                  <c:v>0.76906110673235784</c:v>
                </c:pt>
                <c:pt idx="165">
                  <c:v>0.77193386409727327</c:v>
                </c:pt>
                <c:pt idx="166">
                  <c:v>0.77279396932511113</c:v>
                </c:pt>
                <c:pt idx="167">
                  <c:v>0.77427634951700886</c:v>
                </c:pt>
                <c:pt idx="168">
                  <c:v>0.77638907338692142</c:v>
                </c:pt>
                <c:pt idx="169">
                  <c:v>0.7793183117495236</c:v>
                </c:pt>
                <c:pt idx="170">
                  <c:v>0.78261487339499025</c:v>
                </c:pt>
                <c:pt idx="171">
                  <c:v>0.78654787945341353</c:v>
                </c:pt>
                <c:pt idx="172">
                  <c:v>0.79017083041826452</c:v>
                </c:pt>
                <c:pt idx="173">
                  <c:v>0.79224242352679553</c:v>
                </c:pt>
                <c:pt idx="174">
                  <c:v>0.79436754566449308</c:v>
                </c:pt>
                <c:pt idx="175">
                  <c:v>0.79785805164173729</c:v>
                </c:pt>
                <c:pt idx="176">
                  <c:v>0.7997885406550026</c:v>
                </c:pt>
                <c:pt idx="177">
                  <c:v>0.80289214195819825</c:v>
                </c:pt>
                <c:pt idx="178">
                  <c:v>0.80846260495478084</c:v>
                </c:pt>
                <c:pt idx="179">
                  <c:v>0.81402027608777583</c:v>
                </c:pt>
                <c:pt idx="180">
                  <c:v>0.81786442789374092</c:v>
                </c:pt>
                <c:pt idx="181">
                  <c:v>0.82169952699624416</c:v>
                </c:pt>
                <c:pt idx="182">
                  <c:v>0.68936577456833226</c:v>
                </c:pt>
                <c:pt idx="183">
                  <c:v>0.69098885034667445</c:v>
                </c:pt>
                <c:pt idx="184">
                  <c:v>0.69392396924698518</c:v>
                </c:pt>
                <c:pt idx="185">
                  <c:v>0.69822736873607938</c:v>
                </c:pt>
                <c:pt idx="186">
                  <c:v>0.70253529024370398</c:v>
                </c:pt>
                <c:pt idx="187">
                  <c:v>0.70544434587357585</c:v>
                </c:pt>
                <c:pt idx="188">
                  <c:v>0.70854579283728714</c:v>
                </c:pt>
                <c:pt idx="189">
                  <c:v>0.71159223561196472</c:v>
                </c:pt>
                <c:pt idx="190">
                  <c:v>0.71460143339765569</c:v>
                </c:pt>
                <c:pt idx="191">
                  <c:v>0.71740640038280945</c:v>
                </c:pt>
                <c:pt idx="192">
                  <c:v>0.72172871013121254</c:v>
                </c:pt>
                <c:pt idx="193">
                  <c:v>0.72607034123151837</c:v>
                </c:pt>
                <c:pt idx="194">
                  <c:v>0.7299553306787715</c:v>
                </c:pt>
                <c:pt idx="195">
                  <c:v>0.7343938151941467</c:v>
                </c:pt>
                <c:pt idx="196">
                  <c:v>0.73831752956372387</c:v>
                </c:pt>
                <c:pt idx="197">
                  <c:v>0.74186624526935196</c:v>
                </c:pt>
                <c:pt idx="198">
                  <c:v>0.74516213902987094</c:v>
                </c:pt>
                <c:pt idx="199">
                  <c:v>0.74901391219555524</c:v>
                </c:pt>
                <c:pt idx="200">
                  <c:v>0.7529361466317952</c:v>
                </c:pt>
                <c:pt idx="201">
                  <c:v>0.75626969647389453</c:v>
                </c:pt>
                <c:pt idx="202">
                  <c:v>0.76033877318459464</c:v>
                </c:pt>
                <c:pt idx="203">
                  <c:v>0.763597586393164</c:v>
                </c:pt>
                <c:pt idx="204">
                  <c:v>0.76690663511668056</c:v>
                </c:pt>
                <c:pt idx="205">
                  <c:v>0.76966391536096812</c:v>
                </c:pt>
                <c:pt idx="206">
                  <c:v>0.77354948033785242</c:v>
                </c:pt>
                <c:pt idx="207">
                  <c:v>0.77737132596271719</c:v>
                </c:pt>
                <c:pt idx="208">
                  <c:v>0.78061106447494022</c:v>
                </c:pt>
                <c:pt idx="209">
                  <c:v>0.78392767730218016</c:v>
                </c:pt>
                <c:pt idx="210">
                  <c:v>0.78734583000005764</c:v>
                </c:pt>
                <c:pt idx="211">
                  <c:v>0.79002015175894191</c:v>
                </c:pt>
                <c:pt idx="212">
                  <c:v>0.79250430208399281</c:v>
                </c:pt>
                <c:pt idx="213">
                  <c:v>0.79581236418528445</c:v>
                </c:pt>
                <c:pt idx="214">
                  <c:v>0.80017422104119895</c:v>
                </c:pt>
                <c:pt idx="215">
                  <c:v>0.803378605590366</c:v>
                </c:pt>
                <c:pt idx="216">
                  <c:v>0.80655133600982032</c:v>
                </c:pt>
                <c:pt idx="217">
                  <c:v>0.80877123601565781</c:v>
                </c:pt>
                <c:pt idx="218">
                  <c:v>0.811614187956467</c:v>
                </c:pt>
                <c:pt idx="219">
                  <c:v>0.8138303059104427</c:v>
                </c:pt>
                <c:pt idx="220">
                  <c:v>0.81699432116691106</c:v>
                </c:pt>
                <c:pt idx="221">
                  <c:v>0.82025190109769952</c:v>
                </c:pt>
                <c:pt idx="222">
                  <c:v>0.8225873181223593</c:v>
                </c:pt>
                <c:pt idx="223">
                  <c:v>0.82545921098176311</c:v>
                </c:pt>
                <c:pt idx="224">
                  <c:v>0.82759590584664111</c:v>
                </c:pt>
                <c:pt idx="225">
                  <c:v>0.82999849540110726</c:v>
                </c:pt>
                <c:pt idx="226">
                  <c:v>0.83233695451096024</c:v>
                </c:pt>
                <c:pt idx="227">
                  <c:v>0.83468708865047359</c:v>
                </c:pt>
                <c:pt idx="228">
                  <c:v>0.83710916399387969</c:v>
                </c:pt>
                <c:pt idx="229">
                  <c:v>0.8394596270074679</c:v>
                </c:pt>
                <c:pt idx="230">
                  <c:v>0.84160964127238103</c:v>
                </c:pt>
                <c:pt idx="231">
                  <c:v>0.84374608948170271</c:v>
                </c:pt>
                <c:pt idx="232">
                  <c:v>0.82991923674904688</c:v>
                </c:pt>
                <c:pt idx="233">
                  <c:v>0.83198292156928844</c:v>
                </c:pt>
                <c:pt idx="234">
                  <c:v>0.83471010983571925</c:v>
                </c:pt>
                <c:pt idx="235">
                  <c:v>0.83758866239514063</c:v>
                </c:pt>
                <c:pt idx="236">
                  <c:v>0.83963952112645945</c:v>
                </c:pt>
                <c:pt idx="237">
                  <c:v>0.84046277515455037</c:v>
                </c:pt>
                <c:pt idx="238">
                  <c:v>0.84203651982165162</c:v>
                </c:pt>
                <c:pt idx="239">
                  <c:v>0.84315386949125659</c:v>
                </c:pt>
                <c:pt idx="240">
                  <c:v>0.84516427671135796</c:v>
                </c:pt>
                <c:pt idx="241">
                  <c:v>0.84772587688105705</c:v>
                </c:pt>
                <c:pt idx="242">
                  <c:v>0.85022655312837359</c:v>
                </c:pt>
                <c:pt idx="243">
                  <c:v>0.85104725838238349</c:v>
                </c:pt>
                <c:pt idx="244">
                  <c:v>0.83969707408957384</c:v>
                </c:pt>
                <c:pt idx="245">
                  <c:v>0.83905338530639972</c:v>
                </c:pt>
                <c:pt idx="246">
                  <c:v>0.8390834772842567</c:v>
                </c:pt>
                <c:pt idx="247">
                  <c:v>0.83919685662159171</c:v>
                </c:pt>
                <c:pt idx="248">
                  <c:v>0.84002726366081248</c:v>
                </c:pt>
                <c:pt idx="249">
                  <c:v>0.84037356806172314</c:v>
                </c:pt>
                <c:pt idx="250">
                  <c:v>0.83973177030447999</c:v>
                </c:pt>
                <c:pt idx="251">
                  <c:v>0.83963129927458602</c:v>
                </c:pt>
                <c:pt idx="252">
                  <c:v>0.84039880914697473</c:v>
                </c:pt>
                <c:pt idx="253">
                  <c:v>0.84061109736234774</c:v>
                </c:pt>
                <c:pt idx="254">
                  <c:v>0.84038310540989636</c:v>
                </c:pt>
                <c:pt idx="255">
                  <c:v>0.84140573934591878</c:v>
                </c:pt>
                <c:pt idx="256">
                  <c:v>0.84349408972178086</c:v>
                </c:pt>
                <c:pt idx="257">
                  <c:v>0.84423060321260646</c:v>
                </c:pt>
                <c:pt idx="258">
                  <c:v>0.84444971556503456</c:v>
                </c:pt>
                <c:pt idx="259">
                  <c:v>0.84508024938521109</c:v>
                </c:pt>
                <c:pt idx="260">
                  <c:v>0.84489131122915861</c:v>
                </c:pt>
                <c:pt idx="261">
                  <c:v>0.8450035395072315</c:v>
                </c:pt>
                <c:pt idx="262">
                  <c:v>0.8456402397163133</c:v>
                </c:pt>
                <c:pt idx="263">
                  <c:v>0.84645839619624241</c:v>
                </c:pt>
                <c:pt idx="264">
                  <c:v>0.84642830421838555</c:v>
                </c:pt>
                <c:pt idx="265">
                  <c:v>0.84686628226768546</c:v>
                </c:pt>
                <c:pt idx="266">
                  <c:v>0.8479572397927766</c:v>
                </c:pt>
                <c:pt idx="267">
                  <c:v>0.84863998237234972</c:v>
                </c:pt>
                <c:pt idx="268">
                  <c:v>0.84897107634729441</c:v>
                </c:pt>
                <c:pt idx="269">
                  <c:v>0.85051760668469456</c:v>
                </c:pt>
                <c:pt idx="270">
                  <c:v>0.85220769055580547</c:v>
                </c:pt>
                <c:pt idx="271">
                  <c:v>0.85235831488212743</c:v>
                </c:pt>
                <c:pt idx="272">
                  <c:v>0.85222914958919516</c:v>
                </c:pt>
                <c:pt idx="273">
                  <c:v>0.8511052224380915</c:v>
                </c:pt>
                <c:pt idx="274">
                  <c:v>0.84219141951094789</c:v>
                </c:pt>
                <c:pt idx="275">
                  <c:v>0.84227857114080662</c:v>
                </c:pt>
                <c:pt idx="276">
                  <c:v>0.84401206638980963</c:v>
                </c:pt>
                <c:pt idx="277">
                  <c:v>0.84549676840112109</c:v>
                </c:pt>
                <c:pt idx="278">
                  <c:v>0.84544324414542482</c:v>
                </c:pt>
                <c:pt idx="279">
                  <c:v>0.8451669899224763</c:v>
                </c:pt>
                <c:pt idx="280">
                  <c:v>0.84476099487696421</c:v>
                </c:pt>
                <c:pt idx="281">
                  <c:v>0.84514084443351856</c:v>
                </c:pt>
                <c:pt idx="282">
                  <c:v>0.84514643529279254</c:v>
                </c:pt>
                <c:pt idx="283">
                  <c:v>0.84707043084970379</c:v>
                </c:pt>
                <c:pt idx="284">
                  <c:v>0.84863784469086256</c:v>
                </c:pt>
                <c:pt idx="285">
                  <c:v>0.84813886050066145</c:v>
                </c:pt>
                <c:pt idx="286">
                  <c:v>0.84850432181643731</c:v>
                </c:pt>
                <c:pt idx="287">
                  <c:v>0.84901868086964183</c:v>
                </c:pt>
                <c:pt idx="288">
                  <c:v>0.84804003384114235</c:v>
                </c:pt>
                <c:pt idx="289">
                  <c:v>0.84709920733126098</c:v>
                </c:pt>
                <c:pt idx="290">
                  <c:v>0.84756842841767999</c:v>
                </c:pt>
                <c:pt idx="291">
                  <c:v>0.84822288782680844</c:v>
                </c:pt>
                <c:pt idx="292">
                  <c:v>0.846643305644877</c:v>
                </c:pt>
                <c:pt idx="293">
                  <c:v>0.84534943281554853</c:v>
                </c:pt>
                <c:pt idx="294">
                  <c:v>0.84434792903884082</c:v>
                </c:pt>
                <c:pt idx="295">
                  <c:v>0.84444174036871733</c:v>
                </c:pt>
                <c:pt idx="296">
                  <c:v>0.84322827725071148</c:v>
                </c:pt>
                <c:pt idx="297">
                  <c:v>0.84464917769148495</c:v>
                </c:pt>
                <c:pt idx="298">
                  <c:v>0.84586650507987127</c:v>
                </c:pt>
                <c:pt idx="299">
                  <c:v>0.84464588895073567</c:v>
                </c:pt>
                <c:pt idx="300">
                  <c:v>0.84467737864341097</c:v>
                </c:pt>
                <c:pt idx="301">
                  <c:v>0.84450110213924379</c:v>
                </c:pt>
                <c:pt idx="302">
                  <c:v>0.84343226139569238</c:v>
                </c:pt>
                <c:pt idx="303">
                  <c:v>0.9798722259801691</c:v>
                </c:pt>
                <c:pt idx="304">
                  <c:v>0.98143354295601071</c:v>
                </c:pt>
                <c:pt idx="305">
                  <c:v>0.98387563471532069</c:v>
                </c:pt>
                <c:pt idx="306">
                  <c:v>0.98531053932944845</c:v>
                </c:pt>
                <c:pt idx="307">
                  <c:v>0.98542088718528631</c:v>
                </c:pt>
                <c:pt idx="308">
                  <c:v>0.98507406597807323</c:v>
                </c:pt>
                <c:pt idx="309">
                  <c:v>0.98465418951794814</c:v>
                </c:pt>
                <c:pt idx="310">
                  <c:v>0.98293165375099523</c:v>
                </c:pt>
                <c:pt idx="311">
                  <c:v>0.98429082569456516</c:v>
                </c:pt>
                <c:pt idx="312">
                  <c:v>0.98444563780773819</c:v>
                </c:pt>
                <c:pt idx="313">
                  <c:v>0.98250231070705063</c:v>
                </c:pt>
                <c:pt idx="314">
                  <c:v>0.98066340289455634</c:v>
                </c:pt>
                <c:pt idx="315">
                  <c:v>0.97690775091371673</c:v>
                </c:pt>
                <c:pt idx="316">
                  <c:v>0.97488228446453273</c:v>
                </c:pt>
                <c:pt idx="317">
                  <c:v>0.9735498866974226</c:v>
                </c:pt>
                <c:pt idx="318">
                  <c:v>0.97357914704741078</c:v>
                </c:pt>
                <c:pt idx="319">
                  <c:v>0.97492646185569143</c:v>
                </c:pt>
                <c:pt idx="320">
                  <c:v>0.97395532422667097</c:v>
                </c:pt>
                <c:pt idx="321">
                  <c:v>0.97274398398598272</c:v>
                </c:pt>
                <c:pt idx="322">
                  <c:v>0.97387481045317403</c:v>
                </c:pt>
                <c:pt idx="323">
                  <c:v>0.97247098300815138</c:v>
                </c:pt>
                <c:pt idx="324">
                  <c:v>0.96931249078442416</c:v>
                </c:pt>
                <c:pt idx="325">
                  <c:v>0.96925932491973965</c:v>
                </c:pt>
                <c:pt idx="326">
                  <c:v>0.96949608513729135</c:v>
                </c:pt>
                <c:pt idx="327">
                  <c:v>0.9693079965476612</c:v>
                </c:pt>
                <c:pt idx="328">
                  <c:v>0.96856424817443143</c:v>
                </c:pt>
                <c:pt idx="329">
                  <c:v>0.96675699126339498</c:v>
                </c:pt>
                <c:pt idx="330">
                  <c:v>0.96432962530113775</c:v>
                </c:pt>
                <c:pt idx="331">
                  <c:v>0.96066070252761604</c:v>
                </c:pt>
                <c:pt idx="332">
                  <c:v>0.95647867178665424</c:v>
                </c:pt>
                <c:pt idx="333">
                  <c:v>0.95191730833849209</c:v>
                </c:pt>
                <c:pt idx="334">
                  <c:v>0.94613714612905664</c:v>
                </c:pt>
                <c:pt idx="335">
                  <c:v>0.94144650165741728</c:v>
                </c:pt>
                <c:pt idx="336">
                  <c:v>0.93614282416690719</c:v>
                </c:pt>
                <c:pt idx="337">
                  <c:v>0.93099262008074712</c:v>
                </c:pt>
                <c:pt idx="338">
                  <c:v>0.9266625663927861</c:v>
                </c:pt>
                <c:pt idx="339">
                  <c:v>0.92555641041676107</c:v>
                </c:pt>
                <c:pt idx="340">
                  <c:v>0.92530521126833287</c:v>
                </c:pt>
                <c:pt idx="341">
                  <c:v>0.92543363169328119</c:v>
                </c:pt>
                <c:pt idx="342">
                  <c:v>0.9240262662320835</c:v>
                </c:pt>
                <c:pt idx="343">
                  <c:v>0.92188175031971231</c:v>
                </c:pt>
                <c:pt idx="344">
                  <c:v>0.915473064317883</c:v>
                </c:pt>
                <c:pt idx="345">
                  <c:v>0.90965130651287585</c:v>
                </c:pt>
                <c:pt idx="346">
                  <c:v>0.90842256305748859</c:v>
                </c:pt>
                <c:pt idx="347">
                  <c:v>0.90602751735110065</c:v>
                </c:pt>
                <c:pt idx="348">
                  <c:v>0.9050381159088523</c:v>
                </c:pt>
                <c:pt idx="349">
                  <c:v>0.90306782338758751</c:v>
                </c:pt>
                <c:pt idx="350">
                  <c:v>0.90069228458119166</c:v>
                </c:pt>
                <c:pt idx="351">
                  <c:v>0.8982860510939259</c:v>
                </c:pt>
                <c:pt idx="352">
                  <c:v>0.89750481887365241</c:v>
                </c:pt>
                <c:pt idx="353">
                  <c:v>0.89830288057627217</c:v>
                </c:pt>
                <c:pt idx="354">
                  <c:v>0.89898829949364301</c:v>
                </c:pt>
                <c:pt idx="355">
                  <c:v>0.8994001437008301</c:v>
                </c:pt>
                <c:pt idx="356">
                  <c:v>0.89909463122301181</c:v>
                </c:pt>
                <c:pt idx="357">
                  <c:v>0.89787258131173964</c:v>
                </c:pt>
                <c:pt idx="358">
                  <c:v>0.89755081308392815</c:v>
                </c:pt>
                <c:pt idx="359">
                  <c:v>0.89627444984326599</c:v>
                </c:pt>
                <c:pt idx="360">
                  <c:v>0.89539128450832761</c:v>
                </c:pt>
                <c:pt idx="361">
                  <c:v>0.89414819774412269</c:v>
                </c:pt>
                <c:pt idx="362">
                  <c:v>0.89279581496672644</c:v>
                </c:pt>
                <c:pt idx="363">
                  <c:v>0.89000891006343752</c:v>
                </c:pt>
                <c:pt idx="364">
                  <c:v>0.88557443708728323</c:v>
                </c:pt>
                <c:pt idx="365">
                  <c:v>0.88246394713706611</c:v>
                </c:pt>
                <c:pt idx="366">
                  <c:v>0.88053544145549012</c:v>
                </c:pt>
                <c:pt idx="367">
                  <c:v>0.87593372549852078</c:v>
                </c:pt>
                <c:pt idx="368">
                  <c:v>0.87233126005585482</c:v>
                </c:pt>
                <c:pt idx="369">
                  <c:v>0.8664565276302808</c:v>
                </c:pt>
                <c:pt idx="370">
                  <c:v>0.86006419300050363</c:v>
                </c:pt>
                <c:pt idx="371">
                  <c:v>0.85375141592363546</c:v>
                </c:pt>
                <c:pt idx="372">
                  <c:v>0.84701426814987957</c:v>
                </c:pt>
                <c:pt idx="373">
                  <c:v>0.83802933264026469</c:v>
                </c:pt>
                <c:pt idx="374">
                  <c:v>0.831383217066472</c:v>
                </c:pt>
                <c:pt idx="375">
                  <c:v>0.8247577558573771</c:v>
                </c:pt>
                <c:pt idx="376">
                  <c:v>0.81715063859279524</c:v>
                </c:pt>
                <c:pt idx="377">
                  <c:v>0.80968647630609691</c:v>
                </c:pt>
                <c:pt idx="378">
                  <c:v>0.80068557191266498</c:v>
                </c:pt>
                <c:pt idx="379">
                  <c:v>0.79105136262389986</c:v>
                </c:pt>
                <c:pt idx="380">
                  <c:v>0.78056716885459498</c:v>
                </c:pt>
                <c:pt idx="381">
                  <c:v>0.77078072924824426</c:v>
                </c:pt>
                <c:pt idx="382">
                  <c:v>0.76186014738419161</c:v>
                </c:pt>
                <c:pt idx="383">
                  <c:v>0.75230320071892487</c:v>
                </c:pt>
                <c:pt idx="384">
                  <c:v>0.74490673884984637</c:v>
                </c:pt>
                <c:pt idx="385">
                  <c:v>0.74025128329583989</c:v>
                </c:pt>
                <c:pt idx="386">
                  <c:v>0.73598625260785255</c:v>
                </c:pt>
                <c:pt idx="387">
                  <c:v>0.73176214816102525</c:v>
                </c:pt>
                <c:pt idx="388">
                  <c:v>0.72689919273945536</c:v>
                </c:pt>
                <c:pt idx="389">
                  <c:v>0.72152905791808974</c:v>
                </c:pt>
                <c:pt idx="390">
                  <c:v>0.71256955787611165</c:v>
                </c:pt>
                <c:pt idx="391">
                  <c:v>0.70359772258855036</c:v>
                </c:pt>
                <c:pt idx="392">
                  <c:v>0.69363132226756619</c:v>
                </c:pt>
                <c:pt idx="393">
                  <c:v>0.68485388662551483</c:v>
                </c:pt>
                <c:pt idx="394">
                  <c:v>0.67484684692954711</c:v>
                </c:pt>
                <c:pt idx="395">
                  <c:v>0.66610679951248053</c:v>
                </c:pt>
                <c:pt idx="396">
                  <c:v>0.65796859733340685</c:v>
                </c:pt>
                <c:pt idx="397">
                  <c:v>0.64950269835887686</c:v>
                </c:pt>
                <c:pt idx="398">
                  <c:v>0.64067047127714161</c:v>
                </c:pt>
                <c:pt idx="399">
                  <c:v>0.62984576735650333</c:v>
                </c:pt>
                <c:pt idx="400">
                  <c:v>0.62027485987065401</c:v>
                </c:pt>
                <c:pt idx="401">
                  <c:v>0.6106925733598092</c:v>
                </c:pt>
                <c:pt idx="402">
                  <c:v>0.60430626291973544</c:v>
                </c:pt>
                <c:pt idx="403">
                  <c:v>0.59770881897386441</c:v>
                </c:pt>
                <c:pt idx="404">
                  <c:v>0.58778965594992005</c:v>
                </c:pt>
                <c:pt idx="405">
                  <c:v>0.57786207818480262</c:v>
                </c:pt>
                <c:pt idx="406">
                  <c:v>0.56710956891854702</c:v>
                </c:pt>
                <c:pt idx="407">
                  <c:v>0.55649485103900065</c:v>
                </c:pt>
                <c:pt idx="408">
                  <c:v>0.54557863680810514</c:v>
                </c:pt>
                <c:pt idx="409">
                  <c:v>0.5361611071045469</c:v>
                </c:pt>
                <c:pt idx="410">
                  <c:v>0.52852348640321256</c:v>
                </c:pt>
                <c:pt idx="411">
                  <c:v>0.52356041468609482</c:v>
                </c:pt>
                <c:pt idx="412">
                  <c:v>0.51520342923652096</c:v>
                </c:pt>
                <c:pt idx="413">
                  <c:v>0.5075528995572508</c:v>
                </c:pt>
                <c:pt idx="414">
                  <c:v>0.50262348680482516</c:v>
                </c:pt>
                <c:pt idx="415">
                  <c:v>0.49569681611055749</c:v>
                </c:pt>
                <c:pt idx="416">
                  <c:v>0.49190368028267412</c:v>
                </c:pt>
                <c:pt idx="417">
                  <c:v>0.49053083438469786</c:v>
                </c:pt>
                <c:pt idx="418">
                  <c:v>0.48448465160772242</c:v>
                </c:pt>
                <c:pt idx="419">
                  <c:v>0.48048717144021547</c:v>
                </c:pt>
                <c:pt idx="420">
                  <c:v>0.4781563837573311</c:v>
                </c:pt>
                <c:pt idx="421">
                  <c:v>0.47429449566918136</c:v>
                </c:pt>
                <c:pt idx="422">
                  <c:v>0.47150567832471685</c:v>
                </c:pt>
                <c:pt idx="423">
                  <c:v>0.46746163021458165</c:v>
                </c:pt>
                <c:pt idx="424">
                  <c:v>0.4634603251647233</c:v>
                </c:pt>
                <c:pt idx="425">
                  <c:v>0.45697389842910169</c:v>
                </c:pt>
                <c:pt idx="426">
                  <c:v>0.45111532613146232</c:v>
                </c:pt>
                <c:pt idx="427">
                  <c:v>0.44502334038832886</c:v>
                </c:pt>
                <c:pt idx="428">
                  <c:v>0.43882368420700341</c:v>
                </c:pt>
                <c:pt idx="429">
                  <c:v>0.43206980257296007</c:v>
                </c:pt>
                <c:pt idx="430">
                  <c:v>0.4281223327421978</c:v>
                </c:pt>
                <c:pt idx="431">
                  <c:v>0.42353276078669416</c:v>
                </c:pt>
                <c:pt idx="432">
                  <c:v>0.4141740386492887</c:v>
                </c:pt>
                <c:pt idx="433">
                  <c:v>0.40722939100796929</c:v>
                </c:pt>
                <c:pt idx="434">
                  <c:v>0.40163769987639891</c:v>
                </c:pt>
                <c:pt idx="435">
                  <c:v>0.39771700422209644</c:v>
                </c:pt>
                <c:pt idx="436">
                  <c:v>0.3956141795273555</c:v>
                </c:pt>
                <c:pt idx="437">
                  <c:v>0.39515337682607055</c:v>
                </c:pt>
                <c:pt idx="438">
                  <c:v>0.39461081726452446</c:v>
                </c:pt>
                <c:pt idx="439">
                  <c:v>0.39241705599187898</c:v>
                </c:pt>
                <c:pt idx="440">
                  <c:v>0.38896117916533035</c:v>
                </c:pt>
                <c:pt idx="441">
                  <c:v>0.38542220676969752</c:v>
                </c:pt>
                <c:pt idx="442">
                  <c:v>0.38078654498185954</c:v>
                </c:pt>
                <c:pt idx="443">
                  <c:v>0.37550581678545797</c:v>
                </c:pt>
                <c:pt idx="444">
                  <c:v>0.3717437581266797</c:v>
                </c:pt>
                <c:pt idx="445">
                  <c:v>0.3686333637985213</c:v>
                </c:pt>
                <c:pt idx="446">
                  <c:v>0.36459457490161928</c:v>
                </c:pt>
                <c:pt idx="447">
                  <c:v>0.36055760282383414</c:v>
                </c:pt>
                <c:pt idx="448">
                  <c:v>0.35834395216296144</c:v>
                </c:pt>
                <c:pt idx="449">
                  <c:v>0.35582230285074218</c:v>
                </c:pt>
                <c:pt idx="450">
                  <c:v>0.35438539017338</c:v>
                </c:pt>
                <c:pt idx="451">
                  <c:v>0.35360301048840115</c:v>
                </c:pt>
                <c:pt idx="452">
                  <c:v>0.35230121178010221</c:v>
                </c:pt>
                <c:pt idx="453">
                  <c:v>0.35105439575560454</c:v>
                </c:pt>
                <c:pt idx="454">
                  <c:v>0.35076389594101576</c:v>
                </c:pt>
                <c:pt idx="455">
                  <c:v>0.35118071249525956</c:v>
                </c:pt>
                <c:pt idx="456">
                  <c:v>0.35236948593007467</c:v>
                </c:pt>
                <c:pt idx="457">
                  <c:v>0.35295545790630911</c:v>
                </c:pt>
                <c:pt idx="458">
                  <c:v>0.3536716671266088</c:v>
                </c:pt>
                <c:pt idx="459">
                  <c:v>0.35437429801456094</c:v>
                </c:pt>
                <c:pt idx="460">
                  <c:v>0.35264736363290389</c:v>
                </c:pt>
                <c:pt idx="461">
                  <c:v>0.35025470847798562</c:v>
                </c:pt>
                <c:pt idx="462">
                  <c:v>0.3458144025562454</c:v>
                </c:pt>
                <c:pt idx="463">
                  <c:v>0.34162998126381378</c:v>
                </c:pt>
                <c:pt idx="464">
                  <c:v>0.33928217285446571</c:v>
                </c:pt>
                <c:pt idx="465">
                  <c:v>0.33906931815161029</c:v>
                </c:pt>
                <c:pt idx="466">
                  <c:v>0.33763613473454074</c:v>
                </c:pt>
                <c:pt idx="467">
                  <c:v>0.33432187417705267</c:v>
                </c:pt>
                <c:pt idx="468">
                  <c:v>0.329665175536282</c:v>
                </c:pt>
                <c:pt idx="469">
                  <c:v>0.326200979590619</c:v>
                </c:pt>
                <c:pt idx="470">
                  <c:v>0.32301294015072712</c:v>
                </c:pt>
                <c:pt idx="471">
                  <c:v>0.31897730678176506</c:v>
                </c:pt>
                <c:pt idx="472">
                  <c:v>0.31789123143808501</c:v>
                </c:pt>
                <c:pt idx="473">
                  <c:v>0.31838301568641625</c:v>
                </c:pt>
                <c:pt idx="474">
                  <c:v>0.31767091821464438</c:v>
                </c:pt>
                <c:pt idx="475">
                  <c:v>0.31795443761894188</c:v>
                </c:pt>
                <c:pt idx="476">
                  <c:v>0.3194080841565915</c:v>
                </c:pt>
                <c:pt idx="477">
                  <c:v>0.31846744996432341</c:v>
                </c:pt>
                <c:pt idx="478">
                  <c:v>0.31629625549755125</c:v>
                </c:pt>
                <c:pt idx="479">
                  <c:v>0.31706601307077042</c:v>
                </c:pt>
                <c:pt idx="480">
                  <c:v>0.31764117975436224</c:v>
                </c:pt>
                <c:pt idx="481">
                  <c:v>0.31528830337589853</c:v>
                </c:pt>
                <c:pt idx="482">
                  <c:v>0.31529595314060133</c:v>
                </c:pt>
                <c:pt idx="483">
                  <c:v>0.31388677086028682</c:v>
                </c:pt>
                <c:pt idx="484">
                  <c:v>0.31329735648993606</c:v>
                </c:pt>
                <c:pt idx="485">
                  <c:v>0.31160274236414831</c:v>
                </c:pt>
                <c:pt idx="486">
                  <c:v>0.32322165601151437</c:v>
                </c:pt>
                <c:pt idx="487">
                  <c:v>0.32351816906563058</c:v>
                </c:pt>
                <c:pt idx="488">
                  <c:v>0.32306407142987564</c:v>
                </c:pt>
                <c:pt idx="489">
                  <c:v>0.3215252401279412</c:v>
                </c:pt>
                <c:pt idx="490">
                  <c:v>0.31965347666517679</c:v>
                </c:pt>
                <c:pt idx="491">
                  <c:v>0.316306491293948</c:v>
                </c:pt>
                <c:pt idx="492">
                  <c:v>0.3120865389424447</c:v>
                </c:pt>
                <c:pt idx="493">
                  <c:v>0.31317286036259534</c:v>
                </c:pt>
                <c:pt idx="494">
                  <c:v>0.31648838835827031</c:v>
                </c:pt>
                <c:pt idx="495">
                  <c:v>0.3198997769999547</c:v>
                </c:pt>
                <c:pt idx="496">
                  <c:v>0.32101745656103603</c:v>
                </c:pt>
                <c:pt idx="497">
                  <c:v>0.32023231222229187</c:v>
                </c:pt>
                <c:pt idx="498">
                  <c:v>0.32046829215625722</c:v>
                </c:pt>
                <c:pt idx="499">
                  <c:v>0.32289586874355469</c:v>
                </c:pt>
                <c:pt idx="500">
                  <c:v>0.32367019650837026</c:v>
                </c:pt>
                <c:pt idx="501">
                  <c:v>0.32451924794445403</c:v>
                </c:pt>
                <c:pt idx="502">
                  <c:v>0.32436374728990242</c:v>
                </c:pt>
                <c:pt idx="503">
                  <c:v>0.32343372040128893</c:v>
                </c:pt>
                <c:pt idx="504">
                  <c:v>0.32469122154645647</c:v>
                </c:pt>
                <c:pt idx="505">
                  <c:v>0.32842085562473755</c:v>
                </c:pt>
                <c:pt idx="506">
                  <c:v>0.32940248451741405</c:v>
                </c:pt>
                <c:pt idx="507">
                  <c:v>0.33056541506667375</c:v>
                </c:pt>
                <c:pt idx="508">
                  <c:v>0.33192989113564897</c:v>
                </c:pt>
                <c:pt idx="509">
                  <c:v>0.33352677469215436</c:v>
                </c:pt>
                <c:pt idx="510">
                  <c:v>0.33335658731336942</c:v>
                </c:pt>
                <c:pt idx="511">
                  <c:v>0.33400845955315839</c:v>
                </c:pt>
                <c:pt idx="512">
                  <c:v>0.33140325299033613</c:v>
                </c:pt>
                <c:pt idx="513">
                  <c:v>0.3336149942721775</c:v>
                </c:pt>
                <c:pt idx="514">
                  <c:v>0.33632925968589461</c:v>
                </c:pt>
                <c:pt idx="515">
                  <c:v>0.34072872747076349</c:v>
                </c:pt>
                <c:pt idx="516">
                  <c:v>0.34178021753817156</c:v>
                </c:pt>
                <c:pt idx="517">
                  <c:v>0.34452097859628261</c:v>
                </c:pt>
                <c:pt idx="518">
                  <c:v>0.34712648286297443</c:v>
                </c:pt>
                <c:pt idx="519">
                  <c:v>0.35021922912956943</c:v>
                </c:pt>
                <c:pt idx="520">
                  <c:v>0.35191991210194012</c:v>
                </c:pt>
                <c:pt idx="521">
                  <c:v>0.35406675394020992</c:v>
                </c:pt>
                <c:pt idx="522">
                  <c:v>0.35636482934423375</c:v>
                </c:pt>
                <c:pt idx="523">
                  <c:v>0.35919400845161437</c:v>
                </c:pt>
                <c:pt idx="524">
                  <c:v>0.36293564991930238</c:v>
                </c:pt>
                <c:pt idx="525">
                  <c:v>0.36536630277991899</c:v>
                </c:pt>
                <c:pt idx="526">
                  <c:v>0.36820798544982258</c:v>
                </c:pt>
                <c:pt idx="527">
                  <c:v>0.37102227936372345</c:v>
                </c:pt>
                <c:pt idx="528">
                  <c:v>0.374384149928432</c:v>
                </c:pt>
                <c:pt idx="529">
                  <c:v>0.37753852089603307</c:v>
                </c:pt>
                <c:pt idx="530">
                  <c:v>0.380845018540997</c:v>
                </c:pt>
                <c:pt idx="531">
                  <c:v>0.38088203305544993</c:v>
                </c:pt>
                <c:pt idx="532">
                  <c:v>0.38291793058498413</c:v>
                </c:pt>
                <c:pt idx="533">
                  <c:v>0.38468728391660795</c:v>
                </c:pt>
                <c:pt idx="534">
                  <c:v>0.38778350339501494</c:v>
                </c:pt>
                <c:pt idx="535">
                  <c:v>0.39124996725257433</c:v>
                </c:pt>
                <c:pt idx="536">
                  <c:v>0.3945464422005952</c:v>
                </c:pt>
                <c:pt idx="537">
                  <c:v>0.39589563613759793</c:v>
                </c:pt>
                <c:pt idx="538">
                  <c:v>0.39817862787889563</c:v>
                </c:pt>
                <c:pt idx="539">
                  <c:v>0.39930851329863026</c:v>
                </c:pt>
                <c:pt idx="540">
                  <c:v>0.4017624862956985</c:v>
                </c:pt>
                <c:pt idx="541">
                  <c:v>0.40430656433063067</c:v>
                </c:pt>
                <c:pt idx="542">
                  <c:v>0.40733391498053811</c:v>
                </c:pt>
                <c:pt idx="543">
                  <c:v>0.41037972327036032</c:v>
                </c:pt>
                <c:pt idx="544">
                  <c:v>0.41264981451064225</c:v>
                </c:pt>
                <c:pt idx="545">
                  <c:v>0.4168679806389281</c:v>
                </c:pt>
                <c:pt idx="546">
                  <c:v>0.41919523102217215</c:v>
                </c:pt>
                <c:pt idx="547">
                  <c:v>0.42009915920488455</c:v>
                </c:pt>
                <c:pt idx="548">
                  <c:v>0.42246908047610382</c:v>
                </c:pt>
                <c:pt idx="549">
                  <c:v>0.42554237675655204</c:v>
                </c:pt>
                <c:pt idx="550">
                  <c:v>0.42820057460816213</c:v>
                </c:pt>
                <c:pt idx="551">
                  <c:v>0.43269332293883728</c:v>
                </c:pt>
                <c:pt idx="552">
                  <c:v>0.43397612891292042</c:v>
                </c:pt>
                <c:pt idx="553">
                  <c:v>0.43706738666016742</c:v>
                </c:pt>
                <c:pt idx="554">
                  <c:v>0.44127513315301736</c:v>
                </c:pt>
                <c:pt idx="555">
                  <c:v>0.44624857399846468</c:v>
                </c:pt>
                <c:pt idx="556">
                  <c:v>0.44971950341406797</c:v>
                </c:pt>
                <c:pt idx="557">
                  <c:v>0.4537921915847451</c:v>
                </c:pt>
                <c:pt idx="558">
                  <c:v>0.45666195765301382</c:v>
                </c:pt>
                <c:pt idx="559">
                  <c:v>0.45867572586157485</c:v>
                </c:pt>
                <c:pt idx="560">
                  <c:v>0.46088310081999551</c:v>
                </c:pt>
                <c:pt idx="561">
                  <c:v>0.46257604349175674</c:v>
                </c:pt>
                <c:pt idx="562">
                  <c:v>0.46555566228790579</c:v>
                </c:pt>
                <c:pt idx="563">
                  <c:v>0.4704048613851089</c:v>
                </c:pt>
                <c:pt idx="564">
                  <c:v>0.47507117107175773</c:v>
                </c:pt>
                <c:pt idx="565">
                  <c:v>0.47822554203935885</c:v>
                </c:pt>
                <c:pt idx="566">
                  <c:v>0.48216862979213915</c:v>
                </c:pt>
                <c:pt idx="567">
                  <c:v>0.48596028550991904</c:v>
                </c:pt>
                <c:pt idx="568">
                  <c:v>0.48858573593587379</c:v>
                </c:pt>
                <c:pt idx="569">
                  <c:v>0.4909630998038329</c:v>
                </c:pt>
                <c:pt idx="570">
                  <c:v>0.49536723161599211</c:v>
                </c:pt>
                <c:pt idx="571">
                  <c:v>0.49965555662287903</c:v>
                </c:pt>
                <c:pt idx="572">
                  <c:v>0.50489544243161344</c:v>
                </c:pt>
                <c:pt idx="573">
                  <c:v>0.50873155526058611</c:v>
                </c:pt>
                <c:pt idx="574">
                  <c:v>0.51317180847558941</c:v>
                </c:pt>
                <c:pt idx="575">
                  <c:v>0.51671756079708431</c:v>
                </c:pt>
                <c:pt idx="576">
                  <c:v>0.57664626961303178</c:v>
                </c:pt>
                <c:pt idx="577">
                  <c:v>0.58077984578382058</c:v>
                </c:pt>
                <c:pt idx="578">
                  <c:v>0.6181917892972314</c:v>
                </c:pt>
                <c:pt idx="579">
                  <c:v>0.62124616949325817</c:v>
                </c:pt>
                <c:pt idx="580">
                  <c:v>0.62372999477367719</c:v>
                </c:pt>
                <c:pt idx="581">
                  <c:v>0.62663939519195933</c:v>
                </c:pt>
                <c:pt idx="582">
                  <c:v>0.63017013751486151</c:v>
                </c:pt>
                <c:pt idx="583">
                  <c:v>0.63361550040938053</c:v>
                </c:pt>
                <c:pt idx="584">
                  <c:v>0.63701360165902687</c:v>
                </c:pt>
                <c:pt idx="585">
                  <c:v>0.64063302842044312</c:v>
                </c:pt>
                <c:pt idx="586">
                  <c:v>0.64385365062605693</c:v>
                </c:pt>
                <c:pt idx="587">
                  <c:v>0.64684523562959562</c:v>
                </c:pt>
                <c:pt idx="588">
                  <c:v>0.64914122616757186</c:v>
                </c:pt>
                <c:pt idx="589">
                  <c:v>0.65091976228604465</c:v>
                </c:pt>
                <c:pt idx="590">
                  <c:v>0.65280339772668183</c:v>
                </c:pt>
                <c:pt idx="591">
                  <c:v>0.65593004747757222</c:v>
                </c:pt>
                <c:pt idx="592">
                  <c:v>0.65902849447534506</c:v>
                </c:pt>
                <c:pt idx="593">
                  <c:v>0.66108112610067848</c:v>
                </c:pt>
                <c:pt idx="594">
                  <c:v>0.6631601978070597</c:v>
                </c:pt>
                <c:pt idx="595">
                  <c:v>0.66607995392375208</c:v>
                </c:pt>
                <c:pt idx="596">
                  <c:v>0.66871889434631737</c:v>
                </c:pt>
                <c:pt idx="597">
                  <c:v>0.67119842311356626</c:v>
                </c:pt>
                <c:pt idx="598">
                  <c:v>0.67409372215528962</c:v>
                </c:pt>
                <c:pt idx="599">
                  <c:v>0.67706327375795516</c:v>
                </c:pt>
                <c:pt idx="600">
                  <c:v>0.67924314827333043</c:v>
                </c:pt>
                <c:pt idx="601">
                  <c:v>0.68228871510900801</c:v>
                </c:pt>
                <c:pt idx="602">
                  <c:v>0.68412200422865033</c:v>
                </c:pt>
                <c:pt idx="603">
                  <c:v>0.68679212191345107</c:v>
                </c:pt>
                <c:pt idx="604">
                  <c:v>0.69084219149493098</c:v>
                </c:pt>
                <c:pt idx="605">
                  <c:v>0.69439606888874983</c:v>
                </c:pt>
                <c:pt idx="606">
                  <c:v>0.69840052933042251</c:v>
                </c:pt>
                <c:pt idx="607">
                  <c:v>0.70090396433761859</c:v>
                </c:pt>
                <c:pt idx="608">
                  <c:v>0.70300253560377235</c:v>
                </c:pt>
                <c:pt idx="609">
                  <c:v>0.79202842891681302</c:v>
                </c:pt>
                <c:pt idx="610">
                  <c:v>0.7964545070970771</c:v>
                </c:pt>
                <c:pt idx="611">
                  <c:v>0.80054754610797307</c:v>
                </c:pt>
                <c:pt idx="612">
                  <c:v>0.80614755640866409</c:v>
                </c:pt>
                <c:pt idx="613">
                  <c:v>0.81277379781526304</c:v>
                </c:pt>
                <c:pt idx="614">
                  <c:v>0.81613922671523842</c:v>
                </c:pt>
                <c:pt idx="615">
                  <c:v>0.81895619334000902</c:v>
                </c:pt>
                <c:pt idx="616">
                  <c:v>0.82170977109685528</c:v>
                </c:pt>
                <c:pt idx="617">
                  <c:v>0.8260946217516919</c:v>
                </c:pt>
                <c:pt idx="618">
                  <c:v>0.82931098776693901</c:v>
                </c:pt>
                <c:pt idx="619">
                  <c:v>0.8339937165784671</c:v>
                </c:pt>
                <c:pt idx="620">
                  <c:v>0.83875914805361518</c:v>
                </c:pt>
                <c:pt idx="621">
                  <c:v>0.84309039054475798</c:v>
                </c:pt>
                <c:pt idx="622">
                  <c:v>0.84526084023925341</c:v>
                </c:pt>
                <c:pt idx="623">
                  <c:v>0.84860039360525175</c:v>
                </c:pt>
                <c:pt idx="624">
                  <c:v>0.85014586868005559</c:v>
                </c:pt>
                <c:pt idx="625">
                  <c:v>0.85386872660678403</c:v>
                </c:pt>
                <c:pt idx="626">
                  <c:v>0.8587714593603073</c:v>
                </c:pt>
                <c:pt idx="627">
                  <c:v>0.86409216246170673</c:v>
                </c:pt>
                <c:pt idx="628">
                  <c:v>0.86658426113836506</c:v>
                </c:pt>
                <c:pt idx="629">
                  <c:v>0.86695939447783921</c:v>
                </c:pt>
                <c:pt idx="630">
                  <c:v>0.86964277401571455</c:v>
                </c:pt>
                <c:pt idx="631">
                  <c:v>0.87412419364902971</c:v>
                </c:pt>
                <c:pt idx="632">
                  <c:v>0.88016458325285929</c:v>
                </c:pt>
                <c:pt idx="633">
                  <c:v>0.88716595799893228</c:v>
                </c:pt>
                <c:pt idx="634">
                  <c:v>0.89606181801254114</c:v>
                </c:pt>
                <c:pt idx="635">
                  <c:v>0.90256363400456208</c:v>
                </c:pt>
                <c:pt idx="636">
                  <c:v>0.90411368991552443</c:v>
                </c:pt>
                <c:pt idx="637">
                  <c:v>0.9086062521232795</c:v>
                </c:pt>
                <c:pt idx="638">
                  <c:v>0.91065103833937011</c:v>
                </c:pt>
                <c:pt idx="639">
                  <c:v>0.92873679852541646</c:v>
                </c:pt>
                <c:pt idx="640">
                  <c:v>0.91583122119644511</c:v>
                </c:pt>
                <c:pt idx="641">
                  <c:v>0.91583122119644511</c:v>
                </c:pt>
                <c:pt idx="642">
                  <c:v>0.94449561774927926</c:v>
                </c:pt>
                <c:pt idx="643">
                  <c:v>0.94039849312775536</c:v>
                </c:pt>
                <c:pt idx="644">
                  <c:v>0.93598863358362039</c:v>
                </c:pt>
                <c:pt idx="645">
                  <c:v>0.93522858620044158</c:v>
                </c:pt>
                <c:pt idx="646">
                  <c:v>0.93072636709483869</c:v>
                </c:pt>
                <c:pt idx="647">
                  <c:v>0.93079000357552832</c:v>
                </c:pt>
                <c:pt idx="648">
                  <c:v>0.93103130221534192</c:v>
                </c:pt>
                <c:pt idx="649">
                  <c:v>0.93017171450050073</c:v>
                </c:pt>
                <c:pt idx="650">
                  <c:v>0.92680913314732671</c:v>
                </c:pt>
                <c:pt idx="651">
                  <c:v>0.92680913314732671</c:v>
                </c:pt>
                <c:pt idx="652">
                  <c:v>0.92633247857406742</c:v>
                </c:pt>
                <c:pt idx="653">
                  <c:v>0.92552674663568535</c:v>
                </c:pt>
                <c:pt idx="654">
                  <c:v>0.92500180757318695</c:v>
                </c:pt>
                <c:pt idx="655">
                  <c:v>0.92520522145990514</c:v>
                </c:pt>
                <c:pt idx="656">
                  <c:v>0.9236317661426191</c:v>
                </c:pt>
                <c:pt idx="657">
                  <c:v>0.9254643482188224</c:v>
                </c:pt>
                <c:pt idx="658">
                  <c:v>0.92765832112602398</c:v>
                </c:pt>
                <c:pt idx="659">
                  <c:v>0.92547858595282884</c:v>
                </c:pt>
                <c:pt idx="660">
                  <c:v>0.92480446019921936</c:v>
                </c:pt>
                <c:pt idx="661">
                  <c:v>0.92390612108660408</c:v>
                </c:pt>
                <c:pt idx="662">
                  <c:v>0.92384446550803712</c:v>
                </c:pt>
                <c:pt idx="663">
                  <c:v>0.92248432858808238</c:v>
                </c:pt>
                <c:pt idx="664">
                  <c:v>0.92107986898313365</c:v>
                </c:pt>
                <c:pt idx="665">
                  <c:v>0.91899695040118223</c:v>
                </c:pt>
                <c:pt idx="666">
                  <c:v>0.91877595600812567</c:v>
                </c:pt>
                <c:pt idx="667">
                  <c:v>0.92162040764984787</c:v>
                </c:pt>
                <c:pt idx="668">
                  <c:v>0.92034260197436524</c:v>
                </c:pt>
                <c:pt idx="669">
                  <c:v>0.91896674164381209</c:v>
                </c:pt>
                <c:pt idx="670">
                  <c:v>0.92024318544908534</c:v>
                </c:pt>
                <c:pt idx="671">
                  <c:v>0.91740467651373114</c:v>
                </c:pt>
                <c:pt idx="672">
                  <c:v>0.91246616371561773</c:v>
                </c:pt>
                <c:pt idx="673">
                  <c:v>0.91041852995272576</c:v>
                </c:pt>
                <c:pt idx="674">
                  <c:v>0.9113735723886015</c:v>
                </c:pt>
                <c:pt idx="675">
                  <c:v>0.91199805178276239</c:v>
                </c:pt>
                <c:pt idx="676">
                  <c:v>0.91312221373735813</c:v>
                </c:pt>
                <c:pt idx="677">
                  <c:v>0.91015606042147656</c:v>
                </c:pt>
                <c:pt idx="678">
                  <c:v>0.90783419552098232</c:v>
                </c:pt>
                <c:pt idx="679">
                  <c:v>0.90854868215534035</c:v>
                </c:pt>
                <c:pt idx="680">
                  <c:v>0.90353737120422017</c:v>
                </c:pt>
                <c:pt idx="681">
                  <c:v>0.8984704711872834</c:v>
                </c:pt>
                <c:pt idx="682">
                  <c:v>0.8963806194479027</c:v>
                </c:pt>
                <c:pt idx="683">
                  <c:v>0.89420459846618749</c:v>
                </c:pt>
                <c:pt idx="684">
                  <c:v>0.89127744416084542</c:v>
                </c:pt>
                <c:pt idx="685">
                  <c:v>0.88743139888336553</c:v>
                </c:pt>
                <c:pt idx="686">
                  <c:v>0.88417157682780323</c:v>
                </c:pt>
                <c:pt idx="687">
                  <c:v>0.8829205133309761</c:v>
                </c:pt>
                <c:pt idx="688">
                  <c:v>0.88351267925926147</c:v>
                </c:pt>
                <c:pt idx="689">
                  <c:v>0.88515447569977845</c:v>
                </c:pt>
                <c:pt idx="690">
                  <c:v>0.88466655474569678</c:v>
                </c:pt>
                <c:pt idx="691">
                  <c:v>0.87855386221439113</c:v>
                </c:pt>
                <c:pt idx="692">
                  <c:v>0.87669812834462957</c:v>
                </c:pt>
                <c:pt idx="693">
                  <c:v>0.87483447086637722</c:v>
                </c:pt>
                <c:pt idx="694">
                  <c:v>0.87316085618551542</c:v>
                </c:pt>
                <c:pt idx="695">
                  <c:v>0.87060796857496869</c:v>
                </c:pt>
                <c:pt idx="696">
                  <c:v>0.86935839075473365</c:v>
                </c:pt>
                <c:pt idx="697">
                  <c:v>0.86779174478849419</c:v>
                </c:pt>
                <c:pt idx="698">
                  <c:v>0.86351782465252502</c:v>
                </c:pt>
                <c:pt idx="699">
                  <c:v>0.85732874358311517</c:v>
                </c:pt>
                <c:pt idx="700">
                  <c:v>0.85508524812284759</c:v>
                </c:pt>
                <c:pt idx="701">
                  <c:v>0.8518852245501124</c:v>
                </c:pt>
                <c:pt idx="702">
                  <c:v>0.84826178314866374</c:v>
                </c:pt>
                <c:pt idx="703">
                  <c:v>0.84982657201916334</c:v>
                </c:pt>
                <c:pt idx="704">
                  <c:v>0.84939981141811793</c:v>
                </c:pt>
                <c:pt idx="705">
                  <c:v>0.84787625007304579</c:v>
                </c:pt>
                <c:pt idx="706">
                  <c:v>0.84439295749677368</c:v>
                </c:pt>
                <c:pt idx="707">
                  <c:v>0.8433351557632861</c:v>
                </c:pt>
                <c:pt idx="708">
                  <c:v>0.83867867390488304</c:v>
                </c:pt>
                <c:pt idx="709">
                  <c:v>0.83379389307684615</c:v>
                </c:pt>
                <c:pt idx="710">
                  <c:v>0.82982688896350298</c:v>
                </c:pt>
                <c:pt idx="711">
                  <c:v>0.82625074160023226</c:v>
                </c:pt>
                <c:pt idx="712">
                  <c:v>0.82569225100803156</c:v>
                </c:pt>
                <c:pt idx="713">
                  <c:v>0.82464398236600933</c:v>
                </c:pt>
                <c:pt idx="714">
                  <c:v>0.82136137993603675</c:v>
                </c:pt>
                <c:pt idx="715">
                  <c:v>0.82286723696838782</c:v>
                </c:pt>
                <c:pt idx="716">
                  <c:v>0.81909733261624673</c:v>
                </c:pt>
                <c:pt idx="717">
                  <c:v>0.81889973762951396</c:v>
                </c:pt>
                <c:pt idx="718">
                  <c:v>0.82048161178082113</c:v>
                </c:pt>
                <c:pt idx="719">
                  <c:v>0.81633434557431794</c:v>
                </c:pt>
                <c:pt idx="720">
                  <c:v>0.81018686344948354</c:v>
                </c:pt>
                <c:pt idx="721">
                  <c:v>0.80551936282302328</c:v>
                </c:pt>
                <c:pt idx="722">
                  <c:v>0.80133569754001677</c:v>
                </c:pt>
                <c:pt idx="723">
                  <c:v>0.80218835209742867</c:v>
                </c:pt>
                <c:pt idx="724">
                  <c:v>0.80098668734728484</c:v>
                </c:pt>
                <c:pt idx="725">
                  <c:v>0.79903921294796865</c:v>
                </c:pt>
                <c:pt idx="726">
                  <c:v>0.79622719857850466</c:v>
                </c:pt>
                <c:pt idx="727">
                  <c:v>0.79525271854055057</c:v>
                </c:pt>
                <c:pt idx="728">
                  <c:v>0.7960172229535053</c:v>
                </c:pt>
                <c:pt idx="729">
                  <c:v>0.79669840567092665</c:v>
                </c:pt>
                <c:pt idx="730">
                  <c:v>0.8009558595580013</c:v>
                </c:pt>
                <c:pt idx="731">
                  <c:v>0.80314636588648836</c:v>
                </c:pt>
                <c:pt idx="732">
                  <c:v>0.80394627892488524</c:v>
                </c:pt>
                <c:pt idx="733">
                  <c:v>0.80406575208415676</c:v>
                </c:pt>
                <c:pt idx="734">
                  <c:v>0.7985550061853669</c:v>
                </c:pt>
                <c:pt idx="735">
                  <c:v>0.79538048672746064</c:v>
                </c:pt>
                <c:pt idx="736">
                  <c:v>0.79029167298079228</c:v>
                </c:pt>
                <c:pt idx="737">
                  <c:v>0.78436889944049426</c:v>
                </c:pt>
                <c:pt idx="738">
                  <c:v>0.78203329203152405</c:v>
                </c:pt>
                <c:pt idx="739">
                  <c:v>0.78253631736429086</c:v>
                </c:pt>
                <c:pt idx="740">
                  <c:v>0.77563237824137488</c:v>
                </c:pt>
                <c:pt idx="741">
                  <c:v>0.77055470706914631</c:v>
                </c:pt>
                <c:pt idx="742">
                  <c:v>0.76801036209900353</c:v>
                </c:pt>
                <c:pt idx="743">
                  <c:v>0.76884357905433709</c:v>
                </c:pt>
                <c:pt idx="744">
                  <c:v>0.76358019830811152</c:v>
                </c:pt>
                <c:pt idx="745">
                  <c:v>0.75781255416529236</c:v>
                </c:pt>
                <c:pt idx="746">
                  <c:v>0.75590952625735297</c:v>
                </c:pt>
                <c:pt idx="747">
                  <c:v>0.75220189651569225</c:v>
                </c:pt>
                <c:pt idx="748">
                  <c:v>0.74749279694465665</c:v>
                </c:pt>
                <c:pt idx="749">
                  <c:v>0.74199666019902133</c:v>
                </c:pt>
                <c:pt idx="750">
                  <c:v>0.73831292508921498</c:v>
                </c:pt>
                <c:pt idx="751">
                  <c:v>0.73217708076435095</c:v>
                </c:pt>
                <c:pt idx="752">
                  <c:v>0.72835270160383736</c:v>
                </c:pt>
                <c:pt idx="753">
                  <c:v>0.72533380676894066</c:v>
                </c:pt>
                <c:pt idx="754">
                  <c:v>0.71974716755757739</c:v>
                </c:pt>
                <c:pt idx="755">
                  <c:v>0.71172711389493892</c:v>
                </c:pt>
                <c:pt idx="756">
                  <c:v>0.70613341771976379</c:v>
                </c:pt>
                <c:pt idx="757">
                  <c:v>0.70383829499792505</c:v>
                </c:pt>
                <c:pt idx="758">
                  <c:v>0.69792158797037762</c:v>
                </c:pt>
                <c:pt idx="759">
                  <c:v>0.69555812412530793</c:v>
                </c:pt>
                <c:pt idx="760">
                  <c:v>0.69204957504697218</c:v>
                </c:pt>
                <c:pt idx="761">
                  <c:v>0.68526857566204236</c:v>
                </c:pt>
                <c:pt idx="762">
                  <c:v>0.67962535693380133</c:v>
                </c:pt>
                <c:pt idx="763">
                  <c:v>0.67402943224373812</c:v>
                </c:pt>
                <c:pt idx="764">
                  <c:v>0.66928343837066839</c:v>
                </c:pt>
                <c:pt idx="765">
                  <c:v>0.6641583493538793</c:v>
                </c:pt>
                <c:pt idx="766">
                  <c:v>0.66004092048559837</c:v>
                </c:pt>
                <c:pt idx="767">
                  <c:v>0.65589761608334052</c:v>
                </c:pt>
                <c:pt idx="768">
                  <c:v>0.65017330417445418</c:v>
                </c:pt>
                <c:pt idx="769">
                  <c:v>0.64558553485842984</c:v>
                </c:pt>
                <c:pt idx="770">
                  <c:v>0.6396867797563689</c:v>
                </c:pt>
                <c:pt idx="771">
                  <c:v>0.63259985479987446</c:v>
                </c:pt>
                <c:pt idx="772">
                  <c:v>0.62589672962964071</c:v>
                </c:pt>
                <c:pt idx="773">
                  <c:v>0.61809135623454281</c:v>
                </c:pt>
                <c:pt idx="774">
                  <c:v>0.61101396436951361</c:v>
                </c:pt>
                <c:pt idx="775">
                  <c:v>0.60418604236555373</c:v>
                </c:pt>
                <c:pt idx="776">
                  <c:v>0.60080600431242392</c:v>
                </c:pt>
                <c:pt idx="777">
                  <c:v>0.59559140328096816</c:v>
                </c:pt>
                <c:pt idx="778">
                  <c:v>0.5912846744535929</c:v>
                </c:pt>
                <c:pt idx="779">
                  <c:v>0.58681984487555483</c:v>
                </c:pt>
                <c:pt idx="780">
                  <c:v>0.58155881645059981</c:v>
                </c:pt>
                <c:pt idx="781">
                  <c:v>0.57717619431065104</c:v>
                </c:pt>
                <c:pt idx="782">
                  <c:v>0.57080709876084668</c:v>
                </c:pt>
                <c:pt idx="783">
                  <c:v>0.5643462626814878</c:v>
                </c:pt>
                <c:pt idx="784">
                  <c:v>0.55644184418025822</c:v>
                </c:pt>
                <c:pt idx="785">
                  <c:v>0.54859214810016632</c:v>
                </c:pt>
                <c:pt idx="786">
                  <c:v>0.5433864611282625</c:v>
                </c:pt>
                <c:pt idx="787">
                  <c:v>0.53580641534961437</c:v>
                </c:pt>
                <c:pt idx="788">
                  <c:v>0.52779663761673712</c:v>
                </c:pt>
                <c:pt idx="789">
                  <c:v>0.51901653657091973</c:v>
                </c:pt>
                <c:pt idx="790">
                  <c:v>0.50962359393091206</c:v>
                </c:pt>
                <c:pt idx="791">
                  <c:v>0.50097324197412751</c:v>
                </c:pt>
                <c:pt idx="792">
                  <c:v>0.49389188830485292</c:v>
                </c:pt>
                <c:pt idx="793">
                  <c:v>0.487389700893684</c:v>
                </c:pt>
                <c:pt idx="794">
                  <c:v>0.482425560174359</c:v>
                </c:pt>
                <c:pt idx="795">
                  <c:v>0.47839392912926476</c:v>
                </c:pt>
                <c:pt idx="796">
                  <c:v>0.47076844640817878</c:v>
                </c:pt>
                <c:pt idx="797">
                  <c:v>0.46608361288814543</c:v>
                </c:pt>
                <c:pt idx="798">
                  <c:v>0.46068751169970318</c:v>
                </c:pt>
                <c:pt idx="799">
                  <c:v>0.4568139814052718</c:v>
                </c:pt>
                <c:pt idx="800">
                  <c:v>0.45238406522714508</c:v>
                </c:pt>
                <c:pt idx="801">
                  <c:v>0.45002617266929534</c:v>
                </c:pt>
                <c:pt idx="802">
                  <c:v>0.44948761490470374</c:v>
                </c:pt>
                <c:pt idx="803">
                  <c:v>0.44439186800060615</c:v>
                </c:pt>
                <c:pt idx="804">
                  <c:v>0.43993100022681331</c:v>
                </c:pt>
                <c:pt idx="805">
                  <c:v>0.43614264872365527</c:v>
                </c:pt>
                <c:pt idx="806">
                  <c:v>0.43266950827076156</c:v>
                </c:pt>
                <c:pt idx="807">
                  <c:v>0.43007217416883825</c:v>
                </c:pt>
                <c:pt idx="808">
                  <c:v>0.43100604571327833</c:v>
                </c:pt>
                <c:pt idx="809">
                  <c:v>0.43220993897831012</c:v>
                </c:pt>
                <c:pt idx="810">
                  <c:v>0.42897760193969942</c:v>
                </c:pt>
                <c:pt idx="811">
                  <c:v>0.42567098107148982</c:v>
                </c:pt>
                <c:pt idx="812">
                  <c:v>0.42150737242247494</c:v>
                </c:pt>
                <c:pt idx="813">
                  <c:v>0.41880356483145992</c:v>
                </c:pt>
                <c:pt idx="814">
                  <c:v>0.41939882591931194</c:v>
                </c:pt>
                <c:pt idx="815">
                  <c:v>0.42075475342225604</c:v>
                </c:pt>
                <c:pt idx="816">
                  <c:v>0.42218199340161505</c:v>
                </c:pt>
                <c:pt idx="817">
                  <c:v>0.41969497078664592</c:v>
                </c:pt>
                <c:pt idx="818">
                  <c:v>0.4165781451030614</c:v>
                </c:pt>
                <c:pt idx="819">
                  <c:v>0.41355702175327669</c:v>
                </c:pt>
                <c:pt idx="820">
                  <c:v>0.41091226980679274</c:v>
                </c:pt>
                <c:pt idx="821">
                  <c:v>0.32689393247758686</c:v>
                </c:pt>
                <c:pt idx="822">
                  <c:v>0.32637959942555061</c:v>
                </c:pt>
                <c:pt idx="823">
                  <c:v>0.32638545426831927</c:v>
                </c:pt>
                <c:pt idx="824">
                  <c:v>0.32659057223446997</c:v>
                </c:pt>
                <c:pt idx="825">
                  <c:v>0.32486299667921259</c:v>
                </c:pt>
                <c:pt idx="826">
                  <c:v>0.32399608301095306</c:v>
                </c:pt>
                <c:pt idx="827">
                  <c:v>0.32577774143585353</c:v>
                </c:pt>
                <c:pt idx="828">
                  <c:v>0.32611345216613302</c:v>
                </c:pt>
                <c:pt idx="829">
                  <c:v>0.32816691422397332</c:v>
                </c:pt>
                <c:pt idx="830">
                  <c:v>0.33110703764008953</c:v>
                </c:pt>
                <c:pt idx="831">
                  <c:v>0.33308031812238564</c:v>
                </c:pt>
                <c:pt idx="832">
                  <c:v>0.33534693615085565</c:v>
                </c:pt>
                <c:pt idx="833">
                  <c:v>0.33346753162210502</c:v>
                </c:pt>
                <c:pt idx="834">
                  <c:v>0.33522239669874193</c:v>
                </c:pt>
                <c:pt idx="835">
                  <c:v>0.33827683840078243</c:v>
                </c:pt>
                <c:pt idx="836">
                  <c:v>0.34246721883457265</c:v>
                </c:pt>
                <c:pt idx="837">
                  <c:v>0.34869200827854918</c:v>
                </c:pt>
                <c:pt idx="838">
                  <c:v>0.35439333508515519</c:v>
                </c:pt>
                <c:pt idx="839">
                  <c:v>0.35862082926802158</c:v>
                </c:pt>
                <c:pt idx="840">
                  <c:v>0.36149158768252221</c:v>
                </c:pt>
                <c:pt idx="841">
                  <c:v>0.36255766523954047</c:v>
                </c:pt>
                <c:pt idx="842">
                  <c:v>0.36208540766774022</c:v>
                </c:pt>
                <c:pt idx="843">
                  <c:v>0.36460963877803276</c:v>
                </c:pt>
                <c:pt idx="844">
                  <c:v>0.36778028422383835</c:v>
                </c:pt>
                <c:pt idx="845">
                  <c:v>0.36745022986708115</c:v>
                </c:pt>
                <c:pt idx="846">
                  <c:v>0.3692364530846487</c:v>
                </c:pt>
                <c:pt idx="847">
                  <c:v>0.36963438392367348</c:v>
                </c:pt>
                <c:pt idx="848">
                  <c:v>0.37230895548811127</c:v>
                </c:pt>
                <c:pt idx="849">
                  <c:v>0.37935223210422647</c:v>
                </c:pt>
                <c:pt idx="850">
                  <c:v>0.38558307486021809</c:v>
                </c:pt>
                <c:pt idx="851">
                  <c:v>0.42574857142857148</c:v>
                </c:pt>
                <c:pt idx="852">
                  <c:v>0.43120366576819408</c:v>
                </c:pt>
                <c:pt idx="853">
                  <c:v>0.43463946091644207</c:v>
                </c:pt>
                <c:pt idx="854">
                  <c:v>0.42935385444743934</c:v>
                </c:pt>
                <c:pt idx="855">
                  <c:v>0.42950016172506739</c:v>
                </c:pt>
                <c:pt idx="856">
                  <c:v>0.43306253369272241</c:v>
                </c:pt>
                <c:pt idx="857">
                  <c:v>0.44007493261455527</c:v>
                </c:pt>
                <c:pt idx="858">
                  <c:v>0.44665132075471697</c:v>
                </c:pt>
                <c:pt idx="859">
                  <c:v>0.45288754716981133</c:v>
                </c:pt>
                <c:pt idx="860">
                  <c:v>0.46266867924528304</c:v>
                </c:pt>
                <c:pt idx="861">
                  <c:v>0.47299320754716978</c:v>
                </c:pt>
                <c:pt idx="862">
                  <c:v>0.48202145552560643</c:v>
                </c:pt>
                <c:pt idx="863">
                  <c:v>0.49234598382749328</c:v>
                </c:pt>
                <c:pt idx="864">
                  <c:v>0.50171741239892187</c:v>
                </c:pt>
                <c:pt idx="865">
                  <c:v>0.51178318059299188</c:v>
                </c:pt>
                <c:pt idx="866">
                  <c:v>0.51604172506738544</c:v>
                </c:pt>
                <c:pt idx="867">
                  <c:v>0.52297336927223725</c:v>
                </c:pt>
                <c:pt idx="868">
                  <c:v>0.53229584905660376</c:v>
                </c:pt>
                <c:pt idx="869">
                  <c:v>0.54066350404312669</c:v>
                </c:pt>
                <c:pt idx="870">
                  <c:v>0.54931331536388139</c:v>
                </c:pt>
                <c:pt idx="871">
                  <c:v>0.55746425876010774</c:v>
                </c:pt>
                <c:pt idx="872">
                  <c:v>0.57003564618184965</c:v>
                </c:pt>
                <c:pt idx="873">
                  <c:v>0.57978785646181852</c:v>
                </c:pt>
                <c:pt idx="874">
                  <c:v>0.58951612204212522</c:v>
                </c:pt>
                <c:pt idx="875">
                  <c:v>0.60043750541735286</c:v>
                </c:pt>
                <c:pt idx="876">
                  <c:v>0.61109885585507495</c:v>
                </c:pt>
                <c:pt idx="877">
                  <c:v>0.62176020629279705</c:v>
                </c:pt>
                <c:pt idx="878">
                  <c:v>0.63114609517205511</c:v>
                </c:pt>
                <c:pt idx="879">
                  <c:v>0.64110221461385108</c:v>
                </c:pt>
                <c:pt idx="880">
                  <c:v>0.64968449336916012</c:v>
                </c:pt>
                <c:pt idx="881">
                  <c:v>0.65764821877437807</c:v>
                </c:pt>
                <c:pt idx="882">
                  <c:v>0.66512199878651301</c:v>
                </c:pt>
                <c:pt idx="883">
                  <c:v>0.67089949726965414</c:v>
                </c:pt>
                <c:pt idx="884">
                  <c:v>0.67719110253965509</c:v>
                </c:pt>
                <c:pt idx="885">
                  <c:v>0.68516002860362302</c:v>
                </c:pt>
                <c:pt idx="886">
                  <c:v>0.69376419346450546</c:v>
                </c:pt>
                <c:pt idx="887">
                  <c:v>0.701520217560891</c:v>
                </c:pt>
                <c:pt idx="888">
                  <c:v>0.70748418132963509</c:v>
                </c:pt>
                <c:pt idx="889">
                  <c:v>0.7130468275981624</c:v>
                </c:pt>
                <c:pt idx="890">
                  <c:v>0.71793165467625897</c:v>
                </c:pt>
                <c:pt idx="891">
                  <c:v>0.7232311259426194</c:v>
                </c:pt>
                <c:pt idx="892">
                  <c:v>0.70479890786166244</c:v>
                </c:pt>
                <c:pt idx="893">
                  <c:v>0.71490151252491985</c:v>
                </c:pt>
                <c:pt idx="894">
                  <c:v>0.72179065181589663</c:v>
                </c:pt>
                <c:pt idx="895">
                  <c:v>0.72729489902054256</c:v>
                </c:pt>
                <c:pt idx="896">
                  <c:v>0.72938480540868511</c:v>
                </c:pt>
                <c:pt idx="897">
                  <c:v>0.72936118575019504</c:v>
                </c:pt>
                <c:pt idx="898">
                  <c:v>0.73398067088497876</c:v>
                </c:pt>
                <c:pt idx="899">
                  <c:v>0.74117643234809738</c:v>
                </c:pt>
                <c:pt idx="900">
                  <c:v>0.74717214180462854</c:v>
                </c:pt>
                <c:pt idx="901">
                  <c:v>0.75114815376614363</c:v>
                </c:pt>
                <c:pt idx="902">
                  <c:v>0.75490432954840947</c:v>
                </c:pt>
                <c:pt idx="903">
                  <c:v>0.7584913755742394</c:v>
                </c:pt>
                <c:pt idx="904">
                  <c:v>0.76312765450290365</c:v>
                </c:pt>
                <c:pt idx="905">
                  <c:v>0.76797434341683268</c:v>
                </c:pt>
                <c:pt idx="906">
                  <c:v>0.77452273121262016</c:v>
                </c:pt>
                <c:pt idx="907">
                  <c:v>0.78127036924677129</c:v>
                </c:pt>
                <c:pt idx="908">
                  <c:v>0.78436530293837214</c:v>
                </c:pt>
                <c:pt idx="909">
                  <c:v>0.78774659790240098</c:v>
                </c:pt>
                <c:pt idx="910">
                  <c:v>0.79049568778711965</c:v>
                </c:pt>
                <c:pt idx="911">
                  <c:v>0.79367166507757647</c:v>
                </c:pt>
                <c:pt idx="912">
                  <c:v>0.79672856895206723</c:v>
                </c:pt>
                <c:pt idx="913">
                  <c:v>0.80102127936205247</c:v>
                </c:pt>
                <c:pt idx="914">
                  <c:v>0.80484311346103843</c:v>
                </c:pt>
                <c:pt idx="915">
                  <c:v>0.80726542862095862</c:v>
                </c:pt>
                <c:pt idx="916">
                  <c:v>0.80967495882811813</c:v>
                </c:pt>
                <c:pt idx="917">
                  <c:v>0.8126535277801854</c:v>
                </c:pt>
                <c:pt idx="918">
                  <c:v>0.81406843200138679</c:v>
                </c:pt>
                <c:pt idx="919">
                  <c:v>0.81623407298257777</c:v>
                </c:pt>
                <c:pt idx="920">
                  <c:v>0.80523673832018716</c:v>
                </c:pt>
                <c:pt idx="921">
                  <c:v>0.81087717777585155</c:v>
                </c:pt>
                <c:pt idx="922">
                  <c:v>0.81235947386668972</c:v>
                </c:pt>
                <c:pt idx="923">
                  <c:v>0.81515461125075839</c:v>
                </c:pt>
                <c:pt idx="924">
                  <c:v>0.81735427320793963</c:v>
                </c:pt>
                <c:pt idx="925">
                  <c:v>0.82005319840513125</c:v>
                </c:pt>
                <c:pt idx="926">
                  <c:v>0.82335529167027821</c:v>
                </c:pt>
                <c:pt idx="927">
                  <c:v>0.82783706769524135</c:v>
                </c:pt>
                <c:pt idx="928">
                  <c:v>0.83084207332928839</c:v>
                </c:pt>
                <c:pt idx="929">
                  <c:v>0.83356385975556901</c:v>
                </c:pt>
                <c:pt idx="930">
                  <c:v>0.8378315419953194</c:v>
                </c:pt>
                <c:pt idx="931">
                  <c:v>0.84100665250931783</c:v>
                </c:pt>
                <c:pt idx="932">
                  <c:v>0.84337436075236194</c:v>
                </c:pt>
                <c:pt idx="933">
                  <c:v>0.84698849354251537</c:v>
                </c:pt>
                <c:pt idx="934">
                  <c:v>0.85165099245904474</c:v>
                </c:pt>
                <c:pt idx="935">
                  <c:v>0.85607371933778276</c:v>
                </c:pt>
                <c:pt idx="936">
                  <c:v>0.85975578573285949</c:v>
                </c:pt>
                <c:pt idx="937">
                  <c:v>0.86252177775851602</c:v>
                </c:pt>
                <c:pt idx="938">
                  <c:v>0.86480562537921468</c:v>
                </c:pt>
                <c:pt idx="939">
                  <c:v>0.86888142498049747</c:v>
                </c:pt>
                <c:pt idx="940">
                  <c:v>0.87123602322960902</c:v>
                </c:pt>
                <c:pt idx="941">
                  <c:v>0.8755830155152986</c:v>
                </c:pt>
                <c:pt idx="942">
                  <c:v>0.8803406431481321</c:v>
                </c:pt>
                <c:pt idx="943">
                  <c:v>0.88350351044465625</c:v>
                </c:pt>
                <c:pt idx="944">
                  <c:v>0.88779806275461559</c:v>
                </c:pt>
                <c:pt idx="945">
                  <c:v>0.89010607176909073</c:v>
                </c:pt>
                <c:pt idx="946">
                  <c:v>0.8923775678252579</c:v>
                </c:pt>
                <c:pt idx="947">
                  <c:v>0.89436259426193987</c:v>
                </c:pt>
                <c:pt idx="948">
                  <c:v>0.89760336309265842</c:v>
                </c:pt>
                <c:pt idx="949">
                  <c:v>0.9010770780965589</c:v>
                </c:pt>
                <c:pt idx="950">
                  <c:v>0.90374588281182278</c:v>
                </c:pt>
                <c:pt idx="951">
                  <c:v>0.90649107220247882</c:v>
                </c:pt>
                <c:pt idx="952">
                  <c:v>0.90920570772297815</c:v>
                </c:pt>
                <c:pt idx="953">
                  <c:v>0.90977788853254749</c:v>
                </c:pt>
                <c:pt idx="954">
                  <c:v>0.91300056340469782</c:v>
                </c:pt>
                <c:pt idx="955">
                  <c:v>0.91691655109647208</c:v>
                </c:pt>
                <c:pt idx="956">
                  <c:v>0.92020694287943139</c:v>
                </c:pt>
                <c:pt idx="957">
                  <c:v>0.92357014388489211</c:v>
                </c:pt>
                <c:pt idx="958">
                  <c:v>0.92446942446043168</c:v>
                </c:pt>
                <c:pt idx="959">
                  <c:v>0.92596591401577533</c:v>
                </c:pt>
                <c:pt idx="960">
                  <c:v>0.92823448470139547</c:v>
                </c:pt>
                <c:pt idx="961">
                  <c:v>0.92953118228308906</c:v>
                </c:pt>
                <c:pt idx="962">
                  <c:v>0.93179411892173003</c:v>
                </c:pt>
                <c:pt idx="963">
                  <c:v>0.93441730952587332</c:v>
                </c:pt>
                <c:pt idx="964">
                  <c:v>0.93557705642714739</c:v>
                </c:pt>
                <c:pt idx="965">
                  <c:v>0.93759762069862174</c:v>
                </c:pt>
                <c:pt idx="966">
                  <c:v>0.94002957874664117</c:v>
                </c:pt>
                <c:pt idx="967">
                  <c:v>0.93736868336655976</c:v>
                </c:pt>
                <c:pt idx="968">
                  <c:v>0.93769849180896248</c:v>
                </c:pt>
                <c:pt idx="969">
                  <c:v>0.94440398283782601</c:v>
                </c:pt>
                <c:pt idx="970">
                  <c:v>0.95124761636473953</c:v>
                </c:pt>
                <c:pt idx="971">
                  <c:v>0.94912076363005971</c:v>
                </c:pt>
                <c:pt idx="972">
                  <c:v>0.94742058160700349</c:v>
                </c:pt>
                <c:pt idx="973">
                  <c:v>0.94620936985351478</c:v>
                </c:pt>
                <c:pt idx="974">
                  <c:v>0.94431156279795436</c:v>
                </c:pt>
                <c:pt idx="975">
                  <c:v>0.94404362052526658</c:v>
                </c:pt>
                <c:pt idx="976">
                  <c:v>0.94404567911935511</c:v>
                </c:pt>
                <c:pt idx="977">
                  <c:v>0.94508581086937671</c:v>
                </c:pt>
                <c:pt idx="978">
                  <c:v>0.9439800208026351</c:v>
                </c:pt>
                <c:pt idx="979">
                  <c:v>0.94133461905174654</c:v>
                </c:pt>
                <c:pt idx="980">
                  <c:v>0.93796134176995749</c:v>
                </c:pt>
                <c:pt idx="981">
                  <c:v>0.93847187310392644</c:v>
                </c:pt>
                <c:pt idx="982">
                  <c:v>0.93789514171795096</c:v>
                </c:pt>
                <c:pt idx="983">
                  <c:v>0.94016046199185233</c:v>
                </c:pt>
                <c:pt idx="984">
                  <c:v>0.94225091011528128</c:v>
                </c:pt>
                <c:pt idx="985">
                  <c:v>0.94148728005547355</c:v>
                </c:pt>
                <c:pt idx="986">
                  <c:v>0.94282319927190772</c:v>
                </c:pt>
                <c:pt idx="987">
                  <c:v>0.94160472826558028</c:v>
                </c:pt>
                <c:pt idx="988">
                  <c:v>0.93928902661003733</c:v>
                </c:pt>
                <c:pt idx="989">
                  <c:v>0.94243033284215993</c:v>
                </c:pt>
                <c:pt idx="990">
                  <c:v>0.94825073675998961</c:v>
                </c:pt>
                <c:pt idx="991">
                  <c:v>0.95095345410418652</c:v>
                </c:pt>
                <c:pt idx="992">
                  <c:v>0.94961211753488783</c:v>
                </c:pt>
                <c:pt idx="993">
                  <c:v>0.94982003553783478</c:v>
                </c:pt>
                <c:pt idx="994">
                  <c:v>0.94854164860882373</c:v>
                </c:pt>
                <c:pt idx="995">
                  <c:v>0.94979208199705278</c:v>
                </c:pt>
                <c:pt idx="996">
                  <c:v>0.95019773337956137</c:v>
                </c:pt>
                <c:pt idx="997">
                  <c:v>0.95158760943052778</c:v>
                </c:pt>
                <c:pt idx="998">
                  <c:v>0.95281724018375646</c:v>
                </c:pt>
                <c:pt idx="999">
                  <c:v>0.95251766057033882</c:v>
                </c:pt>
                <c:pt idx="1000">
                  <c:v>0.95216661610470654</c:v>
                </c:pt>
                <c:pt idx="1001">
                  <c:v>0.94992502383635258</c:v>
                </c:pt>
                <c:pt idx="1002">
                  <c:v>0.94803718471006337</c:v>
                </c:pt>
                <c:pt idx="1003">
                  <c:v>0.94961677645835141</c:v>
                </c:pt>
                <c:pt idx="1004">
                  <c:v>0.97687237315308273</c:v>
                </c:pt>
                <c:pt idx="1005">
                  <c:v>0.97777232549070581</c:v>
                </c:pt>
                <c:pt idx="1006">
                  <c:v>0.97917749902508766</c:v>
                </c:pt>
                <c:pt idx="1007">
                  <c:v>0.97862331556826554</c:v>
                </c:pt>
                <c:pt idx="1008">
                  <c:v>0.98049753022227992</c:v>
                </c:pt>
                <c:pt idx="1009">
                  <c:v>0.98380995710386054</c:v>
                </c:pt>
                <c:pt idx="1010">
                  <c:v>0.98533645305255857</c:v>
                </c:pt>
                <c:pt idx="1011">
                  <c:v>0.98825458208761208</c:v>
                </c:pt>
                <c:pt idx="1012">
                  <c:v>0.99013973742363193</c:v>
                </c:pt>
                <c:pt idx="1013">
                  <c:v>0.99062741019974854</c:v>
                </c:pt>
                <c:pt idx="1014">
                  <c:v>0.99102820746132847</c:v>
                </c:pt>
                <c:pt idx="1015">
                  <c:v>0.99149540708002937</c:v>
                </c:pt>
                <c:pt idx="1016">
                  <c:v>0.99291997053598502</c:v>
                </c:pt>
                <c:pt idx="1017">
                  <c:v>0.99528380779063208</c:v>
                </c:pt>
                <c:pt idx="1018">
                  <c:v>0.99685298323150917</c:v>
                </c:pt>
                <c:pt idx="1019">
                  <c:v>0.9978224793101953</c:v>
                </c:pt>
                <c:pt idx="1020">
                  <c:v>0.99814084232419076</c:v>
                </c:pt>
                <c:pt idx="1021">
                  <c:v>0.9982773300402964</c:v>
                </c:pt>
                <c:pt idx="1022">
                  <c:v>0.99750259976602107</c:v>
                </c:pt>
                <c:pt idx="1023">
                  <c:v>0.99729277698340479</c:v>
                </c:pt>
                <c:pt idx="1024">
                  <c:v>0.99586604705576498</c:v>
                </c:pt>
                <c:pt idx="1025">
                  <c:v>0.9971865115472941</c:v>
                </c:pt>
                <c:pt idx="1026">
                  <c:v>0.99850903418692305</c:v>
                </c:pt>
                <c:pt idx="1027">
                  <c:v>0.99827137224316476</c:v>
                </c:pt>
                <c:pt idx="1028">
                  <c:v>0.99792365353784829</c:v>
                </c:pt>
                <c:pt idx="1029">
                  <c:v>0.99622113176480787</c:v>
                </c:pt>
                <c:pt idx="1030">
                  <c:v>0.99619751722344974</c:v>
                </c:pt>
                <c:pt idx="1031">
                  <c:v>0.99686468217860402</c:v>
                </c:pt>
                <c:pt idx="1032">
                  <c:v>0.99729559339659424</c:v>
                </c:pt>
                <c:pt idx="1033">
                  <c:v>0.99766237705273197</c:v>
                </c:pt>
                <c:pt idx="1034">
                  <c:v>0.99626424455132356</c:v>
                </c:pt>
                <c:pt idx="1035">
                  <c:v>0.92822538068859961</c:v>
                </c:pt>
                <c:pt idx="1036">
                  <c:v>0.93372263995602611</c:v>
                </c:pt>
                <c:pt idx="1037">
                  <c:v>0.93478889397698783</c:v>
                </c:pt>
                <c:pt idx="1038">
                  <c:v>0.93784792334479639</c:v>
                </c:pt>
                <c:pt idx="1039">
                  <c:v>0.94441586301085445</c:v>
                </c:pt>
                <c:pt idx="1040">
                  <c:v>0.94546028694194451</c:v>
                </c:pt>
                <c:pt idx="1041">
                  <c:v>0.95122514085940957</c:v>
                </c:pt>
                <c:pt idx="1042">
                  <c:v>0.95710477879781208</c:v>
                </c:pt>
                <c:pt idx="1043">
                  <c:v>0.96234329617053949</c:v>
                </c:pt>
                <c:pt idx="1044">
                  <c:v>0.96850581988184004</c:v>
                </c:pt>
                <c:pt idx="1045">
                  <c:v>0.97490575839543003</c:v>
                </c:pt>
                <c:pt idx="1046">
                  <c:v>0.97588408845995056</c:v>
                </c:pt>
                <c:pt idx="1047">
                  <c:v>0.97628024926139856</c:v>
                </c:pt>
                <c:pt idx="1048">
                  <c:v>0.98035000173031128</c:v>
                </c:pt>
                <c:pt idx="1049">
                  <c:v>0.98281499109493298</c:v>
                </c:pt>
                <c:pt idx="1050">
                  <c:v>0.98718624024285528</c:v>
                </c:pt>
                <c:pt idx="1051">
                  <c:v>0.99366665835044199</c:v>
                </c:pt>
                <c:pt idx="1052">
                  <c:v>0.99150044947853255</c:v>
                </c:pt>
                <c:pt idx="1053">
                  <c:v>0.98991148049456323</c:v>
                </c:pt>
                <c:pt idx="1054">
                  <c:v>0.98769396588148095</c:v>
                </c:pt>
                <c:pt idx="1055">
                  <c:v>0.98392098191543043</c:v>
                </c:pt>
                <c:pt idx="1056">
                  <c:v>0.98227205563393372</c:v>
                </c:pt>
                <c:pt idx="1057">
                  <c:v>0.98124433121859789</c:v>
                </c:pt>
                <c:pt idx="1058">
                  <c:v>0.97922851858796955</c:v>
                </c:pt>
                <c:pt idx="1059">
                  <c:v>0.97906735820099133</c:v>
                </c:pt>
                <c:pt idx="1060">
                  <c:v>0.97889372347694381</c:v>
                </c:pt>
                <c:pt idx="1061">
                  <c:v>0.97936764768609108</c:v>
                </c:pt>
                <c:pt idx="1062">
                  <c:v>0.97865560447820665</c:v>
                </c:pt>
                <c:pt idx="1063">
                  <c:v>0.97650327833626149</c:v>
                </c:pt>
                <c:pt idx="1064">
                  <c:v>0.97449551366503273</c:v>
                </c:pt>
                <c:pt idx="1065">
                  <c:v>0.97031651014726972</c:v>
                </c:pt>
                <c:pt idx="1066">
                  <c:v>0.9682599547221804</c:v>
                </c:pt>
                <c:pt idx="1067">
                  <c:v>0.96767637706621301</c:v>
                </c:pt>
                <c:pt idx="1068">
                  <c:v>0.96786047413748011</c:v>
                </c:pt>
                <c:pt idx="1069">
                  <c:v>0.96406797386988541</c:v>
                </c:pt>
                <c:pt idx="1070">
                  <c:v>0.96092363613244047</c:v>
                </c:pt>
                <c:pt idx="1071">
                  <c:v>0.95651466217483239</c:v>
                </c:pt>
                <c:pt idx="1072">
                  <c:v>0.95016824259124977</c:v>
                </c:pt>
                <c:pt idx="1073">
                  <c:v>0.94688849793690566</c:v>
                </c:pt>
                <c:pt idx="1074">
                  <c:v>0.94355573735001619</c:v>
                </c:pt>
                <c:pt idx="1075">
                  <c:v>0.93782076148182247</c:v>
                </c:pt>
                <c:pt idx="1076">
                  <c:v>0.92824439399268133</c:v>
                </c:pt>
                <c:pt idx="1077">
                  <c:v>0.91784612864985016</c:v>
                </c:pt>
                <c:pt idx="1078">
                  <c:v>0.91275358114073391</c:v>
                </c:pt>
                <c:pt idx="1079">
                  <c:v>0.90690965602216733</c:v>
                </c:pt>
                <c:pt idx="1080">
                  <c:v>0.90083555926477077</c:v>
                </c:pt>
                <c:pt idx="1081">
                  <c:v>0.89684397260152715</c:v>
                </c:pt>
                <c:pt idx="1082">
                  <c:v>0.89476709607895377</c:v>
                </c:pt>
                <c:pt idx="1083">
                  <c:v>0.89315539160968038</c:v>
                </c:pt>
                <c:pt idx="1084">
                  <c:v>0.89194749350328484</c:v>
                </c:pt>
                <c:pt idx="1085">
                  <c:v>0.89049996740576454</c:v>
                </c:pt>
                <c:pt idx="1086">
                  <c:v>0.89036838326958012</c:v>
                </c:pt>
                <c:pt idx="1087">
                  <c:v>0.88992976948229896</c:v>
                </c:pt>
                <c:pt idx="1088">
                  <c:v>0.89098485695959373</c:v>
                </c:pt>
                <c:pt idx="1089">
                  <c:v>0.89363937576807717</c:v>
                </c:pt>
                <c:pt idx="1090">
                  <c:v>0.89610929450783106</c:v>
                </c:pt>
                <c:pt idx="1091">
                  <c:v>0.89722443988214573</c:v>
                </c:pt>
                <c:pt idx="1092">
                  <c:v>0.89809774407650078</c:v>
                </c:pt>
                <c:pt idx="1093">
                  <c:v>0.90102428391269263</c:v>
                </c:pt>
                <c:pt idx="1094">
                  <c:v>0.90291907535384874</c:v>
                </c:pt>
                <c:pt idx="1095">
                  <c:v>0.90702081846137506</c:v>
                </c:pt>
                <c:pt idx="1096">
                  <c:v>0.90964042924596256</c:v>
                </c:pt>
                <c:pt idx="1097">
                  <c:v>0.91000892518697429</c:v>
                </c:pt>
                <c:pt idx="1098">
                  <c:v>0.90787671894352839</c:v>
                </c:pt>
                <c:pt idx="1099">
                  <c:v>0.9111195435841265</c:v>
                </c:pt>
                <c:pt idx="1100">
                  <c:v>0.91118714644308374</c:v>
                </c:pt>
                <c:pt idx="1101">
                  <c:v>0.91247109776580593</c:v>
                </c:pt>
                <c:pt idx="1102">
                  <c:v>0.91479826582570867</c:v>
                </c:pt>
                <c:pt idx="1103">
                  <c:v>0.91628009635017005</c:v>
                </c:pt>
                <c:pt idx="1104">
                  <c:v>0.91493276734717532</c:v>
                </c:pt>
                <c:pt idx="1105">
                  <c:v>0.91462121071891622</c:v>
                </c:pt>
                <c:pt idx="1106">
                  <c:v>0.9157857504440462</c:v>
                </c:pt>
                <c:pt idx="1107">
                  <c:v>0.9152588103023539</c:v>
                </c:pt>
                <c:pt idx="1108">
                  <c:v>0.91499594382846272</c:v>
                </c:pt>
                <c:pt idx="1109">
                  <c:v>0.91524965574853667</c:v>
                </c:pt>
                <c:pt idx="1110">
                  <c:v>0.91426368012258663</c:v>
                </c:pt>
                <c:pt idx="1111">
                  <c:v>0.91158431323945666</c:v>
                </c:pt>
                <c:pt idx="1112">
                  <c:v>0.90870103118503798</c:v>
                </c:pt>
                <c:pt idx="1113">
                  <c:v>0.90358011461903787</c:v>
                </c:pt>
                <c:pt idx="1114">
                  <c:v>0.89896300031145604</c:v>
                </c:pt>
                <c:pt idx="1115">
                  <c:v>0.89401400827813104</c:v>
                </c:pt>
                <c:pt idx="1116">
                  <c:v>0.8888935947095935</c:v>
                </c:pt>
                <c:pt idx="1117">
                  <c:v>0.88369692672574418</c:v>
                </c:pt>
                <c:pt idx="1118">
                  <c:v>0.87563327380526035</c:v>
                </c:pt>
                <c:pt idx="1119">
                  <c:v>0.87200766809571595</c:v>
                </c:pt>
                <c:pt idx="1120">
                  <c:v>0.8672496138991479</c:v>
                </c:pt>
                <c:pt idx="1121">
                  <c:v>0.86480293364216043</c:v>
                </c:pt>
                <c:pt idx="1122">
                  <c:v>0.86096395640903278</c:v>
                </c:pt>
                <c:pt idx="1123">
                  <c:v>0.85934983755193961</c:v>
                </c:pt>
                <c:pt idx="1124">
                  <c:v>0.8596621989761386</c:v>
                </c:pt>
                <c:pt idx="1125">
                  <c:v>0.85738170908075406</c:v>
                </c:pt>
                <c:pt idx="1126">
                  <c:v>0.85431925933020048</c:v>
                </c:pt>
                <c:pt idx="1127">
                  <c:v>0.84896887532181775</c:v>
                </c:pt>
                <c:pt idx="1128">
                  <c:v>0.84333721513241711</c:v>
                </c:pt>
                <c:pt idx="1129">
                  <c:v>0.83860984378106007</c:v>
                </c:pt>
                <c:pt idx="1130">
                  <c:v>0.83278241697926292</c:v>
                </c:pt>
                <c:pt idx="1131">
                  <c:v>0.82809236803962172</c:v>
                </c:pt>
                <c:pt idx="1132">
                  <c:v>0.8195413105779964</c:v>
                </c:pt>
                <c:pt idx="1133">
                  <c:v>0.81182422290916023</c:v>
                </c:pt>
                <c:pt idx="1134">
                  <c:v>0.80665994796189466</c:v>
                </c:pt>
                <c:pt idx="1135">
                  <c:v>0.80472763291003757</c:v>
                </c:pt>
                <c:pt idx="1136">
                  <c:v>0.80225469618550871</c:v>
                </c:pt>
                <c:pt idx="1137">
                  <c:v>0.80111580933096505</c:v>
                </c:pt>
                <c:pt idx="1138">
                  <c:v>0.79975228380967867</c:v>
                </c:pt>
                <c:pt idx="1139">
                  <c:v>0.79623904773325205</c:v>
                </c:pt>
                <c:pt idx="1140">
                  <c:v>0.79319158730708039</c:v>
                </c:pt>
                <c:pt idx="1141">
                  <c:v>0.79038777885173328</c:v>
                </c:pt>
                <c:pt idx="1142">
                  <c:v>0.78803696991109418</c:v>
                </c:pt>
                <c:pt idx="1143">
                  <c:v>0.78824299767172545</c:v>
                </c:pt>
                <c:pt idx="1144">
                  <c:v>0.78823907429151807</c:v>
                </c:pt>
                <c:pt idx="1145">
                  <c:v>0.78665563827963603</c:v>
                </c:pt>
                <c:pt idx="1146">
                  <c:v>0.78597669230478273</c:v>
                </c:pt>
                <c:pt idx="1147">
                  <c:v>0.78490188732695887</c:v>
                </c:pt>
                <c:pt idx="1148">
                  <c:v>0.78118966545437574</c:v>
                </c:pt>
                <c:pt idx="1149">
                  <c:v>0.78119550022494055</c:v>
                </c:pt>
                <c:pt idx="1150">
                  <c:v>0.77946870993625217</c:v>
                </c:pt>
                <c:pt idx="1151">
                  <c:v>0.77901128404387421</c:v>
                </c:pt>
                <c:pt idx="1152">
                  <c:v>0.77718540325507768</c:v>
                </c:pt>
                <c:pt idx="1153">
                  <c:v>0.77282119607163013</c:v>
                </c:pt>
                <c:pt idx="1154">
                  <c:v>0.76955241676196795</c:v>
                </c:pt>
                <c:pt idx="1155">
                  <c:v>0.76492272751782431</c:v>
                </c:pt>
                <c:pt idx="1156">
                  <c:v>0.76059966552680747</c:v>
                </c:pt>
                <c:pt idx="1157">
                  <c:v>0.75875768881921146</c:v>
                </c:pt>
                <c:pt idx="1158">
                  <c:v>0.75615206136408086</c:v>
                </c:pt>
                <c:pt idx="1159">
                  <c:v>0.75302542913731518</c:v>
                </c:pt>
                <c:pt idx="1160">
                  <c:v>0.74727455854930702</c:v>
                </c:pt>
                <c:pt idx="1161">
                  <c:v>0.74568488536889033</c:v>
                </c:pt>
                <c:pt idx="1162">
                  <c:v>0.74041890433471147</c:v>
                </c:pt>
                <c:pt idx="1163">
                  <c:v>0.74028862799192952</c:v>
                </c:pt>
                <c:pt idx="1164">
                  <c:v>0.73530432553673863</c:v>
                </c:pt>
                <c:pt idx="1165">
                  <c:v>0.73175296225265607</c:v>
                </c:pt>
                <c:pt idx="1166">
                  <c:v>0.72972527888191308</c:v>
                </c:pt>
                <c:pt idx="1167">
                  <c:v>0.72995404212784831</c:v>
                </c:pt>
                <c:pt idx="1168">
                  <c:v>0.72735294164988007</c:v>
                </c:pt>
                <c:pt idx="1169">
                  <c:v>0.72661423957648419</c:v>
                </c:pt>
                <c:pt idx="1170">
                  <c:v>0.72406323764577885</c:v>
                </c:pt>
                <c:pt idx="1171">
                  <c:v>0.72296318219533851</c:v>
                </c:pt>
                <c:pt idx="1172">
                  <c:v>0.72372311076165086</c:v>
                </c:pt>
                <c:pt idx="1173">
                  <c:v>0.72345199512937508</c:v>
                </c:pt>
                <c:pt idx="1174">
                  <c:v>0.72227880384789045</c:v>
                </c:pt>
                <c:pt idx="1175">
                  <c:v>0.72208253423803137</c:v>
                </c:pt>
                <c:pt idx="1176">
                  <c:v>0.72130308937017473</c:v>
                </c:pt>
                <c:pt idx="1177">
                  <c:v>0.72228815960069248</c:v>
                </c:pt>
                <c:pt idx="1178">
                  <c:v>0.72220939019806829</c:v>
                </c:pt>
                <c:pt idx="1179">
                  <c:v>0.72318248908897909</c:v>
                </c:pt>
                <c:pt idx="1180">
                  <c:v>0.723778541082016</c:v>
                </c:pt>
                <c:pt idx="1181">
                  <c:v>0.71981763726398351</c:v>
                </c:pt>
                <c:pt idx="1182">
                  <c:v>0.71766963690021579</c:v>
                </c:pt>
                <c:pt idx="1183">
                  <c:v>0.71516320054468596</c:v>
                </c:pt>
                <c:pt idx="1184">
                  <c:v>0.71272818982882802</c:v>
                </c:pt>
                <c:pt idx="1185">
                  <c:v>0.71456161557956177</c:v>
                </c:pt>
                <c:pt idx="1186">
                  <c:v>0.80565144414168932</c:v>
                </c:pt>
                <c:pt idx="1187">
                  <c:v>0.80249362397820168</c:v>
                </c:pt>
                <c:pt idx="1188">
                  <c:v>0.79856054495912798</c:v>
                </c:pt>
                <c:pt idx="1189">
                  <c:v>0.79140719346049049</c:v>
                </c:pt>
                <c:pt idx="1190">
                  <c:v>0.78292130790190739</c:v>
                </c:pt>
                <c:pt idx="1191">
                  <c:v>0.77532904632152588</c:v>
                </c:pt>
                <c:pt idx="1192">
                  <c:v>0.7750344414168937</c:v>
                </c:pt>
                <c:pt idx="1193">
                  <c:v>0.77493046321525882</c:v>
                </c:pt>
                <c:pt idx="1194">
                  <c:v>0.77443869209809268</c:v>
                </c:pt>
                <c:pt idx="1195">
                  <c:v>0.77493209809264307</c:v>
                </c:pt>
                <c:pt idx="1196">
                  <c:v>0.77360010899182563</c:v>
                </c:pt>
                <c:pt idx="1197">
                  <c:v>0.77692392370572205</c:v>
                </c:pt>
                <c:pt idx="1198">
                  <c:v>0.77701983651226159</c:v>
                </c:pt>
                <c:pt idx="1199">
                  <c:v>0.77559782016348766</c:v>
                </c:pt>
                <c:pt idx="1200">
                  <c:v>0.77682005449591274</c:v>
                </c:pt>
                <c:pt idx="1201">
                  <c:v>0.77838953678474121</c:v>
                </c:pt>
                <c:pt idx="1202">
                  <c:v>0.77838681198910076</c:v>
                </c:pt>
                <c:pt idx="1203">
                  <c:v>0.78003433242506803</c:v>
                </c:pt>
                <c:pt idx="1204">
                  <c:v>0.78003356948228886</c:v>
                </c:pt>
                <c:pt idx="1205">
                  <c:v>0.78213743869209806</c:v>
                </c:pt>
                <c:pt idx="1206">
                  <c:v>0.78348752043596726</c:v>
                </c:pt>
                <c:pt idx="1207">
                  <c:v>0.7866396730245232</c:v>
                </c:pt>
                <c:pt idx="1208">
                  <c:v>0.78866648501362402</c:v>
                </c:pt>
                <c:pt idx="1209">
                  <c:v>0.78825264305177112</c:v>
                </c:pt>
                <c:pt idx="1210">
                  <c:v>0.79388501362397823</c:v>
                </c:pt>
                <c:pt idx="1211">
                  <c:v>0.79546321525885555</c:v>
                </c:pt>
                <c:pt idx="1212">
                  <c:v>0.79280653950953683</c:v>
                </c:pt>
                <c:pt idx="1213">
                  <c:v>0.79309133514986374</c:v>
                </c:pt>
                <c:pt idx="1214">
                  <c:v>0.79454855585831063</c:v>
                </c:pt>
                <c:pt idx="1215">
                  <c:v>0.79400054495912809</c:v>
                </c:pt>
                <c:pt idx="1216">
                  <c:v>0.79537002724795647</c:v>
                </c:pt>
                <c:pt idx="1217">
                  <c:v>0.7948750953678474</c:v>
                </c:pt>
                <c:pt idx="1218">
                  <c:v>0.79692959128065388</c:v>
                </c:pt>
                <c:pt idx="1219">
                  <c:v>0.79783978201634875</c:v>
                </c:pt>
                <c:pt idx="1220">
                  <c:v>0.80186822888283371</c:v>
                </c:pt>
                <c:pt idx="1221">
                  <c:v>0.80029449591280655</c:v>
                </c:pt>
                <c:pt idx="1222">
                  <c:v>0.79944501362397824</c:v>
                </c:pt>
                <c:pt idx="1223">
                  <c:v>0.79517591280653943</c:v>
                </c:pt>
                <c:pt idx="1224">
                  <c:v>0.790539727520436</c:v>
                </c:pt>
                <c:pt idx="1225">
                  <c:v>0.78154201634877385</c:v>
                </c:pt>
                <c:pt idx="1226">
                  <c:v>0.7691860490463216</c:v>
                </c:pt>
                <c:pt idx="1227">
                  <c:v>0.76659782016348776</c:v>
                </c:pt>
                <c:pt idx="1228">
                  <c:v>0.77368359673024523</c:v>
                </c:pt>
                <c:pt idx="1229">
                  <c:v>0.78047880108991829</c:v>
                </c:pt>
                <c:pt idx="1230">
                  <c:v>0.78406692098092645</c:v>
                </c:pt>
                <c:pt idx="1231">
                  <c:v>0.78666855585831064</c:v>
                </c:pt>
                <c:pt idx="1232">
                  <c:v>0.78707694822888274</c:v>
                </c:pt>
                <c:pt idx="1233">
                  <c:v>0.79011596730245237</c:v>
                </c:pt>
                <c:pt idx="1234">
                  <c:v>0.79330343324250685</c:v>
                </c:pt>
                <c:pt idx="1235">
                  <c:v>0.79788501362397823</c:v>
                </c:pt>
                <c:pt idx="1236">
                  <c:v>0.80146964577656676</c:v>
                </c:pt>
                <c:pt idx="1237">
                  <c:v>0.80604217983651227</c:v>
                </c:pt>
                <c:pt idx="1238">
                  <c:v>0.80747651226158035</c:v>
                </c:pt>
                <c:pt idx="1239">
                  <c:v>0.80994376021798364</c:v>
                </c:pt>
                <c:pt idx="1240">
                  <c:v>0.81035171662125338</c:v>
                </c:pt>
                <c:pt idx="1241">
                  <c:v>0.81354637602179836</c:v>
                </c:pt>
                <c:pt idx="1242">
                  <c:v>0.81754321525885554</c:v>
                </c:pt>
                <c:pt idx="1243">
                  <c:v>0.82141220708446872</c:v>
                </c:pt>
                <c:pt idx="1244">
                  <c:v>0.82540937329700281</c:v>
                </c:pt>
                <c:pt idx="1245">
                  <c:v>0.8292804359673025</c:v>
                </c:pt>
                <c:pt idx="1246">
                  <c:v>0.83240893732970023</c:v>
                </c:pt>
                <c:pt idx="1247">
                  <c:v>0.83818016348773838</c:v>
                </c:pt>
                <c:pt idx="1248">
                  <c:v>0.83602223433242506</c:v>
                </c:pt>
                <c:pt idx="1249">
                  <c:v>0.83835204359673021</c:v>
                </c:pt>
                <c:pt idx="1250">
                  <c:v>0.83835683923705717</c:v>
                </c:pt>
                <c:pt idx="1251">
                  <c:v>0.838316294277929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899-43FB-9B00-42D97902B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2221888"/>
        <c:axId val="592227792"/>
        <c:extLst>
          <c:ext xmlns:c15="http://schemas.microsoft.com/office/drawing/2012/chart" uri="{02D57815-91ED-43cb-92C2-25804820EDAC}">
            <c15:filteredLineSeries>
              <c15:ser>
                <c:idx val="6"/>
                <c:order val="7"/>
                <c:tx>
                  <c:v>Lagerfyldningsgrad, Tyskland</c:v>
                </c:tx>
                <c:spPr>
                  <a:ln>
                    <a:solidFill>
                      <a:srgbClr val="DB8381"/>
                    </a:solidFill>
                  </a:ln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DK udtræk og injicering'!$D$4641:$D$5892</c15:sqref>
                        </c15:formulaRef>
                      </c:ext>
                    </c:extLst>
                    <c:numCache>
                      <c:formatCode>m/d/yyyy</c:formatCode>
                      <c:ptCount val="1252"/>
                      <c:pt idx="0">
                        <c:v>43831</c:v>
                      </c:pt>
                      <c:pt idx="1">
                        <c:v>43832</c:v>
                      </c:pt>
                      <c:pt idx="2">
                        <c:v>43833</c:v>
                      </c:pt>
                      <c:pt idx="3">
                        <c:v>43834</c:v>
                      </c:pt>
                      <c:pt idx="4">
                        <c:v>43835</c:v>
                      </c:pt>
                      <c:pt idx="5">
                        <c:v>43836</c:v>
                      </c:pt>
                      <c:pt idx="6">
                        <c:v>43837</c:v>
                      </c:pt>
                      <c:pt idx="7">
                        <c:v>43838</c:v>
                      </c:pt>
                      <c:pt idx="8">
                        <c:v>43839</c:v>
                      </c:pt>
                      <c:pt idx="9">
                        <c:v>43840</c:v>
                      </c:pt>
                      <c:pt idx="10">
                        <c:v>43841</c:v>
                      </c:pt>
                      <c:pt idx="11">
                        <c:v>43842</c:v>
                      </c:pt>
                      <c:pt idx="12">
                        <c:v>43843</c:v>
                      </c:pt>
                      <c:pt idx="13">
                        <c:v>43844</c:v>
                      </c:pt>
                      <c:pt idx="14">
                        <c:v>43845</c:v>
                      </c:pt>
                      <c:pt idx="15">
                        <c:v>43846</c:v>
                      </c:pt>
                      <c:pt idx="16">
                        <c:v>43847</c:v>
                      </c:pt>
                      <c:pt idx="17">
                        <c:v>43848</c:v>
                      </c:pt>
                      <c:pt idx="18">
                        <c:v>43849</c:v>
                      </c:pt>
                      <c:pt idx="19">
                        <c:v>43850</c:v>
                      </c:pt>
                      <c:pt idx="20">
                        <c:v>43851</c:v>
                      </c:pt>
                      <c:pt idx="21">
                        <c:v>43852</c:v>
                      </c:pt>
                      <c:pt idx="22">
                        <c:v>43853</c:v>
                      </c:pt>
                      <c:pt idx="23">
                        <c:v>43854</c:v>
                      </c:pt>
                      <c:pt idx="24">
                        <c:v>43855</c:v>
                      </c:pt>
                      <c:pt idx="25">
                        <c:v>43856</c:v>
                      </c:pt>
                      <c:pt idx="26">
                        <c:v>43857</c:v>
                      </c:pt>
                      <c:pt idx="27">
                        <c:v>43858</c:v>
                      </c:pt>
                      <c:pt idx="28">
                        <c:v>43859</c:v>
                      </c:pt>
                      <c:pt idx="29">
                        <c:v>43860</c:v>
                      </c:pt>
                      <c:pt idx="30">
                        <c:v>43861</c:v>
                      </c:pt>
                      <c:pt idx="31">
                        <c:v>43862</c:v>
                      </c:pt>
                      <c:pt idx="32">
                        <c:v>43863</c:v>
                      </c:pt>
                      <c:pt idx="33">
                        <c:v>43864</c:v>
                      </c:pt>
                      <c:pt idx="34">
                        <c:v>43865</c:v>
                      </c:pt>
                      <c:pt idx="35">
                        <c:v>43866</c:v>
                      </c:pt>
                      <c:pt idx="36">
                        <c:v>43867</c:v>
                      </c:pt>
                      <c:pt idx="37">
                        <c:v>43868</c:v>
                      </c:pt>
                      <c:pt idx="38">
                        <c:v>43869</c:v>
                      </c:pt>
                      <c:pt idx="39">
                        <c:v>43870</c:v>
                      </c:pt>
                      <c:pt idx="40">
                        <c:v>43871</c:v>
                      </c:pt>
                      <c:pt idx="41">
                        <c:v>43872</c:v>
                      </c:pt>
                      <c:pt idx="42">
                        <c:v>43873</c:v>
                      </c:pt>
                      <c:pt idx="43">
                        <c:v>43874</c:v>
                      </c:pt>
                      <c:pt idx="44">
                        <c:v>43875</c:v>
                      </c:pt>
                      <c:pt idx="45">
                        <c:v>43876</c:v>
                      </c:pt>
                      <c:pt idx="46">
                        <c:v>43877</c:v>
                      </c:pt>
                      <c:pt idx="47">
                        <c:v>43878</c:v>
                      </c:pt>
                      <c:pt idx="48">
                        <c:v>43879</c:v>
                      </c:pt>
                      <c:pt idx="49">
                        <c:v>43880</c:v>
                      </c:pt>
                      <c:pt idx="50">
                        <c:v>43881</c:v>
                      </c:pt>
                      <c:pt idx="51">
                        <c:v>43882</c:v>
                      </c:pt>
                      <c:pt idx="52">
                        <c:v>43883</c:v>
                      </c:pt>
                      <c:pt idx="53">
                        <c:v>43884</c:v>
                      </c:pt>
                      <c:pt idx="54">
                        <c:v>43885</c:v>
                      </c:pt>
                      <c:pt idx="55">
                        <c:v>43886</c:v>
                      </c:pt>
                      <c:pt idx="56">
                        <c:v>43887</c:v>
                      </c:pt>
                      <c:pt idx="57">
                        <c:v>43888</c:v>
                      </c:pt>
                      <c:pt idx="58">
                        <c:v>43889</c:v>
                      </c:pt>
                      <c:pt idx="59">
                        <c:v>43890</c:v>
                      </c:pt>
                      <c:pt idx="60">
                        <c:v>43891</c:v>
                      </c:pt>
                      <c:pt idx="61">
                        <c:v>43892</c:v>
                      </c:pt>
                      <c:pt idx="62">
                        <c:v>43893</c:v>
                      </c:pt>
                      <c:pt idx="63">
                        <c:v>43894</c:v>
                      </c:pt>
                      <c:pt idx="64">
                        <c:v>43895</c:v>
                      </c:pt>
                      <c:pt idx="65">
                        <c:v>43896</c:v>
                      </c:pt>
                      <c:pt idx="66">
                        <c:v>43897</c:v>
                      </c:pt>
                      <c:pt idx="67">
                        <c:v>43898</c:v>
                      </c:pt>
                      <c:pt idx="68">
                        <c:v>43899</c:v>
                      </c:pt>
                      <c:pt idx="69">
                        <c:v>43900</c:v>
                      </c:pt>
                      <c:pt idx="70">
                        <c:v>43901</c:v>
                      </c:pt>
                      <c:pt idx="71">
                        <c:v>43902</c:v>
                      </c:pt>
                      <c:pt idx="72">
                        <c:v>43903</c:v>
                      </c:pt>
                      <c:pt idx="73">
                        <c:v>43904</c:v>
                      </c:pt>
                      <c:pt idx="74">
                        <c:v>43905</c:v>
                      </c:pt>
                      <c:pt idx="75">
                        <c:v>43906</c:v>
                      </c:pt>
                      <c:pt idx="76">
                        <c:v>43907</c:v>
                      </c:pt>
                      <c:pt idx="77">
                        <c:v>43908</c:v>
                      </c:pt>
                      <c:pt idx="78">
                        <c:v>43909</c:v>
                      </c:pt>
                      <c:pt idx="79">
                        <c:v>43910</c:v>
                      </c:pt>
                      <c:pt idx="80">
                        <c:v>43911</c:v>
                      </c:pt>
                      <c:pt idx="81">
                        <c:v>43912</c:v>
                      </c:pt>
                      <c:pt idx="82">
                        <c:v>43913</c:v>
                      </c:pt>
                      <c:pt idx="83">
                        <c:v>43914</c:v>
                      </c:pt>
                      <c:pt idx="84">
                        <c:v>43915</c:v>
                      </c:pt>
                      <c:pt idx="85">
                        <c:v>43916</c:v>
                      </c:pt>
                      <c:pt idx="86">
                        <c:v>43917</c:v>
                      </c:pt>
                      <c:pt idx="87">
                        <c:v>43918</c:v>
                      </c:pt>
                      <c:pt idx="88">
                        <c:v>43919</c:v>
                      </c:pt>
                      <c:pt idx="89">
                        <c:v>43920</c:v>
                      </c:pt>
                      <c:pt idx="90">
                        <c:v>43921</c:v>
                      </c:pt>
                      <c:pt idx="91">
                        <c:v>43922</c:v>
                      </c:pt>
                      <c:pt idx="92">
                        <c:v>43923</c:v>
                      </c:pt>
                      <c:pt idx="93">
                        <c:v>43924</c:v>
                      </c:pt>
                      <c:pt idx="94">
                        <c:v>43925</c:v>
                      </c:pt>
                      <c:pt idx="95">
                        <c:v>43926</c:v>
                      </c:pt>
                      <c:pt idx="96">
                        <c:v>43927</c:v>
                      </c:pt>
                      <c:pt idx="97">
                        <c:v>43928</c:v>
                      </c:pt>
                      <c:pt idx="98">
                        <c:v>43929</c:v>
                      </c:pt>
                      <c:pt idx="99">
                        <c:v>43930</c:v>
                      </c:pt>
                      <c:pt idx="100">
                        <c:v>43931</c:v>
                      </c:pt>
                      <c:pt idx="101">
                        <c:v>43932</c:v>
                      </c:pt>
                      <c:pt idx="102">
                        <c:v>43933</c:v>
                      </c:pt>
                      <c:pt idx="103">
                        <c:v>43934</c:v>
                      </c:pt>
                      <c:pt idx="104">
                        <c:v>43935</c:v>
                      </c:pt>
                      <c:pt idx="105">
                        <c:v>43936</c:v>
                      </c:pt>
                      <c:pt idx="106">
                        <c:v>43937</c:v>
                      </c:pt>
                      <c:pt idx="107">
                        <c:v>43938</c:v>
                      </c:pt>
                      <c:pt idx="108">
                        <c:v>43939</c:v>
                      </c:pt>
                      <c:pt idx="109">
                        <c:v>43940</c:v>
                      </c:pt>
                      <c:pt idx="110">
                        <c:v>43941</c:v>
                      </c:pt>
                      <c:pt idx="111">
                        <c:v>43942</c:v>
                      </c:pt>
                      <c:pt idx="112">
                        <c:v>43943</c:v>
                      </c:pt>
                      <c:pt idx="113">
                        <c:v>43944</c:v>
                      </c:pt>
                      <c:pt idx="114">
                        <c:v>43945</c:v>
                      </c:pt>
                      <c:pt idx="115">
                        <c:v>43946</c:v>
                      </c:pt>
                      <c:pt idx="116">
                        <c:v>43947</c:v>
                      </c:pt>
                      <c:pt idx="117">
                        <c:v>43948</c:v>
                      </c:pt>
                      <c:pt idx="118">
                        <c:v>43949</c:v>
                      </c:pt>
                      <c:pt idx="119">
                        <c:v>43950</c:v>
                      </c:pt>
                      <c:pt idx="120">
                        <c:v>43951</c:v>
                      </c:pt>
                      <c:pt idx="121">
                        <c:v>43952</c:v>
                      </c:pt>
                      <c:pt idx="122">
                        <c:v>43953</c:v>
                      </c:pt>
                      <c:pt idx="123">
                        <c:v>43954</c:v>
                      </c:pt>
                      <c:pt idx="124">
                        <c:v>43955</c:v>
                      </c:pt>
                      <c:pt idx="125">
                        <c:v>43956</c:v>
                      </c:pt>
                      <c:pt idx="126">
                        <c:v>43957</c:v>
                      </c:pt>
                      <c:pt idx="127">
                        <c:v>43958</c:v>
                      </c:pt>
                      <c:pt idx="128">
                        <c:v>43959</c:v>
                      </c:pt>
                      <c:pt idx="129">
                        <c:v>43960</c:v>
                      </c:pt>
                      <c:pt idx="130">
                        <c:v>43961</c:v>
                      </c:pt>
                      <c:pt idx="131">
                        <c:v>43962</c:v>
                      </c:pt>
                      <c:pt idx="132">
                        <c:v>43963</c:v>
                      </c:pt>
                      <c:pt idx="133">
                        <c:v>43964</c:v>
                      </c:pt>
                      <c:pt idx="134">
                        <c:v>43965</c:v>
                      </c:pt>
                      <c:pt idx="135">
                        <c:v>43966</c:v>
                      </c:pt>
                      <c:pt idx="136">
                        <c:v>43967</c:v>
                      </c:pt>
                      <c:pt idx="137">
                        <c:v>43968</c:v>
                      </c:pt>
                      <c:pt idx="138">
                        <c:v>43969</c:v>
                      </c:pt>
                      <c:pt idx="139">
                        <c:v>43970</c:v>
                      </c:pt>
                      <c:pt idx="140">
                        <c:v>43971</c:v>
                      </c:pt>
                      <c:pt idx="141">
                        <c:v>43972</c:v>
                      </c:pt>
                      <c:pt idx="142">
                        <c:v>43973</c:v>
                      </c:pt>
                      <c:pt idx="143">
                        <c:v>43974</c:v>
                      </c:pt>
                      <c:pt idx="144">
                        <c:v>43975</c:v>
                      </c:pt>
                      <c:pt idx="145">
                        <c:v>43976</c:v>
                      </c:pt>
                      <c:pt idx="146">
                        <c:v>43977</c:v>
                      </c:pt>
                      <c:pt idx="147">
                        <c:v>43978</c:v>
                      </c:pt>
                      <c:pt idx="148">
                        <c:v>43979</c:v>
                      </c:pt>
                      <c:pt idx="149">
                        <c:v>43980</c:v>
                      </c:pt>
                      <c:pt idx="150">
                        <c:v>43981</c:v>
                      </c:pt>
                      <c:pt idx="151">
                        <c:v>43982</c:v>
                      </c:pt>
                      <c:pt idx="152">
                        <c:v>43983</c:v>
                      </c:pt>
                      <c:pt idx="153">
                        <c:v>43984</c:v>
                      </c:pt>
                      <c:pt idx="154">
                        <c:v>43985</c:v>
                      </c:pt>
                      <c:pt idx="155">
                        <c:v>43986</c:v>
                      </c:pt>
                      <c:pt idx="156">
                        <c:v>43987</c:v>
                      </c:pt>
                      <c:pt idx="157">
                        <c:v>43988</c:v>
                      </c:pt>
                      <c:pt idx="158">
                        <c:v>43989</c:v>
                      </c:pt>
                      <c:pt idx="159">
                        <c:v>43990</c:v>
                      </c:pt>
                      <c:pt idx="160">
                        <c:v>43991</c:v>
                      </c:pt>
                      <c:pt idx="161">
                        <c:v>43992</c:v>
                      </c:pt>
                      <c:pt idx="162">
                        <c:v>43993</c:v>
                      </c:pt>
                      <c:pt idx="163">
                        <c:v>43994</c:v>
                      </c:pt>
                      <c:pt idx="164">
                        <c:v>43995</c:v>
                      </c:pt>
                      <c:pt idx="165">
                        <c:v>43996</c:v>
                      </c:pt>
                      <c:pt idx="166">
                        <c:v>43997</c:v>
                      </c:pt>
                      <c:pt idx="167">
                        <c:v>43998</c:v>
                      </c:pt>
                      <c:pt idx="168">
                        <c:v>43999</c:v>
                      </c:pt>
                      <c:pt idx="169">
                        <c:v>44000</c:v>
                      </c:pt>
                      <c:pt idx="170">
                        <c:v>44001</c:v>
                      </c:pt>
                      <c:pt idx="171">
                        <c:v>44002</c:v>
                      </c:pt>
                      <c:pt idx="172">
                        <c:v>44003</c:v>
                      </c:pt>
                      <c:pt idx="173">
                        <c:v>44004</c:v>
                      </c:pt>
                      <c:pt idx="174">
                        <c:v>44005</c:v>
                      </c:pt>
                      <c:pt idx="175">
                        <c:v>44006</c:v>
                      </c:pt>
                      <c:pt idx="176">
                        <c:v>44007</c:v>
                      </c:pt>
                      <c:pt idx="177">
                        <c:v>44008</c:v>
                      </c:pt>
                      <c:pt idx="178">
                        <c:v>44009</c:v>
                      </c:pt>
                      <c:pt idx="179">
                        <c:v>44010</c:v>
                      </c:pt>
                      <c:pt idx="180">
                        <c:v>44011</c:v>
                      </c:pt>
                      <c:pt idx="181">
                        <c:v>44012</c:v>
                      </c:pt>
                      <c:pt idx="182">
                        <c:v>44013</c:v>
                      </c:pt>
                      <c:pt idx="183">
                        <c:v>44014</c:v>
                      </c:pt>
                      <c:pt idx="184">
                        <c:v>44015</c:v>
                      </c:pt>
                      <c:pt idx="185">
                        <c:v>44016</c:v>
                      </c:pt>
                      <c:pt idx="186">
                        <c:v>44017</c:v>
                      </c:pt>
                      <c:pt idx="187">
                        <c:v>44018</c:v>
                      </c:pt>
                      <c:pt idx="188">
                        <c:v>44019</c:v>
                      </c:pt>
                      <c:pt idx="189">
                        <c:v>44020</c:v>
                      </c:pt>
                      <c:pt idx="190">
                        <c:v>44021</c:v>
                      </c:pt>
                      <c:pt idx="191">
                        <c:v>44022</c:v>
                      </c:pt>
                      <c:pt idx="192">
                        <c:v>44023</c:v>
                      </c:pt>
                      <c:pt idx="193">
                        <c:v>44024</c:v>
                      </c:pt>
                      <c:pt idx="194">
                        <c:v>44025</c:v>
                      </c:pt>
                      <c:pt idx="195">
                        <c:v>44026</c:v>
                      </c:pt>
                      <c:pt idx="196">
                        <c:v>44027</c:v>
                      </c:pt>
                      <c:pt idx="197">
                        <c:v>44028</c:v>
                      </c:pt>
                      <c:pt idx="198">
                        <c:v>44029</c:v>
                      </c:pt>
                      <c:pt idx="199">
                        <c:v>44030</c:v>
                      </c:pt>
                      <c:pt idx="200">
                        <c:v>44031</c:v>
                      </c:pt>
                      <c:pt idx="201">
                        <c:v>44032</c:v>
                      </c:pt>
                      <c:pt idx="202">
                        <c:v>44033</c:v>
                      </c:pt>
                      <c:pt idx="203">
                        <c:v>44034</c:v>
                      </c:pt>
                      <c:pt idx="204">
                        <c:v>44035</c:v>
                      </c:pt>
                      <c:pt idx="205">
                        <c:v>44036</c:v>
                      </c:pt>
                      <c:pt idx="206">
                        <c:v>44037</c:v>
                      </c:pt>
                      <c:pt idx="207">
                        <c:v>44038</c:v>
                      </c:pt>
                      <c:pt idx="208">
                        <c:v>44039</c:v>
                      </c:pt>
                      <c:pt idx="209">
                        <c:v>44040</c:v>
                      </c:pt>
                      <c:pt idx="210">
                        <c:v>44041</c:v>
                      </c:pt>
                      <c:pt idx="211">
                        <c:v>44042</c:v>
                      </c:pt>
                      <c:pt idx="212">
                        <c:v>44043</c:v>
                      </c:pt>
                      <c:pt idx="213">
                        <c:v>44044</c:v>
                      </c:pt>
                      <c:pt idx="214">
                        <c:v>44045</c:v>
                      </c:pt>
                      <c:pt idx="215">
                        <c:v>44046</c:v>
                      </c:pt>
                      <c:pt idx="216">
                        <c:v>44047</c:v>
                      </c:pt>
                      <c:pt idx="217">
                        <c:v>44048</c:v>
                      </c:pt>
                      <c:pt idx="218">
                        <c:v>44049</c:v>
                      </c:pt>
                      <c:pt idx="219">
                        <c:v>44050</c:v>
                      </c:pt>
                      <c:pt idx="220">
                        <c:v>44051</c:v>
                      </c:pt>
                      <c:pt idx="221">
                        <c:v>44052</c:v>
                      </c:pt>
                      <c:pt idx="222">
                        <c:v>44053</c:v>
                      </c:pt>
                      <c:pt idx="223">
                        <c:v>44054</c:v>
                      </c:pt>
                      <c:pt idx="224">
                        <c:v>44055</c:v>
                      </c:pt>
                      <c:pt idx="225">
                        <c:v>44056</c:v>
                      </c:pt>
                      <c:pt idx="226">
                        <c:v>44057</c:v>
                      </c:pt>
                      <c:pt idx="227">
                        <c:v>44058</c:v>
                      </c:pt>
                      <c:pt idx="228">
                        <c:v>44059</c:v>
                      </c:pt>
                      <c:pt idx="229">
                        <c:v>44060</c:v>
                      </c:pt>
                      <c:pt idx="230">
                        <c:v>44061</c:v>
                      </c:pt>
                      <c:pt idx="231">
                        <c:v>44062</c:v>
                      </c:pt>
                      <c:pt idx="232">
                        <c:v>44063</c:v>
                      </c:pt>
                      <c:pt idx="233">
                        <c:v>44064</c:v>
                      </c:pt>
                      <c:pt idx="234">
                        <c:v>44065</c:v>
                      </c:pt>
                      <c:pt idx="235">
                        <c:v>44066</c:v>
                      </c:pt>
                      <c:pt idx="236">
                        <c:v>44067</c:v>
                      </c:pt>
                      <c:pt idx="237">
                        <c:v>44068</c:v>
                      </c:pt>
                      <c:pt idx="238">
                        <c:v>44069</c:v>
                      </c:pt>
                      <c:pt idx="239">
                        <c:v>44070</c:v>
                      </c:pt>
                      <c:pt idx="240">
                        <c:v>44071</c:v>
                      </c:pt>
                      <c:pt idx="241">
                        <c:v>44072</c:v>
                      </c:pt>
                      <c:pt idx="242">
                        <c:v>44073</c:v>
                      </c:pt>
                      <c:pt idx="243">
                        <c:v>44074</c:v>
                      </c:pt>
                      <c:pt idx="244">
                        <c:v>44075</c:v>
                      </c:pt>
                      <c:pt idx="245">
                        <c:v>44076</c:v>
                      </c:pt>
                      <c:pt idx="246">
                        <c:v>44077</c:v>
                      </c:pt>
                      <c:pt idx="247">
                        <c:v>44078</c:v>
                      </c:pt>
                      <c:pt idx="248">
                        <c:v>44079</c:v>
                      </c:pt>
                      <c:pt idx="249">
                        <c:v>44080</c:v>
                      </c:pt>
                      <c:pt idx="250">
                        <c:v>44081</c:v>
                      </c:pt>
                      <c:pt idx="251">
                        <c:v>44082</c:v>
                      </c:pt>
                      <c:pt idx="252">
                        <c:v>44083</c:v>
                      </c:pt>
                      <c:pt idx="253">
                        <c:v>44084</c:v>
                      </c:pt>
                      <c:pt idx="254">
                        <c:v>44085</c:v>
                      </c:pt>
                      <c:pt idx="255">
                        <c:v>44086</c:v>
                      </c:pt>
                      <c:pt idx="256">
                        <c:v>44087</c:v>
                      </c:pt>
                      <c:pt idx="257">
                        <c:v>44088</c:v>
                      </c:pt>
                      <c:pt idx="258">
                        <c:v>44089</c:v>
                      </c:pt>
                      <c:pt idx="259">
                        <c:v>44090</c:v>
                      </c:pt>
                      <c:pt idx="260">
                        <c:v>44091</c:v>
                      </c:pt>
                      <c:pt idx="261">
                        <c:v>44092</c:v>
                      </c:pt>
                      <c:pt idx="262">
                        <c:v>44093</c:v>
                      </c:pt>
                      <c:pt idx="263">
                        <c:v>44094</c:v>
                      </c:pt>
                      <c:pt idx="264">
                        <c:v>44095</c:v>
                      </c:pt>
                      <c:pt idx="265">
                        <c:v>44096</c:v>
                      </c:pt>
                      <c:pt idx="266">
                        <c:v>44097</c:v>
                      </c:pt>
                      <c:pt idx="267">
                        <c:v>44098</c:v>
                      </c:pt>
                      <c:pt idx="268">
                        <c:v>44099</c:v>
                      </c:pt>
                      <c:pt idx="269">
                        <c:v>44100</c:v>
                      </c:pt>
                      <c:pt idx="270">
                        <c:v>44101</c:v>
                      </c:pt>
                      <c:pt idx="271">
                        <c:v>44102</c:v>
                      </c:pt>
                      <c:pt idx="272">
                        <c:v>44103</c:v>
                      </c:pt>
                      <c:pt idx="273">
                        <c:v>44104</c:v>
                      </c:pt>
                      <c:pt idx="274">
                        <c:v>44105</c:v>
                      </c:pt>
                      <c:pt idx="275">
                        <c:v>44106</c:v>
                      </c:pt>
                      <c:pt idx="276">
                        <c:v>44107</c:v>
                      </c:pt>
                      <c:pt idx="277">
                        <c:v>44108</c:v>
                      </c:pt>
                      <c:pt idx="278">
                        <c:v>44109</c:v>
                      </c:pt>
                      <c:pt idx="279">
                        <c:v>44110</c:v>
                      </c:pt>
                      <c:pt idx="280">
                        <c:v>44111</c:v>
                      </c:pt>
                      <c:pt idx="281">
                        <c:v>44112</c:v>
                      </c:pt>
                      <c:pt idx="282">
                        <c:v>44113</c:v>
                      </c:pt>
                      <c:pt idx="283">
                        <c:v>44114</c:v>
                      </c:pt>
                      <c:pt idx="284">
                        <c:v>44115</c:v>
                      </c:pt>
                      <c:pt idx="285">
                        <c:v>44116</c:v>
                      </c:pt>
                      <c:pt idx="286">
                        <c:v>44117</c:v>
                      </c:pt>
                      <c:pt idx="287">
                        <c:v>44118</c:v>
                      </c:pt>
                      <c:pt idx="288">
                        <c:v>44119</c:v>
                      </c:pt>
                      <c:pt idx="289">
                        <c:v>44120</c:v>
                      </c:pt>
                      <c:pt idx="290">
                        <c:v>44121</c:v>
                      </c:pt>
                      <c:pt idx="291">
                        <c:v>44122</c:v>
                      </c:pt>
                      <c:pt idx="292">
                        <c:v>44123</c:v>
                      </c:pt>
                      <c:pt idx="293">
                        <c:v>44124</c:v>
                      </c:pt>
                      <c:pt idx="294">
                        <c:v>44125</c:v>
                      </c:pt>
                      <c:pt idx="295">
                        <c:v>44126</c:v>
                      </c:pt>
                      <c:pt idx="296">
                        <c:v>44127</c:v>
                      </c:pt>
                      <c:pt idx="297">
                        <c:v>44128</c:v>
                      </c:pt>
                      <c:pt idx="298">
                        <c:v>44129</c:v>
                      </c:pt>
                      <c:pt idx="299">
                        <c:v>44130</c:v>
                      </c:pt>
                      <c:pt idx="300">
                        <c:v>44131</c:v>
                      </c:pt>
                      <c:pt idx="301">
                        <c:v>44132</c:v>
                      </c:pt>
                      <c:pt idx="302">
                        <c:v>44133</c:v>
                      </c:pt>
                      <c:pt idx="303">
                        <c:v>44134</c:v>
                      </c:pt>
                      <c:pt idx="304">
                        <c:v>44135</c:v>
                      </c:pt>
                      <c:pt idx="305">
                        <c:v>44136</c:v>
                      </c:pt>
                      <c:pt idx="306">
                        <c:v>44137</c:v>
                      </c:pt>
                      <c:pt idx="307">
                        <c:v>44138</c:v>
                      </c:pt>
                      <c:pt idx="308">
                        <c:v>44139</c:v>
                      </c:pt>
                      <c:pt idx="309">
                        <c:v>44140</c:v>
                      </c:pt>
                      <c:pt idx="310">
                        <c:v>44141</c:v>
                      </c:pt>
                      <c:pt idx="311">
                        <c:v>44142</c:v>
                      </c:pt>
                      <c:pt idx="312">
                        <c:v>44143</c:v>
                      </c:pt>
                      <c:pt idx="313">
                        <c:v>44144</c:v>
                      </c:pt>
                      <c:pt idx="314">
                        <c:v>44145</c:v>
                      </c:pt>
                      <c:pt idx="315">
                        <c:v>44146</c:v>
                      </c:pt>
                      <c:pt idx="316">
                        <c:v>44147</c:v>
                      </c:pt>
                      <c:pt idx="317">
                        <c:v>44148</c:v>
                      </c:pt>
                      <c:pt idx="318">
                        <c:v>44149</c:v>
                      </c:pt>
                      <c:pt idx="319">
                        <c:v>44150</c:v>
                      </c:pt>
                      <c:pt idx="320">
                        <c:v>44151</c:v>
                      </c:pt>
                      <c:pt idx="321">
                        <c:v>44152</c:v>
                      </c:pt>
                      <c:pt idx="322">
                        <c:v>44153</c:v>
                      </c:pt>
                      <c:pt idx="323">
                        <c:v>44154</c:v>
                      </c:pt>
                      <c:pt idx="324">
                        <c:v>44155</c:v>
                      </c:pt>
                      <c:pt idx="325">
                        <c:v>44156</c:v>
                      </c:pt>
                      <c:pt idx="326">
                        <c:v>44157</c:v>
                      </c:pt>
                      <c:pt idx="327">
                        <c:v>44158</c:v>
                      </c:pt>
                      <c:pt idx="328">
                        <c:v>44159</c:v>
                      </c:pt>
                      <c:pt idx="329">
                        <c:v>44160</c:v>
                      </c:pt>
                      <c:pt idx="330">
                        <c:v>44161</c:v>
                      </c:pt>
                      <c:pt idx="331">
                        <c:v>44162</c:v>
                      </c:pt>
                      <c:pt idx="332">
                        <c:v>44163</c:v>
                      </c:pt>
                      <c:pt idx="333">
                        <c:v>44164</c:v>
                      </c:pt>
                      <c:pt idx="334">
                        <c:v>44165</c:v>
                      </c:pt>
                      <c:pt idx="335">
                        <c:v>44166</c:v>
                      </c:pt>
                      <c:pt idx="336">
                        <c:v>44167</c:v>
                      </c:pt>
                      <c:pt idx="337">
                        <c:v>44168</c:v>
                      </c:pt>
                      <c:pt idx="338">
                        <c:v>44169</c:v>
                      </c:pt>
                      <c:pt idx="339">
                        <c:v>44170</c:v>
                      </c:pt>
                      <c:pt idx="340">
                        <c:v>44171</c:v>
                      </c:pt>
                      <c:pt idx="341">
                        <c:v>44172</c:v>
                      </c:pt>
                      <c:pt idx="342">
                        <c:v>44173</c:v>
                      </c:pt>
                      <c:pt idx="343">
                        <c:v>44174</c:v>
                      </c:pt>
                      <c:pt idx="344">
                        <c:v>44175</c:v>
                      </c:pt>
                      <c:pt idx="345">
                        <c:v>44176</c:v>
                      </c:pt>
                      <c:pt idx="346">
                        <c:v>44177</c:v>
                      </c:pt>
                      <c:pt idx="347">
                        <c:v>44178</c:v>
                      </c:pt>
                      <c:pt idx="348">
                        <c:v>44179</c:v>
                      </c:pt>
                      <c:pt idx="349">
                        <c:v>44180</c:v>
                      </c:pt>
                      <c:pt idx="350">
                        <c:v>44181</c:v>
                      </c:pt>
                      <c:pt idx="351">
                        <c:v>44182</c:v>
                      </c:pt>
                      <c:pt idx="352">
                        <c:v>44183</c:v>
                      </c:pt>
                      <c:pt idx="353">
                        <c:v>44184</c:v>
                      </c:pt>
                      <c:pt idx="354">
                        <c:v>44185</c:v>
                      </c:pt>
                      <c:pt idx="355">
                        <c:v>44186</c:v>
                      </c:pt>
                      <c:pt idx="356">
                        <c:v>44187</c:v>
                      </c:pt>
                      <c:pt idx="357">
                        <c:v>44188</c:v>
                      </c:pt>
                      <c:pt idx="358">
                        <c:v>44189</c:v>
                      </c:pt>
                      <c:pt idx="359">
                        <c:v>44190</c:v>
                      </c:pt>
                      <c:pt idx="360">
                        <c:v>44191</c:v>
                      </c:pt>
                      <c:pt idx="361">
                        <c:v>44192</c:v>
                      </c:pt>
                      <c:pt idx="362">
                        <c:v>44193</c:v>
                      </c:pt>
                      <c:pt idx="363">
                        <c:v>44194</c:v>
                      </c:pt>
                      <c:pt idx="364">
                        <c:v>44195</c:v>
                      </c:pt>
                      <c:pt idx="365">
                        <c:v>44196</c:v>
                      </c:pt>
                      <c:pt idx="366">
                        <c:v>44197</c:v>
                      </c:pt>
                      <c:pt idx="367">
                        <c:v>44198</c:v>
                      </c:pt>
                      <c:pt idx="368">
                        <c:v>44199</c:v>
                      </c:pt>
                      <c:pt idx="369">
                        <c:v>44200</c:v>
                      </c:pt>
                      <c:pt idx="370">
                        <c:v>44201</c:v>
                      </c:pt>
                      <c:pt idx="371">
                        <c:v>44202</c:v>
                      </c:pt>
                      <c:pt idx="372">
                        <c:v>44203</c:v>
                      </c:pt>
                      <c:pt idx="373">
                        <c:v>44204</c:v>
                      </c:pt>
                      <c:pt idx="374">
                        <c:v>44205</c:v>
                      </c:pt>
                      <c:pt idx="375">
                        <c:v>44206</c:v>
                      </c:pt>
                      <c:pt idx="376">
                        <c:v>44207</c:v>
                      </c:pt>
                      <c:pt idx="377">
                        <c:v>44208</c:v>
                      </c:pt>
                      <c:pt idx="378">
                        <c:v>44209</c:v>
                      </c:pt>
                      <c:pt idx="379">
                        <c:v>44210</c:v>
                      </c:pt>
                      <c:pt idx="380">
                        <c:v>44211</c:v>
                      </c:pt>
                      <c:pt idx="381">
                        <c:v>44212</c:v>
                      </c:pt>
                      <c:pt idx="382">
                        <c:v>44213</c:v>
                      </c:pt>
                      <c:pt idx="383">
                        <c:v>44214</c:v>
                      </c:pt>
                      <c:pt idx="384">
                        <c:v>44215</c:v>
                      </c:pt>
                      <c:pt idx="385">
                        <c:v>44216</c:v>
                      </c:pt>
                      <c:pt idx="386">
                        <c:v>44217</c:v>
                      </c:pt>
                      <c:pt idx="387">
                        <c:v>44218</c:v>
                      </c:pt>
                      <c:pt idx="388">
                        <c:v>44219</c:v>
                      </c:pt>
                      <c:pt idx="389">
                        <c:v>44220</c:v>
                      </c:pt>
                      <c:pt idx="390">
                        <c:v>44221</c:v>
                      </c:pt>
                      <c:pt idx="391">
                        <c:v>44222</c:v>
                      </c:pt>
                      <c:pt idx="392">
                        <c:v>44223</c:v>
                      </c:pt>
                      <c:pt idx="393">
                        <c:v>44224</c:v>
                      </c:pt>
                      <c:pt idx="394">
                        <c:v>44225</c:v>
                      </c:pt>
                      <c:pt idx="395">
                        <c:v>44226</c:v>
                      </c:pt>
                      <c:pt idx="396">
                        <c:v>44227</c:v>
                      </c:pt>
                      <c:pt idx="397">
                        <c:v>44228</c:v>
                      </c:pt>
                      <c:pt idx="398">
                        <c:v>44229</c:v>
                      </c:pt>
                      <c:pt idx="399">
                        <c:v>44230</c:v>
                      </c:pt>
                      <c:pt idx="400">
                        <c:v>44231</c:v>
                      </c:pt>
                      <c:pt idx="401">
                        <c:v>44232</c:v>
                      </c:pt>
                      <c:pt idx="402">
                        <c:v>44233</c:v>
                      </c:pt>
                      <c:pt idx="403">
                        <c:v>44234</c:v>
                      </c:pt>
                      <c:pt idx="404">
                        <c:v>44235</c:v>
                      </c:pt>
                      <c:pt idx="405">
                        <c:v>44236</c:v>
                      </c:pt>
                      <c:pt idx="406">
                        <c:v>44237</c:v>
                      </c:pt>
                      <c:pt idx="407">
                        <c:v>44238</c:v>
                      </c:pt>
                      <c:pt idx="408">
                        <c:v>44239</c:v>
                      </c:pt>
                      <c:pt idx="409">
                        <c:v>44240</c:v>
                      </c:pt>
                      <c:pt idx="410">
                        <c:v>44241</c:v>
                      </c:pt>
                      <c:pt idx="411">
                        <c:v>44242</c:v>
                      </c:pt>
                      <c:pt idx="412">
                        <c:v>44243</c:v>
                      </c:pt>
                      <c:pt idx="413">
                        <c:v>44244</c:v>
                      </c:pt>
                      <c:pt idx="414">
                        <c:v>44245</c:v>
                      </c:pt>
                      <c:pt idx="415">
                        <c:v>44246</c:v>
                      </c:pt>
                      <c:pt idx="416">
                        <c:v>44247</c:v>
                      </c:pt>
                      <c:pt idx="417">
                        <c:v>44248</c:v>
                      </c:pt>
                      <c:pt idx="418">
                        <c:v>44249</c:v>
                      </c:pt>
                      <c:pt idx="419">
                        <c:v>44250</c:v>
                      </c:pt>
                      <c:pt idx="420">
                        <c:v>44251</c:v>
                      </c:pt>
                      <c:pt idx="421">
                        <c:v>44252</c:v>
                      </c:pt>
                      <c:pt idx="422">
                        <c:v>44253</c:v>
                      </c:pt>
                      <c:pt idx="423">
                        <c:v>44254</c:v>
                      </c:pt>
                      <c:pt idx="424">
                        <c:v>44255</c:v>
                      </c:pt>
                      <c:pt idx="425">
                        <c:v>44256</c:v>
                      </c:pt>
                      <c:pt idx="426">
                        <c:v>44257</c:v>
                      </c:pt>
                      <c:pt idx="427">
                        <c:v>44258</c:v>
                      </c:pt>
                      <c:pt idx="428">
                        <c:v>44259</c:v>
                      </c:pt>
                      <c:pt idx="429">
                        <c:v>44260</c:v>
                      </c:pt>
                      <c:pt idx="430">
                        <c:v>44261</c:v>
                      </c:pt>
                      <c:pt idx="431">
                        <c:v>44262</c:v>
                      </c:pt>
                      <c:pt idx="432">
                        <c:v>44263</c:v>
                      </c:pt>
                      <c:pt idx="433">
                        <c:v>44264</c:v>
                      </c:pt>
                      <c:pt idx="434">
                        <c:v>44265</c:v>
                      </c:pt>
                      <c:pt idx="435">
                        <c:v>44266</c:v>
                      </c:pt>
                      <c:pt idx="436">
                        <c:v>44267</c:v>
                      </c:pt>
                      <c:pt idx="437">
                        <c:v>44268</c:v>
                      </c:pt>
                      <c:pt idx="438">
                        <c:v>44269</c:v>
                      </c:pt>
                      <c:pt idx="439">
                        <c:v>44270</c:v>
                      </c:pt>
                      <c:pt idx="440">
                        <c:v>44271</c:v>
                      </c:pt>
                      <c:pt idx="441">
                        <c:v>44272</c:v>
                      </c:pt>
                      <c:pt idx="442">
                        <c:v>44273</c:v>
                      </c:pt>
                      <c:pt idx="443">
                        <c:v>44274</c:v>
                      </c:pt>
                      <c:pt idx="444">
                        <c:v>44275</c:v>
                      </c:pt>
                      <c:pt idx="445">
                        <c:v>44276</c:v>
                      </c:pt>
                      <c:pt idx="446">
                        <c:v>44277</c:v>
                      </c:pt>
                      <c:pt idx="447">
                        <c:v>44278</c:v>
                      </c:pt>
                      <c:pt idx="448">
                        <c:v>44279</c:v>
                      </c:pt>
                      <c:pt idx="449">
                        <c:v>44280</c:v>
                      </c:pt>
                      <c:pt idx="450">
                        <c:v>44281</c:v>
                      </c:pt>
                      <c:pt idx="451">
                        <c:v>44282</c:v>
                      </c:pt>
                      <c:pt idx="452">
                        <c:v>44283</c:v>
                      </c:pt>
                      <c:pt idx="453">
                        <c:v>44284</c:v>
                      </c:pt>
                      <c:pt idx="454">
                        <c:v>44285</c:v>
                      </c:pt>
                      <c:pt idx="455">
                        <c:v>44286</c:v>
                      </c:pt>
                      <c:pt idx="456">
                        <c:v>44287</c:v>
                      </c:pt>
                      <c:pt idx="457">
                        <c:v>44288</c:v>
                      </c:pt>
                      <c:pt idx="458">
                        <c:v>44289</c:v>
                      </c:pt>
                      <c:pt idx="459">
                        <c:v>44290</c:v>
                      </c:pt>
                      <c:pt idx="460">
                        <c:v>44291</c:v>
                      </c:pt>
                      <c:pt idx="461">
                        <c:v>44292</c:v>
                      </c:pt>
                      <c:pt idx="462">
                        <c:v>44293</c:v>
                      </c:pt>
                      <c:pt idx="463">
                        <c:v>44294</c:v>
                      </c:pt>
                      <c:pt idx="464">
                        <c:v>44295</c:v>
                      </c:pt>
                      <c:pt idx="465">
                        <c:v>44296</c:v>
                      </c:pt>
                      <c:pt idx="466">
                        <c:v>44297</c:v>
                      </c:pt>
                      <c:pt idx="467">
                        <c:v>44298</c:v>
                      </c:pt>
                      <c:pt idx="468">
                        <c:v>44299</c:v>
                      </c:pt>
                      <c:pt idx="469">
                        <c:v>44300</c:v>
                      </c:pt>
                      <c:pt idx="470">
                        <c:v>44301</c:v>
                      </c:pt>
                      <c:pt idx="471">
                        <c:v>44302</c:v>
                      </c:pt>
                      <c:pt idx="472">
                        <c:v>44303</c:v>
                      </c:pt>
                      <c:pt idx="473">
                        <c:v>44304</c:v>
                      </c:pt>
                      <c:pt idx="474">
                        <c:v>44305</c:v>
                      </c:pt>
                      <c:pt idx="475">
                        <c:v>44306</c:v>
                      </c:pt>
                      <c:pt idx="476">
                        <c:v>44307</c:v>
                      </c:pt>
                      <c:pt idx="477">
                        <c:v>44308</c:v>
                      </c:pt>
                      <c:pt idx="478">
                        <c:v>44309</c:v>
                      </c:pt>
                      <c:pt idx="479">
                        <c:v>44310</c:v>
                      </c:pt>
                      <c:pt idx="480">
                        <c:v>44311</c:v>
                      </c:pt>
                      <c:pt idx="481">
                        <c:v>44312</c:v>
                      </c:pt>
                      <c:pt idx="482">
                        <c:v>44313</c:v>
                      </c:pt>
                      <c:pt idx="483">
                        <c:v>44314</c:v>
                      </c:pt>
                      <c:pt idx="484">
                        <c:v>44315</c:v>
                      </c:pt>
                      <c:pt idx="485">
                        <c:v>44316</c:v>
                      </c:pt>
                      <c:pt idx="486">
                        <c:v>44317</c:v>
                      </c:pt>
                      <c:pt idx="487">
                        <c:v>44318</c:v>
                      </c:pt>
                      <c:pt idx="488">
                        <c:v>44319</c:v>
                      </c:pt>
                      <c:pt idx="489">
                        <c:v>44320</c:v>
                      </c:pt>
                      <c:pt idx="490">
                        <c:v>44321</c:v>
                      </c:pt>
                      <c:pt idx="491">
                        <c:v>44322</c:v>
                      </c:pt>
                      <c:pt idx="492">
                        <c:v>44323</c:v>
                      </c:pt>
                      <c:pt idx="493">
                        <c:v>44324</c:v>
                      </c:pt>
                      <c:pt idx="494">
                        <c:v>44325</c:v>
                      </c:pt>
                      <c:pt idx="495">
                        <c:v>44326</c:v>
                      </c:pt>
                      <c:pt idx="496">
                        <c:v>44327</c:v>
                      </c:pt>
                      <c:pt idx="497">
                        <c:v>44328</c:v>
                      </c:pt>
                      <c:pt idx="498">
                        <c:v>44329</c:v>
                      </c:pt>
                      <c:pt idx="499">
                        <c:v>44330</c:v>
                      </c:pt>
                      <c:pt idx="500">
                        <c:v>44331</c:v>
                      </c:pt>
                      <c:pt idx="501">
                        <c:v>44332</c:v>
                      </c:pt>
                      <c:pt idx="502">
                        <c:v>44333</c:v>
                      </c:pt>
                      <c:pt idx="503">
                        <c:v>44334</c:v>
                      </c:pt>
                      <c:pt idx="504">
                        <c:v>44335</c:v>
                      </c:pt>
                      <c:pt idx="505">
                        <c:v>44336</c:v>
                      </c:pt>
                      <c:pt idx="506">
                        <c:v>44337</c:v>
                      </c:pt>
                      <c:pt idx="507">
                        <c:v>44338</c:v>
                      </c:pt>
                      <c:pt idx="508">
                        <c:v>44339</c:v>
                      </c:pt>
                      <c:pt idx="509">
                        <c:v>44340</c:v>
                      </c:pt>
                      <c:pt idx="510">
                        <c:v>44341</c:v>
                      </c:pt>
                      <c:pt idx="511">
                        <c:v>44342</c:v>
                      </c:pt>
                      <c:pt idx="512">
                        <c:v>44343</c:v>
                      </c:pt>
                      <c:pt idx="513">
                        <c:v>44344</c:v>
                      </c:pt>
                      <c:pt idx="514">
                        <c:v>44345</c:v>
                      </c:pt>
                      <c:pt idx="515">
                        <c:v>44346</c:v>
                      </c:pt>
                      <c:pt idx="516">
                        <c:v>44347</c:v>
                      </c:pt>
                      <c:pt idx="517">
                        <c:v>44348</c:v>
                      </c:pt>
                      <c:pt idx="518">
                        <c:v>44349</c:v>
                      </c:pt>
                      <c:pt idx="519">
                        <c:v>44350</c:v>
                      </c:pt>
                      <c:pt idx="520">
                        <c:v>44351</c:v>
                      </c:pt>
                      <c:pt idx="521">
                        <c:v>44352</c:v>
                      </c:pt>
                      <c:pt idx="522">
                        <c:v>44353</c:v>
                      </c:pt>
                      <c:pt idx="523">
                        <c:v>44354</c:v>
                      </c:pt>
                      <c:pt idx="524">
                        <c:v>44355</c:v>
                      </c:pt>
                      <c:pt idx="525">
                        <c:v>44356</c:v>
                      </c:pt>
                      <c:pt idx="526">
                        <c:v>44357</c:v>
                      </c:pt>
                      <c:pt idx="527">
                        <c:v>44358</c:v>
                      </c:pt>
                      <c:pt idx="528">
                        <c:v>44359</c:v>
                      </c:pt>
                      <c:pt idx="529">
                        <c:v>44360</c:v>
                      </c:pt>
                      <c:pt idx="530">
                        <c:v>44361</c:v>
                      </c:pt>
                      <c:pt idx="531">
                        <c:v>44362</c:v>
                      </c:pt>
                      <c:pt idx="532">
                        <c:v>44363</c:v>
                      </c:pt>
                      <c:pt idx="533">
                        <c:v>44364</c:v>
                      </c:pt>
                      <c:pt idx="534">
                        <c:v>44365</c:v>
                      </c:pt>
                      <c:pt idx="535">
                        <c:v>44366</c:v>
                      </c:pt>
                      <c:pt idx="536">
                        <c:v>44367</c:v>
                      </c:pt>
                      <c:pt idx="537">
                        <c:v>44368</c:v>
                      </c:pt>
                      <c:pt idx="538">
                        <c:v>44369</c:v>
                      </c:pt>
                      <c:pt idx="539">
                        <c:v>44370</c:v>
                      </c:pt>
                      <c:pt idx="540">
                        <c:v>44371</c:v>
                      </c:pt>
                      <c:pt idx="541">
                        <c:v>44372</c:v>
                      </c:pt>
                      <c:pt idx="542">
                        <c:v>44373</c:v>
                      </c:pt>
                      <c:pt idx="543">
                        <c:v>44374</c:v>
                      </c:pt>
                      <c:pt idx="544">
                        <c:v>44375</c:v>
                      </c:pt>
                      <c:pt idx="545">
                        <c:v>44376</c:v>
                      </c:pt>
                      <c:pt idx="546">
                        <c:v>44377</c:v>
                      </c:pt>
                      <c:pt idx="547">
                        <c:v>44378</c:v>
                      </c:pt>
                      <c:pt idx="548">
                        <c:v>44379</c:v>
                      </c:pt>
                      <c:pt idx="549">
                        <c:v>44380</c:v>
                      </c:pt>
                      <c:pt idx="550">
                        <c:v>44381</c:v>
                      </c:pt>
                      <c:pt idx="551">
                        <c:v>44382</c:v>
                      </c:pt>
                      <c:pt idx="552">
                        <c:v>44383</c:v>
                      </c:pt>
                      <c:pt idx="553">
                        <c:v>44384</c:v>
                      </c:pt>
                      <c:pt idx="554">
                        <c:v>44385</c:v>
                      </c:pt>
                      <c:pt idx="555">
                        <c:v>44386</c:v>
                      </c:pt>
                      <c:pt idx="556">
                        <c:v>44387</c:v>
                      </c:pt>
                      <c:pt idx="557">
                        <c:v>44388</c:v>
                      </c:pt>
                      <c:pt idx="558">
                        <c:v>44389</c:v>
                      </c:pt>
                      <c:pt idx="559">
                        <c:v>44390</c:v>
                      </c:pt>
                      <c:pt idx="560">
                        <c:v>44391</c:v>
                      </c:pt>
                      <c:pt idx="561">
                        <c:v>44392</c:v>
                      </c:pt>
                      <c:pt idx="562">
                        <c:v>44393</c:v>
                      </c:pt>
                      <c:pt idx="563">
                        <c:v>44394</c:v>
                      </c:pt>
                      <c:pt idx="564">
                        <c:v>44395</c:v>
                      </c:pt>
                      <c:pt idx="565">
                        <c:v>44396</c:v>
                      </c:pt>
                      <c:pt idx="566">
                        <c:v>44397</c:v>
                      </c:pt>
                      <c:pt idx="567">
                        <c:v>44398</c:v>
                      </c:pt>
                      <c:pt idx="568">
                        <c:v>44399</c:v>
                      </c:pt>
                      <c:pt idx="569">
                        <c:v>44400</c:v>
                      </c:pt>
                      <c:pt idx="570">
                        <c:v>44401</c:v>
                      </c:pt>
                      <c:pt idx="571">
                        <c:v>44402</c:v>
                      </c:pt>
                      <c:pt idx="572">
                        <c:v>44403</c:v>
                      </c:pt>
                      <c:pt idx="573">
                        <c:v>44404</c:v>
                      </c:pt>
                      <c:pt idx="574">
                        <c:v>44405</c:v>
                      </c:pt>
                      <c:pt idx="575">
                        <c:v>44406</c:v>
                      </c:pt>
                      <c:pt idx="576">
                        <c:v>44407</c:v>
                      </c:pt>
                      <c:pt idx="577">
                        <c:v>44408</c:v>
                      </c:pt>
                      <c:pt idx="578">
                        <c:v>44409</c:v>
                      </c:pt>
                      <c:pt idx="579">
                        <c:v>44410</c:v>
                      </c:pt>
                      <c:pt idx="580">
                        <c:v>44411</c:v>
                      </c:pt>
                      <c:pt idx="581">
                        <c:v>44412</c:v>
                      </c:pt>
                      <c:pt idx="582">
                        <c:v>44413</c:v>
                      </c:pt>
                      <c:pt idx="583">
                        <c:v>44414</c:v>
                      </c:pt>
                      <c:pt idx="584">
                        <c:v>44415</c:v>
                      </c:pt>
                      <c:pt idx="585">
                        <c:v>44416</c:v>
                      </c:pt>
                      <c:pt idx="586">
                        <c:v>44417</c:v>
                      </c:pt>
                      <c:pt idx="587">
                        <c:v>44418</c:v>
                      </c:pt>
                      <c:pt idx="588">
                        <c:v>44419</c:v>
                      </c:pt>
                      <c:pt idx="589">
                        <c:v>44420</c:v>
                      </c:pt>
                      <c:pt idx="590">
                        <c:v>44421</c:v>
                      </c:pt>
                      <c:pt idx="591">
                        <c:v>44422</c:v>
                      </c:pt>
                      <c:pt idx="592">
                        <c:v>44423</c:v>
                      </c:pt>
                      <c:pt idx="593">
                        <c:v>44424</c:v>
                      </c:pt>
                      <c:pt idx="594">
                        <c:v>44425</c:v>
                      </c:pt>
                      <c:pt idx="595">
                        <c:v>44426</c:v>
                      </c:pt>
                      <c:pt idx="596">
                        <c:v>44427</c:v>
                      </c:pt>
                      <c:pt idx="597">
                        <c:v>44428</c:v>
                      </c:pt>
                      <c:pt idx="598">
                        <c:v>44429</c:v>
                      </c:pt>
                      <c:pt idx="599">
                        <c:v>44430</c:v>
                      </c:pt>
                      <c:pt idx="600">
                        <c:v>44431</c:v>
                      </c:pt>
                      <c:pt idx="601">
                        <c:v>44432</c:v>
                      </c:pt>
                      <c:pt idx="602">
                        <c:v>44433</c:v>
                      </c:pt>
                      <c:pt idx="603">
                        <c:v>44434</c:v>
                      </c:pt>
                      <c:pt idx="604">
                        <c:v>44435</c:v>
                      </c:pt>
                      <c:pt idx="605">
                        <c:v>44436</c:v>
                      </c:pt>
                      <c:pt idx="606">
                        <c:v>44437</c:v>
                      </c:pt>
                      <c:pt idx="607">
                        <c:v>44438</c:v>
                      </c:pt>
                      <c:pt idx="608">
                        <c:v>44439</c:v>
                      </c:pt>
                      <c:pt idx="609">
                        <c:v>44440</c:v>
                      </c:pt>
                      <c:pt idx="610">
                        <c:v>44441</c:v>
                      </c:pt>
                      <c:pt idx="611">
                        <c:v>44442</c:v>
                      </c:pt>
                      <c:pt idx="612">
                        <c:v>44443</c:v>
                      </c:pt>
                      <c:pt idx="613">
                        <c:v>44444</c:v>
                      </c:pt>
                      <c:pt idx="614">
                        <c:v>44445</c:v>
                      </c:pt>
                      <c:pt idx="615">
                        <c:v>44446</c:v>
                      </c:pt>
                      <c:pt idx="616">
                        <c:v>44447</c:v>
                      </c:pt>
                      <c:pt idx="617">
                        <c:v>44448</c:v>
                      </c:pt>
                      <c:pt idx="618">
                        <c:v>44449</c:v>
                      </c:pt>
                      <c:pt idx="619">
                        <c:v>44450</c:v>
                      </c:pt>
                      <c:pt idx="620">
                        <c:v>44451</c:v>
                      </c:pt>
                      <c:pt idx="621">
                        <c:v>44452</c:v>
                      </c:pt>
                      <c:pt idx="622">
                        <c:v>44453</c:v>
                      </c:pt>
                      <c:pt idx="623">
                        <c:v>44454</c:v>
                      </c:pt>
                      <c:pt idx="624">
                        <c:v>44455</c:v>
                      </c:pt>
                      <c:pt idx="625">
                        <c:v>44456</c:v>
                      </c:pt>
                      <c:pt idx="626">
                        <c:v>44457</c:v>
                      </c:pt>
                      <c:pt idx="627">
                        <c:v>44458</c:v>
                      </c:pt>
                      <c:pt idx="628">
                        <c:v>44459</c:v>
                      </c:pt>
                      <c:pt idx="629">
                        <c:v>44460</c:v>
                      </c:pt>
                      <c:pt idx="630">
                        <c:v>44461</c:v>
                      </c:pt>
                      <c:pt idx="631">
                        <c:v>44462</c:v>
                      </c:pt>
                      <c:pt idx="632">
                        <c:v>44463</c:v>
                      </c:pt>
                      <c:pt idx="633">
                        <c:v>44464</c:v>
                      </c:pt>
                      <c:pt idx="634">
                        <c:v>44465</c:v>
                      </c:pt>
                      <c:pt idx="635">
                        <c:v>44466</c:v>
                      </c:pt>
                      <c:pt idx="636">
                        <c:v>44467</c:v>
                      </c:pt>
                      <c:pt idx="637">
                        <c:v>44468</c:v>
                      </c:pt>
                      <c:pt idx="638">
                        <c:v>44469</c:v>
                      </c:pt>
                      <c:pt idx="639">
                        <c:v>44470</c:v>
                      </c:pt>
                      <c:pt idx="640">
                        <c:v>44471</c:v>
                      </c:pt>
                      <c:pt idx="641">
                        <c:v>44472</c:v>
                      </c:pt>
                      <c:pt idx="642">
                        <c:v>44473</c:v>
                      </c:pt>
                      <c:pt idx="643">
                        <c:v>44474</c:v>
                      </c:pt>
                      <c:pt idx="644">
                        <c:v>44475</c:v>
                      </c:pt>
                      <c:pt idx="645">
                        <c:v>44476</c:v>
                      </c:pt>
                      <c:pt idx="646">
                        <c:v>44477</c:v>
                      </c:pt>
                      <c:pt idx="647">
                        <c:v>44478</c:v>
                      </c:pt>
                      <c:pt idx="648">
                        <c:v>44479</c:v>
                      </c:pt>
                      <c:pt idx="649">
                        <c:v>44480</c:v>
                      </c:pt>
                      <c:pt idx="650">
                        <c:v>44481</c:v>
                      </c:pt>
                      <c:pt idx="651">
                        <c:v>44482</c:v>
                      </c:pt>
                      <c:pt idx="652">
                        <c:v>44483</c:v>
                      </c:pt>
                      <c:pt idx="653">
                        <c:v>44484</c:v>
                      </c:pt>
                      <c:pt idx="654">
                        <c:v>44485</c:v>
                      </c:pt>
                      <c:pt idx="655">
                        <c:v>44486</c:v>
                      </c:pt>
                      <c:pt idx="656">
                        <c:v>44487</c:v>
                      </c:pt>
                      <c:pt idx="657">
                        <c:v>44488</c:v>
                      </c:pt>
                      <c:pt idx="658">
                        <c:v>44489</c:v>
                      </c:pt>
                      <c:pt idx="659">
                        <c:v>44490</c:v>
                      </c:pt>
                      <c:pt idx="660">
                        <c:v>44491</c:v>
                      </c:pt>
                      <c:pt idx="661">
                        <c:v>44492</c:v>
                      </c:pt>
                      <c:pt idx="662">
                        <c:v>44493</c:v>
                      </c:pt>
                      <c:pt idx="663">
                        <c:v>44494</c:v>
                      </c:pt>
                      <c:pt idx="664">
                        <c:v>44495</c:v>
                      </c:pt>
                      <c:pt idx="665">
                        <c:v>44496</c:v>
                      </c:pt>
                      <c:pt idx="666">
                        <c:v>44497</c:v>
                      </c:pt>
                      <c:pt idx="667">
                        <c:v>44498</c:v>
                      </c:pt>
                      <c:pt idx="668">
                        <c:v>44499</c:v>
                      </c:pt>
                      <c:pt idx="669">
                        <c:v>44500</c:v>
                      </c:pt>
                      <c:pt idx="670">
                        <c:v>44501</c:v>
                      </c:pt>
                      <c:pt idx="671">
                        <c:v>44502</c:v>
                      </c:pt>
                      <c:pt idx="672">
                        <c:v>44503</c:v>
                      </c:pt>
                      <c:pt idx="673">
                        <c:v>44504</c:v>
                      </c:pt>
                      <c:pt idx="674">
                        <c:v>44505</c:v>
                      </c:pt>
                      <c:pt idx="675">
                        <c:v>44506</c:v>
                      </c:pt>
                      <c:pt idx="676">
                        <c:v>44507</c:v>
                      </c:pt>
                      <c:pt idx="677">
                        <c:v>44508</c:v>
                      </c:pt>
                      <c:pt idx="678">
                        <c:v>44509</c:v>
                      </c:pt>
                      <c:pt idx="679">
                        <c:v>44510</c:v>
                      </c:pt>
                      <c:pt idx="680">
                        <c:v>44511</c:v>
                      </c:pt>
                      <c:pt idx="681">
                        <c:v>44512</c:v>
                      </c:pt>
                      <c:pt idx="682">
                        <c:v>44513</c:v>
                      </c:pt>
                      <c:pt idx="683">
                        <c:v>44514</c:v>
                      </c:pt>
                      <c:pt idx="684">
                        <c:v>44515</c:v>
                      </c:pt>
                      <c:pt idx="685">
                        <c:v>44516</c:v>
                      </c:pt>
                      <c:pt idx="686">
                        <c:v>44517</c:v>
                      </c:pt>
                      <c:pt idx="687">
                        <c:v>44518</c:v>
                      </c:pt>
                      <c:pt idx="688">
                        <c:v>44519</c:v>
                      </c:pt>
                      <c:pt idx="689">
                        <c:v>44520</c:v>
                      </c:pt>
                      <c:pt idx="690">
                        <c:v>44521</c:v>
                      </c:pt>
                      <c:pt idx="691">
                        <c:v>44522</c:v>
                      </c:pt>
                      <c:pt idx="692">
                        <c:v>44523</c:v>
                      </c:pt>
                      <c:pt idx="693">
                        <c:v>44524</c:v>
                      </c:pt>
                      <c:pt idx="694">
                        <c:v>44525</c:v>
                      </c:pt>
                      <c:pt idx="695">
                        <c:v>44526</c:v>
                      </c:pt>
                      <c:pt idx="696">
                        <c:v>44527</c:v>
                      </c:pt>
                      <c:pt idx="697">
                        <c:v>44528</c:v>
                      </c:pt>
                      <c:pt idx="698">
                        <c:v>44529</c:v>
                      </c:pt>
                      <c:pt idx="699">
                        <c:v>44530</c:v>
                      </c:pt>
                      <c:pt idx="700">
                        <c:v>44531</c:v>
                      </c:pt>
                      <c:pt idx="701">
                        <c:v>44532</c:v>
                      </c:pt>
                      <c:pt idx="702">
                        <c:v>44533</c:v>
                      </c:pt>
                      <c:pt idx="703">
                        <c:v>44534</c:v>
                      </c:pt>
                      <c:pt idx="704">
                        <c:v>44535</c:v>
                      </c:pt>
                      <c:pt idx="705">
                        <c:v>44536</c:v>
                      </c:pt>
                      <c:pt idx="706">
                        <c:v>44537</c:v>
                      </c:pt>
                      <c:pt idx="707">
                        <c:v>44538</c:v>
                      </c:pt>
                      <c:pt idx="708">
                        <c:v>44539</c:v>
                      </c:pt>
                      <c:pt idx="709">
                        <c:v>44540</c:v>
                      </c:pt>
                      <c:pt idx="710">
                        <c:v>44541</c:v>
                      </c:pt>
                      <c:pt idx="711">
                        <c:v>44542</c:v>
                      </c:pt>
                      <c:pt idx="712">
                        <c:v>44543</c:v>
                      </c:pt>
                      <c:pt idx="713">
                        <c:v>44544</c:v>
                      </c:pt>
                      <c:pt idx="714">
                        <c:v>44545</c:v>
                      </c:pt>
                      <c:pt idx="715">
                        <c:v>44546</c:v>
                      </c:pt>
                      <c:pt idx="716">
                        <c:v>44547</c:v>
                      </c:pt>
                      <c:pt idx="717">
                        <c:v>44548</c:v>
                      </c:pt>
                      <c:pt idx="718">
                        <c:v>44549</c:v>
                      </c:pt>
                      <c:pt idx="719">
                        <c:v>44550</c:v>
                      </c:pt>
                      <c:pt idx="720">
                        <c:v>44551</c:v>
                      </c:pt>
                      <c:pt idx="721">
                        <c:v>44552</c:v>
                      </c:pt>
                      <c:pt idx="722">
                        <c:v>44553</c:v>
                      </c:pt>
                      <c:pt idx="723">
                        <c:v>44554</c:v>
                      </c:pt>
                      <c:pt idx="724">
                        <c:v>44555</c:v>
                      </c:pt>
                      <c:pt idx="725">
                        <c:v>44556</c:v>
                      </c:pt>
                      <c:pt idx="726">
                        <c:v>44557</c:v>
                      </c:pt>
                      <c:pt idx="727">
                        <c:v>44558</c:v>
                      </c:pt>
                      <c:pt idx="728">
                        <c:v>44559</c:v>
                      </c:pt>
                      <c:pt idx="729">
                        <c:v>44560</c:v>
                      </c:pt>
                      <c:pt idx="730">
                        <c:v>44561</c:v>
                      </c:pt>
                      <c:pt idx="731">
                        <c:v>44562</c:v>
                      </c:pt>
                      <c:pt idx="732">
                        <c:v>44563</c:v>
                      </c:pt>
                      <c:pt idx="733">
                        <c:v>44564</c:v>
                      </c:pt>
                      <c:pt idx="734">
                        <c:v>44565</c:v>
                      </c:pt>
                      <c:pt idx="735">
                        <c:v>44566</c:v>
                      </c:pt>
                      <c:pt idx="736">
                        <c:v>44567</c:v>
                      </c:pt>
                      <c:pt idx="737">
                        <c:v>44568</c:v>
                      </c:pt>
                      <c:pt idx="738">
                        <c:v>44569</c:v>
                      </c:pt>
                      <c:pt idx="739">
                        <c:v>44570</c:v>
                      </c:pt>
                      <c:pt idx="740">
                        <c:v>44571</c:v>
                      </c:pt>
                      <c:pt idx="741">
                        <c:v>44572</c:v>
                      </c:pt>
                      <c:pt idx="742">
                        <c:v>44573</c:v>
                      </c:pt>
                      <c:pt idx="743">
                        <c:v>44574</c:v>
                      </c:pt>
                      <c:pt idx="744">
                        <c:v>44575</c:v>
                      </c:pt>
                      <c:pt idx="745">
                        <c:v>44576</c:v>
                      </c:pt>
                      <c:pt idx="746">
                        <c:v>44577</c:v>
                      </c:pt>
                      <c:pt idx="747">
                        <c:v>44578</c:v>
                      </c:pt>
                      <c:pt idx="748">
                        <c:v>44579</c:v>
                      </c:pt>
                      <c:pt idx="749">
                        <c:v>44580</c:v>
                      </c:pt>
                      <c:pt idx="750">
                        <c:v>44581</c:v>
                      </c:pt>
                      <c:pt idx="751">
                        <c:v>44582</c:v>
                      </c:pt>
                      <c:pt idx="752">
                        <c:v>44583</c:v>
                      </c:pt>
                      <c:pt idx="753">
                        <c:v>44584</c:v>
                      </c:pt>
                      <c:pt idx="754">
                        <c:v>44585</c:v>
                      </c:pt>
                      <c:pt idx="755">
                        <c:v>44586</c:v>
                      </c:pt>
                      <c:pt idx="756">
                        <c:v>44587</c:v>
                      </c:pt>
                      <c:pt idx="757">
                        <c:v>44588</c:v>
                      </c:pt>
                      <c:pt idx="758">
                        <c:v>44589</c:v>
                      </c:pt>
                      <c:pt idx="759">
                        <c:v>44590</c:v>
                      </c:pt>
                      <c:pt idx="760">
                        <c:v>44591</c:v>
                      </c:pt>
                      <c:pt idx="761">
                        <c:v>44592</c:v>
                      </c:pt>
                      <c:pt idx="762">
                        <c:v>44593</c:v>
                      </c:pt>
                      <c:pt idx="763">
                        <c:v>44594</c:v>
                      </c:pt>
                      <c:pt idx="764">
                        <c:v>44595</c:v>
                      </c:pt>
                      <c:pt idx="765">
                        <c:v>44596</c:v>
                      </c:pt>
                      <c:pt idx="766">
                        <c:v>44597</c:v>
                      </c:pt>
                      <c:pt idx="767">
                        <c:v>44598</c:v>
                      </c:pt>
                      <c:pt idx="768">
                        <c:v>44599</c:v>
                      </c:pt>
                      <c:pt idx="769">
                        <c:v>44600</c:v>
                      </c:pt>
                      <c:pt idx="770">
                        <c:v>44601</c:v>
                      </c:pt>
                      <c:pt idx="771">
                        <c:v>44602</c:v>
                      </c:pt>
                      <c:pt idx="772">
                        <c:v>44603</c:v>
                      </c:pt>
                      <c:pt idx="773">
                        <c:v>44604</c:v>
                      </c:pt>
                      <c:pt idx="774">
                        <c:v>44605</c:v>
                      </c:pt>
                      <c:pt idx="775">
                        <c:v>44606</c:v>
                      </c:pt>
                      <c:pt idx="776">
                        <c:v>44607</c:v>
                      </c:pt>
                      <c:pt idx="777">
                        <c:v>44608</c:v>
                      </c:pt>
                      <c:pt idx="778">
                        <c:v>44609</c:v>
                      </c:pt>
                      <c:pt idx="779">
                        <c:v>44610</c:v>
                      </c:pt>
                      <c:pt idx="780">
                        <c:v>44611</c:v>
                      </c:pt>
                      <c:pt idx="781">
                        <c:v>44612</c:v>
                      </c:pt>
                      <c:pt idx="782">
                        <c:v>44613</c:v>
                      </c:pt>
                      <c:pt idx="783">
                        <c:v>44614</c:v>
                      </c:pt>
                      <c:pt idx="784">
                        <c:v>44615</c:v>
                      </c:pt>
                      <c:pt idx="785">
                        <c:v>44616</c:v>
                      </c:pt>
                      <c:pt idx="786">
                        <c:v>44617</c:v>
                      </c:pt>
                      <c:pt idx="787">
                        <c:v>44618</c:v>
                      </c:pt>
                      <c:pt idx="788">
                        <c:v>44619</c:v>
                      </c:pt>
                      <c:pt idx="789">
                        <c:v>44620</c:v>
                      </c:pt>
                      <c:pt idx="790">
                        <c:v>44621</c:v>
                      </c:pt>
                      <c:pt idx="791">
                        <c:v>44622</c:v>
                      </c:pt>
                      <c:pt idx="792">
                        <c:v>44623</c:v>
                      </c:pt>
                      <c:pt idx="793">
                        <c:v>44624</c:v>
                      </c:pt>
                      <c:pt idx="794">
                        <c:v>44625</c:v>
                      </c:pt>
                      <c:pt idx="795">
                        <c:v>44626</c:v>
                      </c:pt>
                      <c:pt idx="796">
                        <c:v>44627</c:v>
                      </c:pt>
                      <c:pt idx="797">
                        <c:v>44628</c:v>
                      </c:pt>
                      <c:pt idx="798">
                        <c:v>44629</c:v>
                      </c:pt>
                      <c:pt idx="799">
                        <c:v>44630</c:v>
                      </c:pt>
                      <c:pt idx="800">
                        <c:v>44631</c:v>
                      </c:pt>
                      <c:pt idx="801">
                        <c:v>44632</c:v>
                      </c:pt>
                      <c:pt idx="802">
                        <c:v>44633</c:v>
                      </c:pt>
                      <c:pt idx="803">
                        <c:v>44634</c:v>
                      </c:pt>
                      <c:pt idx="804">
                        <c:v>44635</c:v>
                      </c:pt>
                      <c:pt idx="805">
                        <c:v>44636</c:v>
                      </c:pt>
                      <c:pt idx="806">
                        <c:v>44637</c:v>
                      </c:pt>
                      <c:pt idx="807">
                        <c:v>44638</c:v>
                      </c:pt>
                      <c:pt idx="808">
                        <c:v>44639</c:v>
                      </c:pt>
                      <c:pt idx="809">
                        <c:v>44640</c:v>
                      </c:pt>
                      <c:pt idx="810">
                        <c:v>44641</c:v>
                      </c:pt>
                      <c:pt idx="811">
                        <c:v>44642</c:v>
                      </c:pt>
                      <c:pt idx="812">
                        <c:v>44643</c:v>
                      </c:pt>
                      <c:pt idx="813">
                        <c:v>44644</c:v>
                      </c:pt>
                      <c:pt idx="814">
                        <c:v>44645</c:v>
                      </c:pt>
                      <c:pt idx="815">
                        <c:v>44646</c:v>
                      </c:pt>
                      <c:pt idx="816">
                        <c:v>44647</c:v>
                      </c:pt>
                      <c:pt idx="817">
                        <c:v>44648</c:v>
                      </c:pt>
                      <c:pt idx="818">
                        <c:v>44649</c:v>
                      </c:pt>
                      <c:pt idx="819">
                        <c:v>44650</c:v>
                      </c:pt>
                      <c:pt idx="820">
                        <c:v>44651</c:v>
                      </c:pt>
                      <c:pt idx="821">
                        <c:v>44652</c:v>
                      </c:pt>
                      <c:pt idx="822">
                        <c:v>44653</c:v>
                      </c:pt>
                      <c:pt idx="823">
                        <c:v>44654</c:v>
                      </c:pt>
                      <c:pt idx="824">
                        <c:v>44655</c:v>
                      </c:pt>
                      <c:pt idx="825">
                        <c:v>44656</c:v>
                      </c:pt>
                      <c:pt idx="826">
                        <c:v>44657</c:v>
                      </c:pt>
                      <c:pt idx="827">
                        <c:v>44658</c:v>
                      </c:pt>
                      <c:pt idx="828">
                        <c:v>44659</c:v>
                      </c:pt>
                      <c:pt idx="829">
                        <c:v>44660</c:v>
                      </c:pt>
                      <c:pt idx="830">
                        <c:v>44661</c:v>
                      </c:pt>
                      <c:pt idx="831">
                        <c:v>44662</c:v>
                      </c:pt>
                      <c:pt idx="832">
                        <c:v>44663</c:v>
                      </c:pt>
                      <c:pt idx="833">
                        <c:v>44664</c:v>
                      </c:pt>
                      <c:pt idx="834">
                        <c:v>44665</c:v>
                      </c:pt>
                      <c:pt idx="835">
                        <c:v>44666</c:v>
                      </c:pt>
                      <c:pt idx="836">
                        <c:v>44667</c:v>
                      </c:pt>
                      <c:pt idx="837">
                        <c:v>44668</c:v>
                      </c:pt>
                      <c:pt idx="838">
                        <c:v>44669</c:v>
                      </c:pt>
                      <c:pt idx="839">
                        <c:v>44670</c:v>
                      </c:pt>
                      <c:pt idx="840">
                        <c:v>44671</c:v>
                      </c:pt>
                      <c:pt idx="841">
                        <c:v>44672</c:v>
                      </c:pt>
                      <c:pt idx="842">
                        <c:v>44673</c:v>
                      </c:pt>
                      <c:pt idx="843">
                        <c:v>44674</c:v>
                      </c:pt>
                      <c:pt idx="844">
                        <c:v>44675</c:v>
                      </c:pt>
                      <c:pt idx="845">
                        <c:v>44676</c:v>
                      </c:pt>
                      <c:pt idx="846">
                        <c:v>44677</c:v>
                      </c:pt>
                      <c:pt idx="847">
                        <c:v>44678</c:v>
                      </c:pt>
                      <c:pt idx="848">
                        <c:v>44679</c:v>
                      </c:pt>
                      <c:pt idx="849">
                        <c:v>44680</c:v>
                      </c:pt>
                      <c:pt idx="850">
                        <c:v>44681</c:v>
                      </c:pt>
                      <c:pt idx="851">
                        <c:v>44682</c:v>
                      </c:pt>
                      <c:pt idx="852">
                        <c:v>44683</c:v>
                      </c:pt>
                      <c:pt idx="853">
                        <c:v>44684</c:v>
                      </c:pt>
                      <c:pt idx="854">
                        <c:v>44685</c:v>
                      </c:pt>
                      <c:pt idx="855">
                        <c:v>44686</c:v>
                      </c:pt>
                      <c:pt idx="856">
                        <c:v>44687</c:v>
                      </c:pt>
                      <c:pt idx="857">
                        <c:v>44688</c:v>
                      </c:pt>
                      <c:pt idx="858">
                        <c:v>44689</c:v>
                      </c:pt>
                      <c:pt idx="859">
                        <c:v>44690</c:v>
                      </c:pt>
                      <c:pt idx="860">
                        <c:v>44691</c:v>
                      </c:pt>
                      <c:pt idx="861">
                        <c:v>44692</c:v>
                      </c:pt>
                      <c:pt idx="862">
                        <c:v>44693</c:v>
                      </c:pt>
                      <c:pt idx="863">
                        <c:v>44694</c:v>
                      </c:pt>
                      <c:pt idx="864">
                        <c:v>44695</c:v>
                      </c:pt>
                      <c:pt idx="865">
                        <c:v>44696</c:v>
                      </c:pt>
                      <c:pt idx="866">
                        <c:v>44697</c:v>
                      </c:pt>
                      <c:pt idx="867">
                        <c:v>44698</c:v>
                      </c:pt>
                      <c:pt idx="868">
                        <c:v>44699</c:v>
                      </c:pt>
                      <c:pt idx="869">
                        <c:v>44700</c:v>
                      </c:pt>
                      <c:pt idx="870">
                        <c:v>44701</c:v>
                      </c:pt>
                      <c:pt idx="871">
                        <c:v>44702</c:v>
                      </c:pt>
                      <c:pt idx="872">
                        <c:v>44703</c:v>
                      </c:pt>
                      <c:pt idx="873">
                        <c:v>44704</c:v>
                      </c:pt>
                      <c:pt idx="874">
                        <c:v>44705</c:v>
                      </c:pt>
                      <c:pt idx="875">
                        <c:v>44706</c:v>
                      </c:pt>
                      <c:pt idx="876">
                        <c:v>44707</c:v>
                      </c:pt>
                      <c:pt idx="877">
                        <c:v>44708</c:v>
                      </c:pt>
                      <c:pt idx="878">
                        <c:v>44709</c:v>
                      </c:pt>
                      <c:pt idx="879">
                        <c:v>44710</c:v>
                      </c:pt>
                      <c:pt idx="880">
                        <c:v>44711</c:v>
                      </c:pt>
                      <c:pt idx="881">
                        <c:v>44712</c:v>
                      </c:pt>
                      <c:pt idx="882">
                        <c:v>44713</c:v>
                      </c:pt>
                      <c:pt idx="883">
                        <c:v>44714</c:v>
                      </c:pt>
                      <c:pt idx="884">
                        <c:v>44715</c:v>
                      </c:pt>
                      <c:pt idx="885">
                        <c:v>44716</c:v>
                      </c:pt>
                      <c:pt idx="886">
                        <c:v>44717</c:v>
                      </c:pt>
                      <c:pt idx="887">
                        <c:v>44718</c:v>
                      </c:pt>
                      <c:pt idx="888">
                        <c:v>44719</c:v>
                      </c:pt>
                      <c:pt idx="889">
                        <c:v>44720</c:v>
                      </c:pt>
                      <c:pt idx="890">
                        <c:v>44721</c:v>
                      </c:pt>
                      <c:pt idx="891">
                        <c:v>44722</c:v>
                      </c:pt>
                      <c:pt idx="892">
                        <c:v>44723</c:v>
                      </c:pt>
                      <c:pt idx="893">
                        <c:v>44724</c:v>
                      </c:pt>
                      <c:pt idx="894">
                        <c:v>44725</c:v>
                      </c:pt>
                      <c:pt idx="895">
                        <c:v>44726</c:v>
                      </c:pt>
                      <c:pt idx="896">
                        <c:v>44727</c:v>
                      </c:pt>
                      <c:pt idx="897">
                        <c:v>44728</c:v>
                      </c:pt>
                      <c:pt idx="898">
                        <c:v>44729</c:v>
                      </c:pt>
                      <c:pt idx="899">
                        <c:v>44730</c:v>
                      </c:pt>
                      <c:pt idx="900">
                        <c:v>44731</c:v>
                      </c:pt>
                      <c:pt idx="901">
                        <c:v>44732</c:v>
                      </c:pt>
                      <c:pt idx="902">
                        <c:v>44733</c:v>
                      </c:pt>
                      <c:pt idx="903">
                        <c:v>44734</c:v>
                      </c:pt>
                      <c:pt idx="904">
                        <c:v>44735</c:v>
                      </c:pt>
                      <c:pt idx="905">
                        <c:v>44736</c:v>
                      </c:pt>
                      <c:pt idx="906">
                        <c:v>44737</c:v>
                      </c:pt>
                      <c:pt idx="907">
                        <c:v>44738</c:v>
                      </c:pt>
                      <c:pt idx="908">
                        <c:v>44739</c:v>
                      </c:pt>
                      <c:pt idx="909">
                        <c:v>44740</c:v>
                      </c:pt>
                      <c:pt idx="910">
                        <c:v>44741</c:v>
                      </c:pt>
                      <c:pt idx="911">
                        <c:v>44742</c:v>
                      </c:pt>
                      <c:pt idx="912">
                        <c:v>44743</c:v>
                      </c:pt>
                      <c:pt idx="913">
                        <c:v>44744</c:v>
                      </c:pt>
                      <c:pt idx="914">
                        <c:v>44745</c:v>
                      </c:pt>
                      <c:pt idx="915">
                        <c:v>44746</c:v>
                      </c:pt>
                      <c:pt idx="916">
                        <c:v>44747</c:v>
                      </c:pt>
                      <c:pt idx="917">
                        <c:v>44748</c:v>
                      </c:pt>
                      <c:pt idx="918">
                        <c:v>44749</c:v>
                      </c:pt>
                      <c:pt idx="919">
                        <c:v>44750</c:v>
                      </c:pt>
                      <c:pt idx="920">
                        <c:v>44751</c:v>
                      </c:pt>
                      <c:pt idx="921">
                        <c:v>44752</c:v>
                      </c:pt>
                      <c:pt idx="922">
                        <c:v>44753</c:v>
                      </c:pt>
                      <c:pt idx="923">
                        <c:v>44754</c:v>
                      </c:pt>
                      <c:pt idx="924">
                        <c:v>44755</c:v>
                      </c:pt>
                      <c:pt idx="925">
                        <c:v>44756</c:v>
                      </c:pt>
                      <c:pt idx="926">
                        <c:v>44757</c:v>
                      </c:pt>
                      <c:pt idx="927">
                        <c:v>44758</c:v>
                      </c:pt>
                      <c:pt idx="928">
                        <c:v>44759</c:v>
                      </c:pt>
                      <c:pt idx="929">
                        <c:v>44760</c:v>
                      </c:pt>
                      <c:pt idx="930">
                        <c:v>44761</c:v>
                      </c:pt>
                      <c:pt idx="931">
                        <c:v>44762</c:v>
                      </c:pt>
                      <c:pt idx="932">
                        <c:v>44763</c:v>
                      </c:pt>
                      <c:pt idx="933">
                        <c:v>44764</c:v>
                      </c:pt>
                      <c:pt idx="934">
                        <c:v>44765</c:v>
                      </c:pt>
                      <c:pt idx="935">
                        <c:v>44766</c:v>
                      </c:pt>
                      <c:pt idx="936">
                        <c:v>44767</c:v>
                      </c:pt>
                      <c:pt idx="937">
                        <c:v>44768</c:v>
                      </c:pt>
                      <c:pt idx="938">
                        <c:v>44769</c:v>
                      </c:pt>
                      <c:pt idx="939">
                        <c:v>44770</c:v>
                      </c:pt>
                      <c:pt idx="940">
                        <c:v>44771</c:v>
                      </c:pt>
                      <c:pt idx="941">
                        <c:v>44772</c:v>
                      </c:pt>
                      <c:pt idx="942">
                        <c:v>44773</c:v>
                      </c:pt>
                      <c:pt idx="943">
                        <c:v>44774</c:v>
                      </c:pt>
                      <c:pt idx="944">
                        <c:v>44775</c:v>
                      </c:pt>
                      <c:pt idx="945">
                        <c:v>44776</c:v>
                      </c:pt>
                      <c:pt idx="946">
                        <c:v>44777</c:v>
                      </c:pt>
                      <c:pt idx="947">
                        <c:v>44778</c:v>
                      </c:pt>
                      <c:pt idx="948">
                        <c:v>44779</c:v>
                      </c:pt>
                      <c:pt idx="949">
                        <c:v>44780</c:v>
                      </c:pt>
                      <c:pt idx="950">
                        <c:v>44781</c:v>
                      </c:pt>
                      <c:pt idx="951">
                        <c:v>44782</c:v>
                      </c:pt>
                      <c:pt idx="952">
                        <c:v>44783</c:v>
                      </c:pt>
                      <c:pt idx="953">
                        <c:v>44784</c:v>
                      </c:pt>
                      <c:pt idx="954">
                        <c:v>44785</c:v>
                      </c:pt>
                      <c:pt idx="955">
                        <c:v>44786</c:v>
                      </c:pt>
                      <c:pt idx="956">
                        <c:v>44787</c:v>
                      </c:pt>
                      <c:pt idx="957">
                        <c:v>44788</c:v>
                      </c:pt>
                      <c:pt idx="958">
                        <c:v>44789</c:v>
                      </c:pt>
                      <c:pt idx="959">
                        <c:v>44790</c:v>
                      </c:pt>
                      <c:pt idx="960">
                        <c:v>44791</c:v>
                      </c:pt>
                      <c:pt idx="961">
                        <c:v>44792</c:v>
                      </c:pt>
                      <c:pt idx="962">
                        <c:v>44793</c:v>
                      </c:pt>
                      <c:pt idx="963">
                        <c:v>44794</c:v>
                      </c:pt>
                      <c:pt idx="964">
                        <c:v>44795</c:v>
                      </c:pt>
                      <c:pt idx="965">
                        <c:v>44796</c:v>
                      </c:pt>
                      <c:pt idx="966">
                        <c:v>44797</c:v>
                      </c:pt>
                      <c:pt idx="967">
                        <c:v>44798</c:v>
                      </c:pt>
                      <c:pt idx="968">
                        <c:v>44799</c:v>
                      </c:pt>
                      <c:pt idx="969">
                        <c:v>44800</c:v>
                      </c:pt>
                      <c:pt idx="970">
                        <c:v>44801</c:v>
                      </c:pt>
                      <c:pt idx="971">
                        <c:v>44802</c:v>
                      </c:pt>
                      <c:pt idx="972">
                        <c:v>44803</c:v>
                      </c:pt>
                      <c:pt idx="973">
                        <c:v>44804</c:v>
                      </c:pt>
                      <c:pt idx="974">
                        <c:v>44805</c:v>
                      </c:pt>
                      <c:pt idx="975">
                        <c:v>44806</c:v>
                      </c:pt>
                      <c:pt idx="976">
                        <c:v>44807</c:v>
                      </c:pt>
                      <c:pt idx="977">
                        <c:v>44808</c:v>
                      </c:pt>
                      <c:pt idx="978">
                        <c:v>44809</c:v>
                      </c:pt>
                      <c:pt idx="979">
                        <c:v>44810</c:v>
                      </c:pt>
                      <c:pt idx="980">
                        <c:v>44811</c:v>
                      </c:pt>
                      <c:pt idx="981">
                        <c:v>44812</c:v>
                      </c:pt>
                      <c:pt idx="982">
                        <c:v>44813</c:v>
                      </c:pt>
                      <c:pt idx="983">
                        <c:v>44814</c:v>
                      </c:pt>
                      <c:pt idx="984">
                        <c:v>44815</c:v>
                      </c:pt>
                      <c:pt idx="985">
                        <c:v>44816</c:v>
                      </c:pt>
                      <c:pt idx="986">
                        <c:v>44817</c:v>
                      </c:pt>
                      <c:pt idx="987">
                        <c:v>44818</c:v>
                      </c:pt>
                      <c:pt idx="988">
                        <c:v>44819</c:v>
                      </c:pt>
                      <c:pt idx="989">
                        <c:v>44820</c:v>
                      </c:pt>
                      <c:pt idx="990">
                        <c:v>44821</c:v>
                      </c:pt>
                      <c:pt idx="991">
                        <c:v>44822</c:v>
                      </c:pt>
                      <c:pt idx="992">
                        <c:v>44823</c:v>
                      </c:pt>
                      <c:pt idx="993">
                        <c:v>44824</c:v>
                      </c:pt>
                      <c:pt idx="994">
                        <c:v>44825</c:v>
                      </c:pt>
                      <c:pt idx="995">
                        <c:v>44826</c:v>
                      </c:pt>
                      <c:pt idx="996">
                        <c:v>44827</c:v>
                      </c:pt>
                      <c:pt idx="997">
                        <c:v>44828</c:v>
                      </c:pt>
                      <c:pt idx="998">
                        <c:v>44829</c:v>
                      </c:pt>
                      <c:pt idx="999">
                        <c:v>44830</c:v>
                      </c:pt>
                      <c:pt idx="1000">
                        <c:v>44831</c:v>
                      </c:pt>
                      <c:pt idx="1001">
                        <c:v>44832</c:v>
                      </c:pt>
                      <c:pt idx="1002">
                        <c:v>44833</c:v>
                      </c:pt>
                      <c:pt idx="1003">
                        <c:v>44834</c:v>
                      </c:pt>
                      <c:pt idx="1004">
                        <c:v>44835</c:v>
                      </c:pt>
                      <c:pt idx="1005">
                        <c:v>44836</c:v>
                      </c:pt>
                      <c:pt idx="1006">
                        <c:v>44837</c:v>
                      </c:pt>
                      <c:pt idx="1007">
                        <c:v>44838</c:v>
                      </c:pt>
                      <c:pt idx="1008">
                        <c:v>44839</c:v>
                      </c:pt>
                      <c:pt idx="1009">
                        <c:v>44840</c:v>
                      </c:pt>
                      <c:pt idx="1010">
                        <c:v>44841</c:v>
                      </c:pt>
                      <c:pt idx="1011">
                        <c:v>44842</c:v>
                      </c:pt>
                      <c:pt idx="1012">
                        <c:v>44843</c:v>
                      </c:pt>
                      <c:pt idx="1013">
                        <c:v>44844</c:v>
                      </c:pt>
                      <c:pt idx="1014">
                        <c:v>44845</c:v>
                      </c:pt>
                      <c:pt idx="1015">
                        <c:v>44846</c:v>
                      </c:pt>
                      <c:pt idx="1016">
                        <c:v>44847</c:v>
                      </c:pt>
                      <c:pt idx="1017">
                        <c:v>44848</c:v>
                      </c:pt>
                      <c:pt idx="1018">
                        <c:v>44849</c:v>
                      </c:pt>
                      <c:pt idx="1019">
                        <c:v>44850</c:v>
                      </c:pt>
                      <c:pt idx="1020">
                        <c:v>44851</c:v>
                      </c:pt>
                      <c:pt idx="1021">
                        <c:v>44852</c:v>
                      </c:pt>
                      <c:pt idx="1022">
                        <c:v>44853</c:v>
                      </c:pt>
                      <c:pt idx="1023">
                        <c:v>44854</c:v>
                      </c:pt>
                      <c:pt idx="1024">
                        <c:v>44855</c:v>
                      </c:pt>
                      <c:pt idx="1025">
                        <c:v>44856</c:v>
                      </c:pt>
                      <c:pt idx="1026">
                        <c:v>44857</c:v>
                      </c:pt>
                      <c:pt idx="1027">
                        <c:v>44858</c:v>
                      </c:pt>
                      <c:pt idx="1028">
                        <c:v>44859</c:v>
                      </c:pt>
                      <c:pt idx="1029">
                        <c:v>44860</c:v>
                      </c:pt>
                      <c:pt idx="1030">
                        <c:v>44861</c:v>
                      </c:pt>
                      <c:pt idx="1031">
                        <c:v>44862</c:v>
                      </c:pt>
                      <c:pt idx="1032">
                        <c:v>44863</c:v>
                      </c:pt>
                      <c:pt idx="1033">
                        <c:v>44864</c:v>
                      </c:pt>
                      <c:pt idx="1034">
                        <c:v>44865</c:v>
                      </c:pt>
                      <c:pt idx="1035">
                        <c:v>44866</c:v>
                      </c:pt>
                      <c:pt idx="1036">
                        <c:v>44867</c:v>
                      </c:pt>
                      <c:pt idx="1037">
                        <c:v>44868</c:v>
                      </c:pt>
                      <c:pt idx="1038">
                        <c:v>44869</c:v>
                      </c:pt>
                      <c:pt idx="1039">
                        <c:v>44870</c:v>
                      </c:pt>
                      <c:pt idx="1040">
                        <c:v>44871</c:v>
                      </c:pt>
                      <c:pt idx="1041">
                        <c:v>44872</c:v>
                      </c:pt>
                      <c:pt idx="1042">
                        <c:v>44873</c:v>
                      </c:pt>
                      <c:pt idx="1043">
                        <c:v>44874</c:v>
                      </c:pt>
                      <c:pt idx="1044">
                        <c:v>44875</c:v>
                      </c:pt>
                      <c:pt idx="1045">
                        <c:v>44876</c:v>
                      </c:pt>
                      <c:pt idx="1046">
                        <c:v>44877</c:v>
                      </c:pt>
                      <c:pt idx="1047">
                        <c:v>44878</c:v>
                      </c:pt>
                      <c:pt idx="1048">
                        <c:v>44879</c:v>
                      </c:pt>
                      <c:pt idx="1049">
                        <c:v>44880</c:v>
                      </c:pt>
                      <c:pt idx="1050">
                        <c:v>44881</c:v>
                      </c:pt>
                      <c:pt idx="1051">
                        <c:v>44882</c:v>
                      </c:pt>
                      <c:pt idx="1052">
                        <c:v>44883</c:v>
                      </c:pt>
                      <c:pt idx="1053">
                        <c:v>44884</c:v>
                      </c:pt>
                      <c:pt idx="1054">
                        <c:v>44885</c:v>
                      </c:pt>
                      <c:pt idx="1055">
                        <c:v>44886</c:v>
                      </c:pt>
                      <c:pt idx="1056">
                        <c:v>44887</c:v>
                      </c:pt>
                      <c:pt idx="1057">
                        <c:v>44888</c:v>
                      </c:pt>
                      <c:pt idx="1058">
                        <c:v>44889</c:v>
                      </c:pt>
                      <c:pt idx="1059">
                        <c:v>44890</c:v>
                      </c:pt>
                      <c:pt idx="1060">
                        <c:v>44891</c:v>
                      </c:pt>
                      <c:pt idx="1061">
                        <c:v>44892</c:v>
                      </c:pt>
                      <c:pt idx="1062">
                        <c:v>44893</c:v>
                      </c:pt>
                      <c:pt idx="1063">
                        <c:v>44894</c:v>
                      </c:pt>
                      <c:pt idx="1064">
                        <c:v>44895</c:v>
                      </c:pt>
                      <c:pt idx="1065">
                        <c:v>44896</c:v>
                      </c:pt>
                      <c:pt idx="1066">
                        <c:v>44897</c:v>
                      </c:pt>
                      <c:pt idx="1067">
                        <c:v>44898</c:v>
                      </c:pt>
                      <c:pt idx="1068">
                        <c:v>44899</c:v>
                      </c:pt>
                      <c:pt idx="1069">
                        <c:v>44900</c:v>
                      </c:pt>
                      <c:pt idx="1070">
                        <c:v>44901</c:v>
                      </c:pt>
                      <c:pt idx="1071">
                        <c:v>44902</c:v>
                      </c:pt>
                      <c:pt idx="1072">
                        <c:v>44903</c:v>
                      </c:pt>
                      <c:pt idx="1073">
                        <c:v>44904</c:v>
                      </c:pt>
                      <c:pt idx="1074">
                        <c:v>44905</c:v>
                      </c:pt>
                      <c:pt idx="1075">
                        <c:v>44906</c:v>
                      </c:pt>
                      <c:pt idx="1076">
                        <c:v>44907</c:v>
                      </c:pt>
                      <c:pt idx="1077">
                        <c:v>44908</c:v>
                      </c:pt>
                      <c:pt idx="1078">
                        <c:v>44909</c:v>
                      </c:pt>
                      <c:pt idx="1079">
                        <c:v>44910</c:v>
                      </c:pt>
                      <c:pt idx="1080">
                        <c:v>44911</c:v>
                      </c:pt>
                      <c:pt idx="1081">
                        <c:v>44912</c:v>
                      </c:pt>
                      <c:pt idx="1082">
                        <c:v>44913</c:v>
                      </c:pt>
                      <c:pt idx="1083">
                        <c:v>44914</c:v>
                      </c:pt>
                      <c:pt idx="1084">
                        <c:v>44915</c:v>
                      </c:pt>
                      <c:pt idx="1085">
                        <c:v>44916</c:v>
                      </c:pt>
                      <c:pt idx="1086">
                        <c:v>44917</c:v>
                      </c:pt>
                      <c:pt idx="1087">
                        <c:v>44918</c:v>
                      </c:pt>
                      <c:pt idx="1088">
                        <c:v>44919</c:v>
                      </c:pt>
                      <c:pt idx="1089">
                        <c:v>44920</c:v>
                      </c:pt>
                      <c:pt idx="1090">
                        <c:v>44921</c:v>
                      </c:pt>
                      <c:pt idx="1091">
                        <c:v>44922</c:v>
                      </c:pt>
                      <c:pt idx="1092">
                        <c:v>44923</c:v>
                      </c:pt>
                      <c:pt idx="1093">
                        <c:v>44924</c:v>
                      </c:pt>
                      <c:pt idx="1094">
                        <c:v>44925</c:v>
                      </c:pt>
                      <c:pt idx="1095">
                        <c:v>44926</c:v>
                      </c:pt>
                      <c:pt idx="1096">
                        <c:v>44927</c:v>
                      </c:pt>
                      <c:pt idx="1097">
                        <c:v>44928</c:v>
                      </c:pt>
                      <c:pt idx="1098">
                        <c:v>44929</c:v>
                      </c:pt>
                      <c:pt idx="1099">
                        <c:v>44930</c:v>
                      </c:pt>
                      <c:pt idx="1100">
                        <c:v>44931</c:v>
                      </c:pt>
                      <c:pt idx="1101">
                        <c:v>44932</c:v>
                      </c:pt>
                      <c:pt idx="1102">
                        <c:v>44933</c:v>
                      </c:pt>
                      <c:pt idx="1103">
                        <c:v>44934</c:v>
                      </c:pt>
                      <c:pt idx="1104">
                        <c:v>44935</c:v>
                      </c:pt>
                      <c:pt idx="1105">
                        <c:v>44936</c:v>
                      </c:pt>
                      <c:pt idx="1106">
                        <c:v>44937</c:v>
                      </c:pt>
                      <c:pt idx="1107">
                        <c:v>44938</c:v>
                      </c:pt>
                      <c:pt idx="1108">
                        <c:v>44939</c:v>
                      </c:pt>
                      <c:pt idx="1109">
                        <c:v>44940</c:v>
                      </c:pt>
                      <c:pt idx="1110">
                        <c:v>44941</c:v>
                      </c:pt>
                      <c:pt idx="1111">
                        <c:v>44942</c:v>
                      </c:pt>
                      <c:pt idx="1112">
                        <c:v>44943</c:v>
                      </c:pt>
                      <c:pt idx="1113">
                        <c:v>44944</c:v>
                      </c:pt>
                      <c:pt idx="1114">
                        <c:v>44945</c:v>
                      </c:pt>
                      <c:pt idx="1115">
                        <c:v>44946</c:v>
                      </c:pt>
                      <c:pt idx="1116">
                        <c:v>44947</c:v>
                      </c:pt>
                      <c:pt idx="1117">
                        <c:v>44948</c:v>
                      </c:pt>
                      <c:pt idx="1118">
                        <c:v>44949</c:v>
                      </c:pt>
                      <c:pt idx="1119">
                        <c:v>44950</c:v>
                      </c:pt>
                      <c:pt idx="1120">
                        <c:v>44951</c:v>
                      </c:pt>
                      <c:pt idx="1121">
                        <c:v>44952</c:v>
                      </c:pt>
                      <c:pt idx="1122">
                        <c:v>44953</c:v>
                      </c:pt>
                      <c:pt idx="1123">
                        <c:v>44954</c:v>
                      </c:pt>
                      <c:pt idx="1124">
                        <c:v>44955</c:v>
                      </c:pt>
                      <c:pt idx="1125">
                        <c:v>44956</c:v>
                      </c:pt>
                      <c:pt idx="1126">
                        <c:v>44957</c:v>
                      </c:pt>
                      <c:pt idx="1127">
                        <c:v>44958</c:v>
                      </c:pt>
                      <c:pt idx="1128">
                        <c:v>44959</c:v>
                      </c:pt>
                      <c:pt idx="1129">
                        <c:v>44960</c:v>
                      </c:pt>
                      <c:pt idx="1130">
                        <c:v>44961</c:v>
                      </c:pt>
                      <c:pt idx="1131">
                        <c:v>44962</c:v>
                      </c:pt>
                      <c:pt idx="1132">
                        <c:v>44963</c:v>
                      </c:pt>
                      <c:pt idx="1133">
                        <c:v>44964</c:v>
                      </c:pt>
                      <c:pt idx="1134">
                        <c:v>44965</c:v>
                      </c:pt>
                      <c:pt idx="1135">
                        <c:v>44966</c:v>
                      </c:pt>
                      <c:pt idx="1136">
                        <c:v>44967</c:v>
                      </c:pt>
                      <c:pt idx="1137">
                        <c:v>44968</c:v>
                      </c:pt>
                      <c:pt idx="1138">
                        <c:v>44969</c:v>
                      </c:pt>
                      <c:pt idx="1139">
                        <c:v>44970</c:v>
                      </c:pt>
                      <c:pt idx="1140">
                        <c:v>44971</c:v>
                      </c:pt>
                      <c:pt idx="1141">
                        <c:v>44972</c:v>
                      </c:pt>
                      <c:pt idx="1142">
                        <c:v>44973</c:v>
                      </c:pt>
                      <c:pt idx="1143">
                        <c:v>44974</c:v>
                      </c:pt>
                      <c:pt idx="1144">
                        <c:v>44975</c:v>
                      </c:pt>
                      <c:pt idx="1145">
                        <c:v>44976</c:v>
                      </c:pt>
                      <c:pt idx="1146">
                        <c:v>44977</c:v>
                      </c:pt>
                      <c:pt idx="1147">
                        <c:v>44978</c:v>
                      </c:pt>
                      <c:pt idx="1148">
                        <c:v>44979</c:v>
                      </c:pt>
                      <c:pt idx="1149">
                        <c:v>44980</c:v>
                      </c:pt>
                      <c:pt idx="1150">
                        <c:v>44981</c:v>
                      </c:pt>
                      <c:pt idx="1151">
                        <c:v>44982</c:v>
                      </c:pt>
                      <c:pt idx="1152">
                        <c:v>44983</c:v>
                      </c:pt>
                      <c:pt idx="1153">
                        <c:v>44984</c:v>
                      </c:pt>
                      <c:pt idx="1154">
                        <c:v>44985</c:v>
                      </c:pt>
                      <c:pt idx="1155">
                        <c:v>44986</c:v>
                      </c:pt>
                      <c:pt idx="1156">
                        <c:v>44987</c:v>
                      </c:pt>
                      <c:pt idx="1157">
                        <c:v>44988</c:v>
                      </c:pt>
                      <c:pt idx="1158">
                        <c:v>44989</c:v>
                      </c:pt>
                      <c:pt idx="1159">
                        <c:v>44990</c:v>
                      </c:pt>
                      <c:pt idx="1160">
                        <c:v>44991</c:v>
                      </c:pt>
                      <c:pt idx="1161">
                        <c:v>44992</c:v>
                      </c:pt>
                      <c:pt idx="1162">
                        <c:v>44993</c:v>
                      </c:pt>
                      <c:pt idx="1163">
                        <c:v>44994</c:v>
                      </c:pt>
                      <c:pt idx="1164">
                        <c:v>44995</c:v>
                      </c:pt>
                      <c:pt idx="1165">
                        <c:v>44996</c:v>
                      </c:pt>
                      <c:pt idx="1166">
                        <c:v>44997</c:v>
                      </c:pt>
                      <c:pt idx="1167">
                        <c:v>44998</c:v>
                      </c:pt>
                      <c:pt idx="1168">
                        <c:v>44999</c:v>
                      </c:pt>
                      <c:pt idx="1169">
                        <c:v>45000</c:v>
                      </c:pt>
                      <c:pt idx="1170">
                        <c:v>45001</c:v>
                      </c:pt>
                      <c:pt idx="1171">
                        <c:v>45002</c:v>
                      </c:pt>
                      <c:pt idx="1172">
                        <c:v>45003</c:v>
                      </c:pt>
                      <c:pt idx="1173">
                        <c:v>45004</c:v>
                      </c:pt>
                      <c:pt idx="1174">
                        <c:v>45005</c:v>
                      </c:pt>
                      <c:pt idx="1175">
                        <c:v>45006</c:v>
                      </c:pt>
                      <c:pt idx="1176">
                        <c:v>45007</c:v>
                      </c:pt>
                      <c:pt idx="1177">
                        <c:v>45008</c:v>
                      </c:pt>
                      <c:pt idx="1178">
                        <c:v>45009</c:v>
                      </c:pt>
                      <c:pt idx="1179">
                        <c:v>45010</c:v>
                      </c:pt>
                      <c:pt idx="1180">
                        <c:v>45011</c:v>
                      </c:pt>
                      <c:pt idx="1181">
                        <c:v>45012</c:v>
                      </c:pt>
                      <c:pt idx="1182">
                        <c:v>45013</c:v>
                      </c:pt>
                      <c:pt idx="1183">
                        <c:v>45014</c:v>
                      </c:pt>
                      <c:pt idx="1184">
                        <c:v>45015</c:v>
                      </c:pt>
                      <c:pt idx="1185">
                        <c:v>45016</c:v>
                      </c:pt>
                      <c:pt idx="1186">
                        <c:v>45017</c:v>
                      </c:pt>
                      <c:pt idx="1187">
                        <c:v>45018</c:v>
                      </c:pt>
                      <c:pt idx="1188">
                        <c:v>45019</c:v>
                      </c:pt>
                      <c:pt idx="1189">
                        <c:v>45020</c:v>
                      </c:pt>
                      <c:pt idx="1190">
                        <c:v>45021</c:v>
                      </c:pt>
                      <c:pt idx="1191">
                        <c:v>45022</c:v>
                      </c:pt>
                      <c:pt idx="1192">
                        <c:v>45023</c:v>
                      </c:pt>
                      <c:pt idx="1193">
                        <c:v>45024</c:v>
                      </c:pt>
                      <c:pt idx="1194">
                        <c:v>45025</c:v>
                      </c:pt>
                      <c:pt idx="1195">
                        <c:v>45026</c:v>
                      </c:pt>
                      <c:pt idx="1196">
                        <c:v>45027</c:v>
                      </c:pt>
                      <c:pt idx="1197">
                        <c:v>45028</c:v>
                      </c:pt>
                      <c:pt idx="1198">
                        <c:v>45029</c:v>
                      </c:pt>
                      <c:pt idx="1199">
                        <c:v>45030</c:v>
                      </c:pt>
                      <c:pt idx="1200">
                        <c:v>45031</c:v>
                      </c:pt>
                      <c:pt idx="1201">
                        <c:v>45032</c:v>
                      </c:pt>
                      <c:pt idx="1202">
                        <c:v>45033</c:v>
                      </c:pt>
                      <c:pt idx="1203">
                        <c:v>45034</c:v>
                      </c:pt>
                      <c:pt idx="1204">
                        <c:v>45035</c:v>
                      </c:pt>
                      <c:pt idx="1205">
                        <c:v>45036</c:v>
                      </c:pt>
                      <c:pt idx="1206">
                        <c:v>45037</c:v>
                      </c:pt>
                      <c:pt idx="1207">
                        <c:v>45038</c:v>
                      </c:pt>
                      <c:pt idx="1208">
                        <c:v>45039</c:v>
                      </c:pt>
                      <c:pt idx="1209">
                        <c:v>45040</c:v>
                      </c:pt>
                      <c:pt idx="1210">
                        <c:v>45041</c:v>
                      </c:pt>
                      <c:pt idx="1211">
                        <c:v>45042</c:v>
                      </c:pt>
                      <c:pt idx="1212">
                        <c:v>45043</c:v>
                      </c:pt>
                      <c:pt idx="1213">
                        <c:v>45044</c:v>
                      </c:pt>
                      <c:pt idx="1214">
                        <c:v>45045</c:v>
                      </c:pt>
                      <c:pt idx="1215">
                        <c:v>45046</c:v>
                      </c:pt>
                      <c:pt idx="1216">
                        <c:v>45047</c:v>
                      </c:pt>
                      <c:pt idx="1217">
                        <c:v>45048</c:v>
                      </c:pt>
                      <c:pt idx="1218">
                        <c:v>45049</c:v>
                      </c:pt>
                      <c:pt idx="1219">
                        <c:v>45050</c:v>
                      </c:pt>
                      <c:pt idx="1220">
                        <c:v>45051</c:v>
                      </c:pt>
                      <c:pt idx="1221">
                        <c:v>45052</c:v>
                      </c:pt>
                      <c:pt idx="1222">
                        <c:v>45053</c:v>
                      </c:pt>
                      <c:pt idx="1223">
                        <c:v>45054</c:v>
                      </c:pt>
                      <c:pt idx="1224">
                        <c:v>45055</c:v>
                      </c:pt>
                      <c:pt idx="1225">
                        <c:v>45056</c:v>
                      </c:pt>
                      <c:pt idx="1226">
                        <c:v>45057</c:v>
                      </c:pt>
                      <c:pt idx="1227">
                        <c:v>45058</c:v>
                      </c:pt>
                      <c:pt idx="1228">
                        <c:v>45059</c:v>
                      </c:pt>
                      <c:pt idx="1229">
                        <c:v>45060</c:v>
                      </c:pt>
                      <c:pt idx="1230">
                        <c:v>45061</c:v>
                      </c:pt>
                      <c:pt idx="1231">
                        <c:v>45062</c:v>
                      </c:pt>
                      <c:pt idx="1232">
                        <c:v>45063</c:v>
                      </c:pt>
                      <c:pt idx="1233">
                        <c:v>45064</c:v>
                      </c:pt>
                      <c:pt idx="1234">
                        <c:v>45065</c:v>
                      </c:pt>
                      <c:pt idx="1235">
                        <c:v>45066</c:v>
                      </c:pt>
                      <c:pt idx="1236">
                        <c:v>45067</c:v>
                      </c:pt>
                      <c:pt idx="1237">
                        <c:v>45068</c:v>
                      </c:pt>
                      <c:pt idx="1238">
                        <c:v>45069</c:v>
                      </c:pt>
                      <c:pt idx="1239">
                        <c:v>45070</c:v>
                      </c:pt>
                      <c:pt idx="1240">
                        <c:v>45071</c:v>
                      </c:pt>
                      <c:pt idx="1241">
                        <c:v>45072</c:v>
                      </c:pt>
                      <c:pt idx="1242">
                        <c:v>45073</c:v>
                      </c:pt>
                      <c:pt idx="1243">
                        <c:v>45074</c:v>
                      </c:pt>
                      <c:pt idx="1244">
                        <c:v>45075</c:v>
                      </c:pt>
                      <c:pt idx="1245">
                        <c:v>45076</c:v>
                      </c:pt>
                      <c:pt idx="1246">
                        <c:v>45077</c:v>
                      </c:pt>
                      <c:pt idx="1247">
                        <c:v>45078</c:v>
                      </c:pt>
                      <c:pt idx="1248">
                        <c:v>45079</c:v>
                      </c:pt>
                      <c:pt idx="1249">
                        <c:v>45080</c:v>
                      </c:pt>
                      <c:pt idx="1250">
                        <c:v>45081</c:v>
                      </c:pt>
                      <c:pt idx="1251">
                        <c:v>45082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Fyldningsgrad_År!$AX$8:$AX$372</c15:sqref>
                        </c15:formulaRef>
                      </c:ext>
                    </c:extLst>
                    <c:numCache>
                      <c:formatCode>0.0%</c:formatCode>
                      <c:ptCount val="365"/>
                      <c:pt idx="0">
                        <c:v>0.75599999999999989</c:v>
                      </c:pt>
                      <c:pt idx="1">
                        <c:v>0.75370000000000004</c:v>
                      </c:pt>
                      <c:pt idx="2">
                        <c:v>0.74819999999999998</c:v>
                      </c:pt>
                      <c:pt idx="3">
                        <c:v>0.74450000000000005</c:v>
                      </c:pt>
                      <c:pt idx="4">
                        <c:v>0.74329999999999996</c:v>
                      </c:pt>
                      <c:pt idx="5">
                        <c:v>0.74219999999999997</c:v>
                      </c:pt>
                      <c:pt idx="6">
                        <c:v>0.74</c:v>
                      </c:pt>
                      <c:pt idx="7">
                        <c:v>0.73860000000000003</c:v>
                      </c:pt>
                      <c:pt idx="8">
                        <c:v>0.73419999999999996</c:v>
                      </c:pt>
                      <c:pt idx="9">
                        <c:v>0.72860000000000003</c:v>
                      </c:pt>
                      <c:pt idx="10">
                        <c:v>0.72439999999999993</c:v>
                      </c:pt>
                      <c:pt idx="11">
                        <c:v>0.72260000000000002</c:v>
                      </c:pt>
                      <c:pt idx="12">
                        <c:v>0.72199999999999998</c:v>
                      </c:pt>
                      <c:pt idx="13">
                        <c:v>0.71900000000000008</c:v>
                      </c:pt>
                      <c:pt idx="14">
                        <c:v>0.71550000000000002</c:v>
                      </c:pt>
                      <c:pt idx="15">
                        <c:v>0.71209999999999996</c:v>
                      </c:pt>
                      <c:pt idx="16">
                        <c:v>0.70849999999999991</c:v>
                      </c:pt>
                      <c:pt idx="17">
                        <c:v>0.70239999999999991</c:v>
                      </c:pt>
                      <c:pt idx="18">
                        <c:v>0.69689999999999996</c:v>
                      </c:pt>
                      <c:pt idx="19">
                        <c:v>0.6905</c:v>
                      </c:pt>
                      <c:pt idx="20">
                        <c:v>0.68159999999999998</c:v>
                      </c:pt>
                      <c:pt idx="21">
                        <c:v>0.67330000000000001</c:v>
                      </c:pt>
                      <c:pt idx="22">
                        <c:v>0.66489999999999994</c:v>
                      </c:pt>
                      <c:pt idx="23">
                        <c:v>0.65670000000000006</c:v>
                      </c:pt>
                      <c:pt idx="24">
                        <c:v>0.64950000000000008</c:v>
                      </c:pt>
                      <c:pt idx="25">
                        <c:v>0.6462</c:v>
                      </c:pt>
                      <c:pt idx="26">
                        <c:v>0.64400000000000002</c:v>
                      </c:pt>
                      <c:pt idx="27">
                        <c:v>0.63950000000000007</c:v>
                      </c:pt>
                      <c:pt idx="28">
                        <c:v>0.63380000000000003</c:v>
                      </c:pt>
                      <c:pt idx="29">
                        <c:v>0.62819999999999998</c:v>
                      </c:pt>
                      <c:pt idx="30">
                        <c:v>0.62209999999999999</c:v>
                      </c:pt>
                      <c:pt idx="31">
                        <c:v>0.6169</c:v>
                      </c:pt>
                      <c:pt idx="32">
                        <c:v>0.61370000000000002</c:v>
                      </c:pt>
                      <c:pt idx="33">
                        <c:v>0.61030000000000006</c:v>
                      </c:pt>
                      <c:pt idx="34">
                        <c:v>0.60539999999999994</c:v>
                      </c:pt>
                      <c:pt idx="35">
                        <c:v>0.60040000000000004</c:v>
                      </c:pt>
                      <c:pt idx="36">
                        <c:v>0.59719999999999995</c:v>
                      </c:pt>
                      <c:pt idx="37">
                        <c:v>0.59530000000000005</c:v>
                      </c:pt>
                      <c:pt idx="38">
                        <c:v>0.59360000000000002</c:v>
                      </c:pt>
                      <c:pt idx="39">
                        <c:v>0.5927</c:v>
                      </c:pt>
                      <c:pt idx="40">
                        <c:v>0.59200000000000008</c:v>
                      </c:pt>
                      <c:pt idx="41">
                        <c:v>0.58889999999999998</c:v>
                      </c:pt>
                      <c:pt idx="42">
                        <c:v>0.58540000000000003</c:v>
                      </c:pt>
                      <c:pt idx="43">
                        <c:v>0.58240000000000003</c:v>
                      </c:pt>
                      <c:pt idx="44">
                        <c:v>0.58009999999999995</c:v>
                      </c:pt>
                      <c:pt idx="45">
                        <c:v>0.57909999999999995</c:v>
                      </c:pt>
                      <c:pt idx="46">
                        <c:v>0.57909999999999995</c:v>
                      </c:pt>
                      <c:pt idx="47">
                        <c:v>0.5796</c:v>
                      </c:pt>
                      <c:pt idx="48">
                        <c:v>0.57899999999999996</c:v>
                      </c:pt>
                      <c:pt idx="49">
                        <c:v>0.5776</c:v>
                      </c:pt>
                      <c:pt idx="50">
                        <c:v>0.57609999999999995</c:v>
                      </c:pt>
                      <c:pt idx="51">
                        <c:v>0.54310000000000003</c:v>
                      </c:pt>
                      <c:pt idx="52">
                        <c:v>0.54170000000000007</c:v>
                      </c:pt>
                      <c:pt idx="53">
                        <c:v>0.54110000000000003</c:v>
                      </c:pt>
                      <c:pt idx="54">
                        <c:v>0.54049999999999998</c:v>
                      </c:pt>
                      <c:pt idx="55">
                        <c:v>0.53939999999999999</c:v>
                      </c:pt>
                      <c:pt idx="56">
                        <c:v>0.54020000000000001</c:v>
                      </c:pt>
                      <c:pt idx="57">
                        <c:v>0.53969999999999996</c:v>
                      </c:pt>
                      <c:pt idx="58">
                        <c:v>0.53949999999999998</c:v>
                      </c:pt>
                      <c:pt idx="59">
                        <c:v>0.53770000000000007</c:v>
                      </c:pt>
                      <c:pt idx="60">
                        <c:v>0.53799999999999992</c:v>
                      </c:pt>
                      <c:pt idx="61">
                        <c:v>0.53859999999999997</c:v>
                      </c:pt>
                      <c:pt idx="62">
                        <c:v>0.53849999999999998</c:v>
                      </c:pt>
                      <c:pt idx="63">
                        <c:v>0.53759999999999997</c:v>
                      </c:pt>
                      <c:pt idx="64">
                        <c:v>0.53679999999999994</c:v>
                      </c:pt>
                      <c:pt idx="65">
                        <c:v>0.53749999999999998</c:v>
                      </c:pt>
                      <c:pt idx="66">
                        <c:v>0.53759999999999997</c:v>
                      </c:pt>
                      <c:pt idx="67">
                        <c:v>0.53820000000000001</c:v>
                      </c:pt>
                      <c:pt idx="68">
                        <c:v>0.53859999999999997</c:v>
                      </c:pt>
                      <c:pt idx="69">
                        <c:v>0.53739999999999999</c:v>
                      </c:pt>
                      <c:pt idx="70">
                        <c:v>0.53600000000000003</c:v>
                      </c:pt>
                      <c:pt idx="71">
                        <c:v>0.53539999999999999</c:v>
                      </c:pt>
                      <c:pt idx="72">
                        <c:v>0.53490000000000004</c:v>
                      </c:pt>
                      <c:pt idx="73">
                        <c:v>0.53520000000000001</c:v>
                      </c:pt>
                      <c:pt idx="74">
                        <c:v>0.5363</c:v>
                      </c:pt>
                      <c:pt idx="75">
                        <c:v>0.53749999999999998</c:v>
                      </c:pt>
                      <c:pt idx="76">
                        <c:v>0.53649999999999998</c:v>
                      </c:pt>
                      <c:pt idx="77">
                        <c:v>0.53500000000000003</c:v>
                      </c:pt>
                      <c:pt idx="78">
                        <c:v>0.53390000000000004</c:v>
                      </c:pt>
                      <c:pt idx="79">
                        <c:v>0.53380000000000005</c:v>
                      </c:pt>
                      <c:pt idx="80">
                        <c:v>0.53469999999999995</c:v>
                      </c:pt>
                      <c:pt idx="81">
                        <c:v>0.53720000000000001</c:v>
                      </c:pt>
                      <c:pt idx="82">
                        <c:v>0.53990000000000005</c:v>
                      </c:pt>
                      <c:pt idx="83">
                        <c:v>0.54020000000000001</c:v>
                      </c:pt>
                      <c:pt idx="84">
                        <c:v>0.53890000000000005</c:v>
                      </c:pt>
                      <c:pt idx="85">
                        <c:v>0.5383</c:v>
                      </c:pt>
                      <c:pt idx="86">
                        <c:v>0.53790000000000004</c:v>
                      </c:pt>
                      <c:pt idx="87">
                        <c:v>0.53820000000000001</c:v>
                      </c:pt>
                      <c:pt idx="88">
                        <c:v>0.54069999999999996</c:v>
                      </c:pt>
                      <c:pt idx="89">
                        <c:v>0.53759999999999997</c:v>
                      </c:pt>
                      <c:pt idx="90">
                        <c:v>0.55349999999999999</c:v>
                      </c:pt>
                      <c:pt idx="91">
                        <c:v>0.55889999999999995</c:v>
                      </c:pt>
                      <c:pt idx="92">
                        <c:v>0.56079999999999997</c:v>
                      </c:pt>
                      <c:pt idx="93">
                        <c:v>0.55630000000000002</c:v>
                      </c:pt>
                      <c:pt idx="94">
                        <c:v>0.55569999999999997</c:v>
                      </c:pt>
                      <c:pt idx="95">
                        <c:v>0.55770000000000008</c:v>
                      </c:pt>
                      <c:pt idx="96">
                        <c:v>0.5605</c:v>
                      </c:pt>
                      <c:pt idx="97">
                        <c:v>0.56240000000000001</c:v>
                      </c:pt>
                      <c:pt idx="98">
                        <c:v>0.56289999999999996</c:v>
                      </c:pt>
                      <c:pt idx="99">
                        <c:v>0.56279999999999997</c:v>
                      </c:pt>
                      <c:pt idx="100">
                        <c:v>0.56200000000000006</c:v>
                      </c:pt>
                      <c:pt idx="101">
                        <c:v>0.56119999999999992</c:v>
                      </c:pt>
                      <c:pt idx="102">
                        <c:v>0.56100000000000005</c:v>
                      </c:pt>
                      <c:pt idx="103">
                        <c:v>0.56140000000000001</c:v>
                      </c:pt>
                      <c:pt idx="104">
                        <c:v>0.56189999999999996</c:v>
                      </c:pt>
                      <c:pt idx="105">
                        <c:v>0.56420000000000003</c:v>
                      </c:pt>
                      <c:pt idx="106">
                        <c:v>0.56700000000000006</c:v>
                      </c:pt>
                      <c:pt idx="107">
                        <c:v>0.57050000000000001</c:v>
                      </c:pt>
                      <c:pt idx="108">
                        <c:v>0.57579999999999998</c:v>
                      </c:pt>
                      <c:pt idx="109">
                        <c:v>0.58109999999999995</c:v>
                      </c:pt>
                      <c:pt idx="110">
                        <c:v>0.5867</c:v>
                      </c:pt>
                      <c:pt idx="111">
                        <c:v>0.59260000000000002</c:v>
                      </c:pt>
                      <c:pt idx="112">
                        <c:v>0.59709999999999996</c:v>
                      </c:pt>
                      <c:pt idx="113">
                        <c:v>0.60170000000000001</c:v>
                      </c:pt>
                      <c:pt idx="114">
                        <c:v>0.60549999999999993</c:v>
                      </c:pt>
                      <c:pt idx="115">
                        <c:v>0.6089</c:v>
                      </c:pt>
                      <c:pt idx="116">
                        <c:v>0.61270000000000002</c:v>
                      </c:pt>
                      <c:pt idx="117">
                        <c:v>0.61549999999999994</c:v>
                      </c:pt>
                      <c:pt idx="118">
                        <c:v>0.61659999999999993</c:v>
                      </c:pt>
                      <c:pt idx="119">
                        <c:v>0.61870000000000003</c:v>
                      </c:pt>
                      <c:pt idx="120">
                        <c:v>0.62190000000000001</c:v>
                      </c:pt>
                      <c:pt idx="121">
                        <c:v>0.624</c:v>
                      </c:pt>
                      <c:pt idx="122">
                        <c:v>0.62630000000000008</c:v>
                      </c:pt>
                      <c:pt idx="123">
                        <c:v>0.62860000000000005</c:v>
                      </c:pt>
                      <c:pt idx="124">
                        <c:v>0.63080000000000003</c:v>
                      </c:pt>
                      <c:pt idx="125">
                        <c:v>0.63159999999999994</c:v>
                      </c:pt>
                      <c:pt idx="126">
                        <c:v>0.63329999999999997</c:v>
                      </c:pt>
                      <c:pt idx="127">
                        <c:v>0.63529999999999998</c:v>
                      </c:pt>
                      <c:pt idx="128">
                        <c:v>0.63680000000000003</c:v>
                      </c:pt>
                      <c:pt idx="129">
                        <c:v>0.63869999999999993</c:v>
                      </c:pt>
                      <c:pt idx="130">
                        <c:v>0.64139999999999997</c:v>
                      </c:pt>
                      <c:pt idx="131">
                        <c:v>0.64379999999999993</c:v>
                      </c:pt>
                      <c:pt idx="132">
                        <c:v>0.64569999999999994</c:v>
                      </c:pt>
                      <c:pt idx="133">
                        <c:v>0.64769999999999994</c:v>
                      </c:pt>
                      <c:pt idx="134">
                        <c:v>0.64959999999999996</c:v>
                      </c:pt>
                      <c:pt idx="135">
                        <c:v>0.6512</c:v>
                      </c:pt>
                      <c:pt idx="136">
                        <c:v>0.65329999999999999</c:v>
                      </c:pt>
                      <c:pt idx="137">
                        <c:v>0.65780000000000005</c:v>
                      </c:pt>
                      <c:pt idx="138">
                        <c:v>0.66249999999999998</c:v>
                      </c:pt>
                      <c:pt idx="139">
                        <c:v>0.66579999999999995</c:v>
                      </c:pt>
                      <c:pt idx="140">
                        <c:v>0.66900000000000004</c:v>
                      </c:pt>
                      <c:pt idx="141">
                        <c:v>0.6724</c:v>
                      </c:pt>
                      <c:pt idx="142">
                        <c:v>0.67540000000000011</c:v>
                      </c:pt>
                      <c:pt idx="143">
                        <c:v>0.67900000000000005</c:v>
                      </c:pt>
                      <c:pt idx="144">
                        <c:v>0.68330000000000002</c:v>
                      </c:pt>
                      <c:pt idx="145">
                        <c:v>0.68849999999999989</c:v>
                      </c:pt>
                      <c:pt idx="146">
                        <c:v>0.69299999999999995</c:v>
                      </c:pt>
                      <c:pt idx="147">
                        <c:v>0.69629999999999992</c:v>
                      </c:pt>
                      <c:pt idx="148">
                        <c:v>0.69900000000000007</c:v>
                      </c:pt>
                      <c:pt idx="149">
                        <c:v>0.70389999999999997</c:v>
                      </c:pt>
                      <c:pt idx="150">
                        <c:v>0.70920000000000005</c:v>
                      </c:pt>
                      <c:pt idx="151">
                        <c:v>0.71579999999999999</c:v>
                      </c:pt>
                      <c:pt idx="152">
                        <c:v>0.72260000000000002</c:v>
                      </c:pt>
                      <c:pt idx="153">
                        <c:v>0.7279000000000001</c:v>
                      </c:pt>
                      <c:pt idx="154">
                        <c:v>0.73239999999999994</c:v>
                      </c:pt>
                      <c:pt idx="155">
                        <c:v>0.73670000000000002</c:v>
                      </c:pt>
                      <c:pt idx="156">
                        <c:v>0.73970000000000002</c:v>
                      </c:pt>
                      <c:pt idx="157">
                        <c:v>0.74379999999999991</c:v>
                      </c:pt>
                      <c:pt idx="158">
                        <c:v>0.74780000000000002</c:v>
                      </c:pt>
                      <c:pt idx="159">
                        <c:v>0.75190000000000001</c:v>
                      </c:pt>
                      <c:pt idx="160">
                        <c:v>0.75590000000000002</c:v>
                      </c:pt>
                      <c:pt idx="161">
                        <c:v>0.75890000000000002</c:v>
                      </c:pt>
                      <c:pt idx="162">
                        <c:v>0.76230000000000009</c:v>
                      </c:pt>
                      <c:pt idx="163">
                        <c:v>0.76529999999999998</c:v>
                      </c:pt>
                      <c:pt idx="164">
                        <c:v>0.76870000000000005</c:v>
                      </c:pt>
                      <c:pt idx="165">
                        <c:v>0.77260000000000006</c:v>
                      </c:pt>
                      <c:pt idx="166">
                        <c:v>0.77529999999999999</c:v>
                      </c:pt>
                      <c:pt idx="167">
                        <c:v>0.77849999999999997</c:v>
                      </c:pt>
                      <c:pt idx="168">
                        <c:v>0.78170000000000006</c:v>
                      </c:pt>
                      <c:pt idx="169">
                        <c:v>0.78430000000000011</c:v>
                      </c:pt>
                      <c:pt idx="170">
                        <c:v>0.78739999999999999</c:v>
                      </c:pt>
                      <c:pt idx="171">
                        <c:v>0.7904000000000001</c:v>
                      </c:pt>
                      <c:pt idx="172">
                        <c:v>0.79459999999999997</c:v>
                      </c:pt>
                      <c:pt idx="173">
                        <c:v>0.79870000000000008</c:v>
                      </c:pt>
                      <c:pt idx="174">
                        <c:v>0.80159999999999998</c:v>
                      </c:pt>
                      <c:pt idx="175">
                        <c:v>0.80500000000000005</c:v>
                      </c:pt>
                      <c:pt idx="176">
                        <c:v>0.80830000000000002</c:v>
                      </c:pt>
                      <c:pt idx="177">
                        <c:v>0.81159999999999999</c:v>
                      </c:pt>
                      <c:pt idx="178">
                        <c:v>0.81420000000000003</c:v>
                      </c:pt>
                      <c:pt idx="179">
                        <c:v>0.81859999999999999</c:v>
                      </c:pt>
                      <c:pt idx="180">
                        <c:v>0.8234999999999999</c:v>
                      </c:pt>
                      <c:pt idx="181">
                        <c:v>0.82650000000000001</c:v>
                      </c:pt>
                      <c:pt idx="182">
                        <c:v>0.82840000000000003</c:v>
                      </c:pt>
                      <c:pt idx="183">
                        <c:v>0.83109999999999995</c:v>
                      </c:pt>
                      <c:pt idx="184">
                        <c:v>0.83290000000000008</c:v>
                      </c:pt>
                      <c:pt idx="185">
                        <c:v>0.83360000000000001</c:v>
                      </c:pt>
                      <c:pt idx="186">
                        <c:v>0.83829999999999993</c:v>
                      </c:pt>
                      <c:pt idx="187">
                        <c:v>0.84140000000000004</c:v>
                      </c:pt>
                      <c:pt idx="188">
                        <c:v>0.84219999999999995</c:v>
                      </c:pt>
                      <c:pt idx="189">
                        <c:v>0.84230000000000005</c:v>
                      </c:pt>
                      <c:pt idx="190">
                        <c:v>0.84290000000000009</c:v>
                      </c:pt>
                      <c:pt idx="191">
                        <c:v>0.84439999999999993</c:v>
                      </c:pt>
                      <c:pt idx="192">
                        <c:v>0.84650000000000003</c:v>
                      </c:pt>
                      <c:pt idx="193">
                        <c:v>0.85</c:v>
                      </c:pt>
                      <c:pt idx="194">
                        <c:v>0.8538</c:v>
                      </c:pt>
                      <c:pt idx="195">
                        <c:v>0.85580000000000001</c:v>
                      </c:pt>
                      <c:pt idx="196">
                        <c:v>0.85499999999999998</c:v>
                      </c:pt>
                      <c:pt idx="197">
                        <c:v>0.85430000000000006</c:v>
                      </c:pt>
                      <c:pt idx="198">
                        <c:v>0.85329999999999995</c:v>
                      </c:pt>
                      <c:pt idx="199">
                        <c:v>0.85189999999999999</c:v>
                      </c:pt>
                      <c:pt idx="200">
                        <c:v>0.8529000000000001</c:v>
                      </c:pt>
                      <c:pt idx="201">
                        <c:v>0.85430000000000006</c:v>
                      </c:pt>
                      <c:pt idx="202">
                        <c:v>0.85420000000000007</c:v>
                      </c:pt>
                      <c:pt idx="203">
                        <c:v>0.85459999999999992</c:v>
                      </c:pt>
                      <c:pt idx="204">
                        <c:v>0.85439999999999994</c:v>
                      </c:pt>
                      <c:pt idx="205">
                        <c:v>0.85450000000000004</c:v>
                      </c:pt>
                      <c:pt idx="206">
                        <c:v>0.85450000000000004</c:v>
                      </c:pt>
                      <c:pt idx="207">
                        <c:v>0.85640000000000005</c:v>
                      </c:pt>
                      <c:pt idx="208">
                        <c:v>0.85860000000000003</c:v>
                      </c:pt>
                      <c:pt idx="209">
                        <c:v>0.86049999999999993</c:v>
                      </c:pt>
                      <c:pt idx="210">
                        <c:v>0.86159999999999992</c:v>
                      </c:pt>
                      <c:pt idx="211">
                        <c:v>0.86329999999999996</c:v>
                      </c:pt>
                      <c:pt idx="212">
                        <c:v>0.86480000000000001</c:v>
                      </c:pt>
                      <c:pt idx="213">
                        <c:v>0.86699999999999999</c:v>
                      </c:pt>
                      <c:pt idx="214">
                        <c:v>0.86919999999999997</c:v>
                      </c:pt>
                      <c:pt idx="215">
                        <c:v>0.87159999999999993</c:v>
                      </c:pt>
                      <c:pt idx="216">
                        <c:v>0.87260000000000004</c:v>
                      </c:pt>
                      <c:pt idx="217">
                        <c:v>0.87480000000000002</c:v>
                      </c:pt>
                      <c:pt idx="218">
                        <c:v>0.87769999999999992</c:v>
                      </c:pt>
                      <c:pt idx="219">
                        <c:v>0.89829999999999999</c:v>
                      </c:pt>
                      <c:pt idx="220">
                        <c:v>0.90150000000000008</c:v>
                      </c:pt>
                      <c:pt idx="221">
                        <c:v>0.90560000000000007</c:v>
                      </c:pt>
                      <c:pt idx="222">
                        <c:v>0.90980000000000005</c:v>
                      </c:pt>
                      <c:pt idx="223">
                        <c:v>0.91260000000000008</c:v>
                      </c:pt>
                      <c:pt idx="224">
                        <c:v>0.91469999999999996</c:v>
                      </c:pt>
                      <c:pt idx="225">
                        <c:v>0.9163</c:v>
                      </c:pt>
                      <c:pt idx="226">
                        <c:v>0.91900000000000004</c:v>
                      </c:pt>
                      <c:pt idx="227">
                        <c:v>0.92189999999999994</c:v>
                      </c:pt>
                      <c:pt idx="228">
                        <c:v>0.92579999999999996</c:v>
                      </c:pt>
                      <c:pt idx="229">
                        <c:v>0.92959999999999998</c:v>
                      </c:pt>
                      <c:pt idx="230">
                        <c:v>0.93319999999999992</c:v>
                      </c:pt>
                      <c:pt idx="231">
                        <c:v>0.93569999999999998</c:v>
                      </c:pt>
                      <c:pt idx="232">
                        <c:v>0.93790000000000007</c:v>
                      </c:pt>
                      <c:pt idx="233">
                        <c:v>0.93989999999999996</c:v>
                      </c:pt>
                      <c:pt idx="234">
                        <c:v>0.94209999999999994</c:v>
                      </c:pt>
                      <c:pt idx="235">
                        <c:v>0.94450000000000001</c:v>
                      </c:pt>
                      <c:pt idx="236">
                        <c:v>0.94720000000000004</c:v>
                      </c:pt>
                      <c:pt idx="237">
                        <c:v>0.94819999999999993</c:v>
                      </c:pt>
                      <c:pt idx="238">
                        <c:v>0.94959999999999989</c:v>
                      </c:pt>
                      <c:pt idx="239">
                        <c:v>0.95050000000000001</c:v>
                      </c:pt>
                      <c:pt idx="240">
                        <c:v>0.95030000000000003</c:v>
                      </c:pt>
                      <c:pt idx="241">
                        <c:v>0.95189999999999997</c:v>
                      </c:pt>
                      <c:pt idx="242">
                        <c:v>0.95489999999999997</c:v>
                      </c:pt>
                      <c:pt idx="243">
                        <c:v>0.95779999999999998</c:v>
                      </c:pt>
                      <c:pt idx="244">
                        <c:v>0.95930000000000004</c:v>
                      </c:pt>
                      <c:pt idx="245">
                        <c:v>0.96129999999999993</c:v>
                      </c:pt>
                      <c:pt idx="246">
                        <c:v>0.96310000000000007</c:v>
                      </c:pt>
                      <c:pt idx="247">
                        <c:v>0.96430000000000005</c:v>
                      </c:pt>
                      <c:pt idx="248">
                        <c:v>0.96450000000000002</c:v>
                      </c:pt>
                      <c:pt idx="249">
                        <c:v>0.96499999999999997</c:v>
                      </c:pt>
                      <c:pt idx="250">
                        <c:v>0.96560000000000001</c:v>
                      </c:pt>
                      <c:pt idx="251">
                        <c:v>0.9645999999999999</c:v>
                      </c:pt>
                      <c:pt idx="252">
                        <c:v>0.96479999999999999</c:v>
                      </c:pt>
                      <c:pt idx="253">
                        <c:v>0.96519999999999995</c:v>
                      </c:pt>
                      <c:pt idx="254">
                        <c:v>0.96589999999999998</c:v>
                      </c:pt>
                      <c:pt idx="255">
                        <c:v>0.96660000000000001</c:v>
                      </c:pt>
                      <c:pt idx="256">
                        <c:v>0.96810000000000007</c:v>
                      </c:pt>
                      <c:pt idx="257">
                        <c:v>0.9698</c:v>
                      </c:pt>
                      <c:pt idx="258">
                        <c:v>0.97040000000000004</c:v>
                      </c:pt>
                      <c:pt idx="259">
                        <c:v>0.97089999999999999</c:v>
                      </c:pt>
                      <c:pt idx="260">
                        <c:v>0.9708</c:v>
                      </c:pt>
                      <c:pt idx="261">
                        <c:v>0.9698</c:v>
                      </c:pt>
                      <c:pt idx="262">
                        <c:v>0.96970000000000001</c:v>
                      </c:pt>
                      <c:pt idx="263">
                        <c:v>0.9706999999999999</c:v>
                      </c:pt>
                      <c:pt idx="264">
                        <c:v>0.97199999999999998</c:v>
                      </c:pt>
                      <c:pt idx="265">
                        <c:v>0.97239999999999993</c:v>
                      </c:pt>
                      <c:pt idx="266">
                        <c:v>0.97250000000000003</c:v>
                      </c:pt>
                      <c:pt idx="267">
                        <c:v>0.97209999999999996</c:v>
                      </c:pt>
                      <c:pt idx="268">
                        <c:v>0.97239999999999993</c:v>
                      </c:pt>
                      <c:pt idx="269">
                        <c:v>0.97340000000000004</c:v>
                      </c:pt>
                      <c:pt idx="270">
                        <c:v>0.97560000000000002</c:v>
                      </c:pt>
                      <c:pt idx="271">
                        <c:v>0.97809999999999997</c:v>
                      </c:pt>
                      <c:pt idx="272">
                        <c:v>0.97930000000000006</c:v>
                      </c:pt>
                      <c:pt idx="273">
                        <c:v>0.98290000000000011</c:v>
                      </c:pt>
                      <c:pt idx="274">
                        <c:v>0.98380000000000001</c:v>
                      </c:pt>
                      <c:pt idx="275">
                        <c:v>0.98439999999999994</c:v>
                      </c:pt>
                      <c:pt idx="276">
                        <c:v>0.98430000000000006</c:v>
                      </c:pt>
                      <c:pt idx="277">
                        <c:v>0.98530000000000006</c:v>
                      </c:pt>
                      <c:pt idx="278">
                        <c:v>0.98650000000000004</c:v>
                      </c:pt>
                      <c:pt idx="279">
                        <c:v>0.98650000000000004</c:v>
                      </c:pt>
                      <c:pt idx="280">
                        <c:v>0.98640000000000005</c:v>
                      </c:pt>
                      <c:pt idx="281">
                        <c:v>0.98629999999999995</c:v>
                      </c:pt>
                      <c:pt idx="282">
                        <c:v>0.98629999999999995</c:v>
                      </c:pt>
                      <c:pt idx="283">
                        <c:v>0.98650000000000004</c:v>
                      </c:pt>
                      <c:pt idx="284">
                        <c:v>0.98780000000000001</c:v>
                      </c:pt>
                      <c:pt idx="285">
                        <c:v>0.98970000000000002</c:v>
                      </c:pt>
                      <c:pt idx="286">
                        <c:v>0.99060000000000004</c:v>
                      </c:pt>
                      <c:pt idx="287">
                        <c:v>0.99109999999999998</c:v>
                      </c:pt>
                      <c:pt idx="288">
                        <c:v>0.99129999999999996</c:v>
                      </c:pt>
                      <c:pt idx="289">
                        <c:v>0.99140000000000006</c:v>
                      </c:pt>
                      <c:pt idx="290">
                        <c:v>0.99150000000000005</c:v>
                      </c:pt>
                      <c:pt idx="291">
                        <c:v>0.99250000000000005</c:v>
                      </c:pt>
                      <c:pt idx="292">
                        <c:v>0.99379999999999991</c:v>
                      </c:pt>
                      <c:pt idx="293">
                        <c:v>0.99400000000000011</c:v>
                      </c:pt>
                      <c:pt idx="294">
                        <c:v>0.99400000000000011</c:v>
                      </c:pt>
                      <c:pt idx="295">
                        <c:v>0.99409999999999998</c:v>
                      </c:pt>
                      <c:pt idx="296">
                        <c:v>0.99430000000000007</c:v>
                      </c:pt>
                      <c:pt idx="297">
                        <c:v>0.99470000000000003</c:v>
                      </c:pt>
                      <c:pt idx="298">
                        <c:v>0.99609999999999999</c:v>
                      </c:pt>
                      <c:pt idx="299">
                        <c:v>0.99709999999999999</c:v>
                      </c:pt>
                      <c:pt idx="300">
                        <c:v>0.99670000000000003</c:v>
                      </c:pt>
                      <c:pt idx="301">
                        <c:v>0.99569999999999992</c:v>
                      </c:pt>
                      <c:pt idx="302">
                        <c:v>0.99430000000000007</c:v>
                      </c:pt>
                      <c:pt idx="303">
                        <c:v>0.99269999999999992</c:v>
                      </c:pt>
                      <c:pt idx="304">
                        <c:v>0.99230000000000007</c:v>
                      </c:pt>
                      <c:pt idx="305">
                        <c:v>0.99419999999999997</c:v>
                      </c:pt>
                      <c:pt idx="306">
                        <c:v>0.996</c:v>
                      </c:pt>
                      <c:pt idx="307">
                        <c:v>0.99680000000000002</c:v>
                      </c:pt>
                      <c:pt idx="308">
                        <c:v>0.99659999999999993</c:v>
                      </c:pt>
                      <c:pt idx="309">
                        <c:v>0.996</c:v>
                      </c:pt>
                      <c:pt idx="310">
                        <c:v>0.99650000000000005</c:v>
                      </c:pt>
                      <c:pt idx="311">
                        <c:v>0.99650000000000005</c:v>
                      </c:pt>
                      <c:pt idx="312">
                        <c:v>0.997</c:v>
                      </c:pt>
                      <c:pt idx="313">
                        <c:v>0.99709999999999999</c:v>
                      </c:pt>
                      <c:pt idx="314">
                        <c:v>0.99639999999999995</c:v>
                      </c:pt>
                      <c:pt idx="315">
                        <c:v>0.99529999999999996</c:v>
                      </c:pt>
                      <c:pt idx="316">
                        <c:v>0.99379999999999991</c:v>
                      </c:pt>
                      <c:pt idx="317">
                        <c:v>0.99319999999999997</c:v>
                      </c:pt>
                      <c:pt idx="318">
                        <c:v>0.99269999999999992</c:v>
                      </c:pt>
                      <c:pt idx="319">
                        <c:v>0.99269999999999992</c:v>
                      </c:pt>
                      <c:pt idx="320">
                        <c:v>0.99280000000000002</c:v>
                      </c:pt>
                      <c:pt idx="321">
                        <c:v>0.99219999999999997</c:v>
                      </c:pt>
                      <c:pt idx="322">
                        <c:v>0.99099999999999999</c:v>
                      </c:pt>
                      <c:pt idx="323">
                        <c:v>0.98919999999999997</c:v>
                      </c:pt>
                      <c:pt idx="324">
                        <c:v>0.98699999999999999</c:v>
                      </c:pt>
                      <c:pt idx="325">
                        <c:v>0.98659999999999992</c:v>
                      </c:pt>
                      <c:pt idx="326">
                        <c:v>0.98739999999999994</c:v>
                      </c:pt>
                      <c:pt idx="327">
                        <c:v>0.98799999999999999</c:v>
                      </c:pt>
                      <c:pt idx="328">
                        <c:v>0.98730000000000007</c:v>
                      </c:pt>
                      <c:pt idx="329">
                        <c:v>0.98730000000000007</c:v>
                      </c:pt>
                      <c:pt idx="330">
                        <c:v>0.98819999999999997</c:v>
                      </c:pt>
                      <c:pt idx="331">
                        <c:v>0.9889</c:v>
                      </c:pt>
                      <c:pt idx="332">
                        <c:v>0.9890000000000001</c:v>
                      </c:pt>
                      <c:pt idx="333">
                        <c:v>0.98799999999999999</c:v>
                      </c:pt>
                      <c:pt idx="334">
                        <c:v>0.98629999999999995</c:v>
                      </c:pt>
                      <c:pt idx="335">
                        <c:v>0.98480000000000001</c:v>
                      </c:pt>
                      <c:pt idx="336">
                        <c:v>0.98439999999999994</c:v>
                      </c:pt>
                      <c:pt idx="337">
                        <c:v>0.98340000000000005</c:v>
                      </c:pt>
                      <c:pt idx="338">
                        <c:v>0.98150000000000004</c:v>
                      </c:pt>
                      <c:pt idx="339">
                        <c:v>0.97970000000000002</c:v>
                      </c:pt>
                      <c:pt idx="340">
                        <c:v>0.98069999999999991</c:v>
                      </c:pt>
                      <c:pt idx="341">
                        <c:v>0.98230000000000006</c:v>
                      </c:pt>
                      <c:pt idx="342">
                        <c:v>0.98180000000000012</c:v>
                      </c:pt>
                      <c:pt idx="343">
                        <c:v>0.98</c:v>
                      </c:pt>
                      <c:pt idx="344">
                        <c:v>0.9778</c:v>
                      </c:pt>
                      <c:pt idx="345">
                        <c:v>0.97599999999999998</c:v>
                      </c:pt>
                      <c:pt idx="346">
                        <c:v>0.97430000000000005</c:v>
                      </c:pt>
                      <c:pt idx="347">
                        <c:v>0.97430000000000005</c:v>
                      </c:pt>
                      <c:pt idx="348">
                        <c:v>0.97470000000000001</c:v>
                      </c:pt>
                      <c:pt idx="349">
                        <c:v>0.97389999999999999</c:v>
                      </c:pt>
                      <c:pt idx="350">
                        <c:v>0.97329999999999994</c:v>
                      </c:pt>
                      <c:pt idx="351">
                        <c:v>0.97239999999999993</c:v>
                      </c:pt>
                      <c:pt idx="352">
                        <c:v>0.97250000000000003</c:v>
                      </c:pt>
                      <c:pt idx="353">
                        <c:v>0.97239999999999993</c:v>
                      </c:pt>
                      <c:pt idx="354">
                        <c:v>0.97299999999999998</c:v>
                      </c:pt>
                      <c:pt idx="355">
                        <c:v>0.97349999999999992</c:v>
                      </c:pt>
                      <c:pt idx="356">
                        <c:v>0.9738</c:v>
                      </c:pt>
                      <c:pt idx="357">
                        <c:v>0.97430000000000005</c:v>
                      </c:pt>
                      <c:pt idx="358">
                        <c:v>0.97499999999999998</c:v>
                      </c:pt>
                      <c:pt idx="359">
                        <c:v>0.97549999999999992</c:v>
                      </c:pt>
                      <c:pt idx="360">
                        <c:v>0.9748</c:v>
                      </c:pt>
                      <c:pt idx="361">
                        <c:v>0.97389999999999999</c:v>
                      </c:pt>
                      <c:pt idx="362">
                        <c:v>0.9728</c:v>
                      </c:pt>
                      <c:pt idx="363">
                        <c:v>0.97129999999999994</c:v>
                      </c:pt>
                      <c:pt idx="364">
                        <c:v>0.97049999999999992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7-B899-43FB-9B00-42D97902B992}"/>
                  </c:ext>
                </c:extLst>
              </c15:ser>
            </c15:filteredLineSeries>
          </c:ext>
        </c:extLst>
      </c:lineChart>
      <c:dateAx>
        <c:axId val="325164416"/>
        <c:scaling>
          <c:orientation val="minMax"/>
          <c:max val="45082"/>
          <c:min val="44562"/>
        </c:scaling>
        <c:delete val="0"/>
        <c:axPos val="b"/>
        <c:numFmt formatCode="[$-406]mmm/yy;@" sourceLinked="0"/>
        <c:majorTickMark val="none"/>
        <c:minorTickMark val="none"/>
        <c:tickLblPos val="low"/>
        <c:txPr>
          <a:bodyPr rot="2700000"/>
          <a:lstStyle/>
          <a:p>
            <a:pPr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endParaRPr lang="da-DK"/>
          </a:p>
        </c:txPr>
        <c:crossAx val="325170304"/>
        <c:crosses val="autoZero"/>
        <c:auto val="1"/>
        <c:lblOffset val="100"/>
        <c:baseTimeUnit val="days"/>
        <c:majorUnit val="1"/>
        <c:majorTimeUnit val="months"/>
      </c:dateAx>
      <c:valAx>
        <c:axId val="325170304"/>
        <c:scaling>
          <c:orientation val="minMax"/>
          <c:max val="120"/>
          <c:min val="-200"/>
        </c:scaling>
        <c:delete val="0"/>
        <c:axPos val="l"/>
        <c:majorGridlines>
          <c:spPr>
            <a:ln>
              <a:solidFill>
                <a:srgbClr val="D9D9D9"/>
              </a:solidFill>
            </a:ln>
          </c:spPr>
        </c:majorGridlines>
        <c:title>
          <c:tx>
            <c:rich>
              <a:bodyPr rot="0" vert="horz"/>
              <a:lstStyle/>
              <a:p>
                <a:pPr>
                  <a:defRPr sz="800"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pPr>
                <a:r>
                  <a:rPr lang="da-DK" sz="8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GWh</a:t>
                </a:r>
              </a:p>
            </c:rich>
          </c:tx>
          <c:layout>
            <c:manualLayout>
              <c:xMode val="edge"/>
              <c:yMode val="edge"/>
              <c:x val="2.4570830805801382E-2"/>
              <c:y val="0.10071414295225915"/>
            </c:manualLayout>
          </c:layout>
          <c:overlay val="0"/>
        </c:title>
        <c:numFmt formatCode="_ * #,##0_ ;_ * \-#,##0_ ;_ * &quot;-&quot;??_ ;_ @_ " sourceLinked="1"/>
        <c:majorTickMark val="out"/>
        <c:minorTickMark val="none"/>
        <c:tickLblPos val="nextTo"/>
        <c:spPr>
          <a:ln w="15875">
            <a:noFill/>
          </a:ln>
        </c:spPr>
        <c:txPr>
          <a:bodyPr/>
          <a:lstStyle/>
          <a:p>
            <a:pPr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endParaRPr lang="da-DK"/>
          </a:p>
        </c:txPr>
        <c:crossAx val="325164416"/>
        <c:crosses val="autoZero"/>
        <c:crossBetween val="between"/>
      </c:valAx>
      <c:valAx>
        <c:axId val="592227792"/>
        <c:scaling>
          <c:orientation val="minMax"/>
          <c:max val="1"/>
        </c:scaling>
        <c:delete val="0"/>
        <c:axPos val="r"/>
        <c:numFmt formatCode="0%" sourceLinked="0"/>
        <c:majorTickMark val="out"/>
        <c:minorTickMark val="none"/>
        <c:tickLblPos val="nextTo"/>
        <c:spPr>
          <a:ln w="15875">
            <a:noFill/>
          </a:ln>
        </c:spPr>
        <c:txPr>
          <a:bodyPr/>
          <a:lstStyle/>
          <a:p>
            <a:pPr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endParaRPr lang="da-DK"/>
          </a:p>
        </c:txPr>
        <c:crossAx val="592221888"/>
        <c:crosses val="max"/>
        <c:crossBetween val="between"/>
      </c:valAx>
      <c:dateAx>
        <c:axId val="592221888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592227792"/>
        <c:crosses val="autoZero"/>
        <c:auto val="1"/>
        <c:lblOffset val="100"/>
        <c:baseTimeUnit val="days"/>
      </c:dateAx>
    </c:plotArea>
    <c:legend>
      <c:legendPos val="t"/>
      <c:layout>
        <c:manualLayout>
          <c:xMode val="edge"/>
          <c:yMode val="edge"/>
          <c:x val="7.8109711723170328E-2"/>
          <c:y val="0"/>
          <c:w val="0.88786745953175505"/>
          <c:h val="7.7975314990352096E-2"/>
        </c:manualLayout>
      </c:layout>
      <c:overlay val="0"/>
      <c:txPr>
        <a:bodyPr/>
        <a:lstStyle/>
        <a:p>
          <a:pPr>
            <a:defRPr sz="800">
              <a:solidFill>
                <a:schemeClr val="tx1">
                  <a:lumMod val="65000"/>
                  <a:lumOff val="35000"/>
                </a:schemeClr>
              </a:solidFill>
            </a:defRPr>
          </a:pPr>
          <a:endParaRPr lang="da-DK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da-DK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009448818897639E-2"/>
          <c:y val="0.15412612821648922"/>
          <c:w val="0.91378660452792482"/>
          <c:h val="0.67182584397936906"/>
        </c:manualLayout>
      </c:layout>
      <c:areaChart>
        <c:grouping val="stacked"/>
        <c:varyColors val="0"/>
        <c:ser>
          <c:idx val="1"/>
          <c:order val="0"/>
          <c:tx>
            <c:v>Traded volume, ETF</c:v>
          </c:tx>
          <c:spPr>
            <a:solidFill>
              <a:schemeClr val="accent5"/>
            </a:solidFill>
            <a:ln>
              <a:noFill/>
            </a:ln>
          </c:spPr>
          <c:cat>
            <c:numRef>
              <c:f>'GTF + ETF_Volumen'!$D$7:$D$162</c:f>
              <c:numCache>
                <c:formatCode>mmm\-yy</c:formatCode>
                <c:ptCount val="156"/>
                <c:pt idx="0">
                  <c:v>40179</c:v>
                </c:pt>
                <c:pt idx="1">
                  <c:v>40210</c:v>
                </c:pt>
                <c:pt idx="2">
                  <c:v>40238</c:v>
                </c:pt>
                <c:pt idx="3">
                  <c:v>40269</c:v>
                </c:pt>
                <c:pt idx="4">
                  <c:v>40299</c:v>
                </c:pt>
                <c:pt idx="5">
                  <c:v>40330</c:v>
                </c:pt>
                <c:pt idx="6">
                  <c:v>40360</c:v>
                </c:pt>
                <c:pt idx="7">
                  <c:v>40391</c:v>
                </c:pt>
                <c:pt idx="8">
                  <c:v>40422</c:v>
                </c:pt>
                <c:pt idx="9">
                  <c:v>40452</c:v>
                </c:pt>
                <c:pt idx="10">
                  <c:v>40483</c:v>
                </c:pt>
                <c:pt idx="11">
                  <c:v>40513</c:v>
                </c:pt>
                <c:pt idx="12">
                  <c:v>40544</c:v>
                </c:pt>
                <c:pt idx="13">
                  <c:v>40575</c:v>
                </c:pt>
                <c:pt idx="14">
                  <c:v>40603</c:v>
                </c:pt>
                <c:pt idx="15">
                  <c:v>40634</c:v>
                </c:pt>
                <c:pt idx="16">
                  <c:v>40664</c:v>
                </c:pt>
                <c:pt idx="17">
                  <c:v>40695</c:v>
                </c:pt>
                <c:pt idx="18">
                  <c:v>40725</c:v>
                </c:pt>
                <c:pt idx="19">
                  <c:v>40756</c:v>
                </c:pt>
                <c:pt idx="20">
                  <c:v>40787</c:v>
                </c:pt>
                <c:pt idx="21">
                  <c:v>40817</c:v>
                </c:pt>
                <c:pt idx="22">
                  <c:v>40848</c:v>
                </c:pt>
                <c:pt idx="23">
                  <c:v>40878</c:v>
                </c:pt>
                <c:pt idx="24">
                  <c:v>40909</c:v>
                </c:pt>
                <c:pt idx="25">
                  <c:v>40940</c:v>
                </c:pt>
                <c:pt idx="26">
                  <c:v>40969</c:v>
                </c:pt>
                <c:pt idx="27">
                  <c:v>41000</c:v>
                </c:pt>
                <c:pt idx="28">
                  <c:v>41030</c:v>
                </c:pt>
                <c:pt idx="29">
                  <c:v>41061</c:v>
                </c:pt>
                <c:pt idx="30">
                  <c:v>41091</c:v>
                </c:pt>
                <c:pt idx="31">
                  <c:v>41122</c:v>
                </c:pt>
                <c:pt idx="32">
                  <c:v>41153</c:v>
                </c:pt>
                <c:pt idx="33">
                  <c:v>41183</c:v>
                </c:pt>
                <c:pt idx="34">
                  <c:v>41214</c:v>
                </c:pt>
                <c:pt idx="35">
                  <c:v>41244</c:v>
                </c:pt>
                <c:pt idx="36">
                  <c:v>41275</c:v>
                </c:pt>
                <c:pt idx="37">
                  <c:v>41306</c:v>
                </c:pt>
                <c:pt idx="38">
                  <c:v>41334</c:v>
                </c:pt>
                <c:pt idx="39">
                  <c:v>41365</c:v>
                </c:pt>
                <c:pt idx="40">
                  <c:v>41395</c:v>
                </c:pt>
                <c:pt idx="41">
                  <c:v>41426</c:v>
                </c:pt>
                <c:pt idx="42">
                  <c:v>41456</c:v>
                </c:pt>
                <c:pt idx="43">
                  <c:v>41487</c:v>
                </c:pt>
                <c:pt idx="44">
                  <c:v>41518</c:v>
                </c:pt>
                <c:pt idx="45">
                  <c:v>41548</c:v>
                </c:pt>
                <c:pt idx="46">
                  <c:v>41579</c:v>
                </c:pt>
                <c:pt idx="47">
                  <c:v>41609</c:v>
                </c:pt>
                <c:pt idx="48">
                  <c:v>41640</c:v>
                </c:pt>
                <c:pt idx="49">
                  <c:v>41671</c:v>
                </c:pt>
                <c:pt idx="50">
                  <c:v>41699</c:v>
                </c:pt>
                <c:pt idx="51">
                  <c:v>41730</c:v>
                </c:pt>
                <c:pt idx="52">
                  <c:v>41760</c:v>
                </c:pt>
                <c:pt idx="53">
                  <c:v>41791</c:v>
                </c:pt>
                <c:pt idx="54">
                  <c:v>41821</c:v>
                </c:pt>
                <c:pt idx="55">
                  <c:v>41852</c:v>
                </c:pt>
                <c:pt idx="56">
                  <c:v>41883</c:v>
                </c:pt>
                <c:pt idx="57">
                  <c:v>41913</c:v>
                </c:pt>
                <c:pt idx="58">
                  <c:v>41944</c:v>
                </c:pt>
                <c:pt idx="59">
                  <c:v>41974</c:v>
                </c:pt>
                <c:pt idx="60">
                  <c:v>42005</c:v>
                </c:pt>
                <c:pt idx="61">
                  <c:v>42036</c:v>
                </c:pt>
                <c:pt idx="62">
                  <c:v>42064</c:v>
                </c:pt>
                <c:pt idx="63">
                  <c:v>42095</c:v>
                </c:pt>
                <c:pt idx="64">
                  <c:v>42125</c:v>
                </c:pt>
                <c:pt idx="65">
                  <c:v>42156</c:v>
                </c:pt>
                <c:pt idx="66">
                  <c:v>42186</c:v>
                </c:pt>
                <c:pt idx="67">
                  <c:v>42217</c:v>
                </c:pt>
                <c:pt idx="68">
                  <c:v>42248</c:v>
                </c:pt>
                <c:pt idx="69">
                  <c:v>42278</c:v>
                </c:pt>
                <c:pt idx="70">
                  <c:v>42309</c:v>
                </c:pt>
                <c:pt idx="71">
                  <c:v>42339</c:v>
                </c:pt>
                <c:pt idx="72">
                  <c:v>42370</c:v>
                </c:pt>
                <c:pt idx="73">
                  <c:v>42401</c:v>
                </c:pt>
                <c:pt idx="74">
                  <c:v>42430</c:v>
                </c:pt>
                <c:pt idx="75">
                  <c:v>42461</c:v>
                </c:pt>
                <c:pt idx="76">
                  <c:v>42491</c:v>
                </c:pt>
                <c:pt idx="77">
                  <c:v>42522</c:v>
                </c:pt>
                <c:pt idx="78">
                  <c:v>42552</c:v>
                </c:pt>
                <c:pt idx="79">
                  <c:v>42583</c:v>
                </c:pt>
                <c:pt idx="80">
                  <c:v>42614</c:v>
                </c:pt>
                <c:pt idx="81">
                  <c:v>42644</c:v>
                </c:pt>
                <c:pt idx="82">
                  <c:v>42675</c:v>
                </c:pt>
                <c:pt idx="83">
                  <c:v>42705</c:v>
                </c:pt>
                <c:pt idx="84">
                  <c:v>42736</c:v>
                </c:pt>
                <c:pt idx="85">
                  <c:v>42767</c:v>
                </c:pt>
                <c:pt idx="86">
                  <c:v>42795</c:v>
                </c:pt>
                <c:pt idx="87">
                  <c:v>42826</c:v>
                </c:pt>
                <c:pt idx="88">
                  <c:v>42856</c:v>
                </c:pt>
                <c:pt idx="89">
                  <c:v>42887</c:v>
                </c:pt>
                <c:pt idx="90">
                  <c:v>42917</c:v>
                </c:pt>
                <c:pt idx="91">
                  <c:v>42948</c:v>
                </c:pt>
                <c:pt idx="92">
                  <c:v>42979</c:v>
                </c:pt>
                <c:pt idx="93">
                  <c:v>43009</c:v>
                </c:pt>
                <c:pt idx="94">
                  <c:v>43040</c:v>
                </c:pt>
                <c:pt idx="95">
                  <c:v>43070</c:v>
                </c:pt>
                <c:pt idx="96">
                  <c:v>43101</c:v>
                </c:pt>
                <c:pt idx="97">
                  <c:v>43132</c:v>
                </c:pt>
                <c:pt idx="98">
                  <c:v>43160</c:v>
                </c:pt>
                <c:pt idx="99">
                  <c:v>43191</c:v>
                </c:pt>
                <c:pt idx="100">
                  <c:v>43221</c:v>
                </c:pt>
                <c:pt idx="101">
                  <c:v>43252</c:v>
                </c:pt>
                <c:pt idx="102">
                  <c:v>43282</c:v>
                </c:pt>
                <c:pt idx="103">
                  <c:v>43313</c:v>
                </c:pt>
                <c:pt idx="104">
                  <c:v>43344</c:v>
                </c:pt>
                <c:pt idx="105">
                  <c:v>43374</c:v>
                </c:pt>
                <c:pt idx="106">
                  <c:v>43405</c:v>
                </c:pt>
                <c:pt idx="107">
                  <c:v>43435</c:v>
                </c:pt>
                <c:pt idx="108">
                  <c:v>43466</c:v>
                </c:pt>
                <c:pt idx="109">
                  <c:v>43497</c:v>
                </c:pt>
                <c:pt idx="110">
                  <c:v>43525</c:v>
                </c:pt>
                <c:pt idx="111">
                  <c:v>43556</c:v>
                </c:pt>
                <c:pt idx="112">
                  <c:v>43586</c:v>
                </c:pt>
                <c:pt idx="113">
                  <c:v>43617</c:v>
                </c:pt>
                <c:pt idx="114">
                  <c:v>43647</c:v>
                </c:pt>
                <c:pt idx="115">
                  <c:v>43678</c:v>
                </c:pt>
                <c:pt idx="116">
                  <c:v>43709</c:v>
                </c:pt>
                <c:pt idx="117">
                  <c:v>43739</c:v>
                </c:pt>
                <c:pt idx="118">
                  <c:v>43770</c:v>
                </c:pt>
                <c:pt idx="119">
                  <c:v>43800</c:v>
                </c:pt>
                <c:pt idx="120">
                  <c:v>43831</c:v>
                </c:pt>
                <c:pt idx="121">
                  <c:v>43862</c:v>
                </c:pt>
                <c:pt idx="122">
                  <c:v>43891</c:v>
                </c:pt>
                <c:pt idx="123">
                  <c:v>43922</c:v>
                </c:pt>
                <c:pt idx="124">
                  <c:v>43952</c:v>
                </c:pt>
                <c:pt idx="125">
                  <c:v>43983</c:v>
                </c:pt>
                <c:pt idx="126">
                  <c:v>44013</c:v>
                </c:pt>
                <c:pt idx="127">
                  <c:v>44044</c:v>
                </c:pt>
                <c:pt idx="128">
                  <c:v>44075</c:v>
                </c:pt>
                <c:pt idx="129">
                  <c:v>44105</c:v>
                </c:pt>
                <c:pt idx="130">
                  <c:v>44136</c:v>
                </c:pt>
                <c:pt idx="131">
                  <c:v>44166</c:v>
                </c:pt>
                <c:pt idx="132">
                  <c:v>44197</c:v>
                </c:pt>
                <c:pt idx="133">
                  <c:v>44228</c:v>
                </c:pt>
                <c:pt idx="134">
                  <c:v>44256</c:v>
                </c:pt>
                <c:pt idx="135">
                  <c:v>44287</c:v>
                </c:pt>
                <c:pt idx="136">
                  <c:v>44317</c:v>
                </c:pt>
                <c:pt idx="137">
                  <c:v>44348</c:v>
                </c:pt>
                <c:pt idx="138">
                  <c:v>44378</c:v>
                </c:pt>
                <c:pt idx="139">
                  <c:v>44409</c:v>
                </c:pt>
                <c:pt idx="140">
                  <c:v>44440</c:v>
                </c:pt>
                <c:pt idx="141">
                  <c:v>44470</c:v>
                </c:pt>
                <c:pt idx="142">
                  <c:v>44501</c:v>
                </c:pt>
                <c:pt idx="143">
                  <c:v>44531</c:v>
                </c:pt>
                <c:pt idx="144">
                  <c:v>44562</c:v>
                </c:pt>
                <c:pt idx="145">
                  <c:v>44593</c:v>
                </c:pt>
                <c:pt idx="146">
                  <c:v>44621</c:v>
                </c:pt>
                <c:pt idx="147">
                  <c:v>44652</c:v>
                </c:pt>
                <c:pt idx="148">
                  <c:v>44682</c:v>
                </c:pt>
                <c:pt idx="149">
                  <c:v>44713</c:v>
                </c:pt>
                <c:pt idx="150">
                  <c:v>44743</c:v>
                </c:pt>
                <c:pt idx="151">
                  <c:v>44774</c:v>
                </c:pt>
                <c:pt idx="152">
                  <c:v>44805</c:v>
                </c:pt>
                <c:pt idx="153">
                  <c:v>44835</c:v>
                </c:pt>
                <c:pt idx="154">
                  <c:v>44866</c:v>
                </c:pt>
                <c:pt idx="155">
                  <c:v>44896</c:v>
                </c:pt>
              </c:numCache>
            </c:numRef>
          </c:cat>
          <c:val>
            <c:numRef>
              <c:f>'GTF + ETF_Volumen'!$E$7:$E$162</c:f>
              <c:numCache>
                <c:formatCode>_ * #,##0_ ;_ * \-#,##0_ ;_ * "-"??_ ;_ @_ </c:formatCode>
                <c:ptCount val="156"/>
                <c:pt idx="0">
                  <c:v>608.08799999999997</c:v>
                </c:pt>
                <c:pt idx="1">
                  <c:v>634.67999999999995</c:v>
                </c:pt>
                <c:pt idx="2">
                  <c:v>578.35199999999998</c:v>
                </c:pt>
                <c:pt idx="3">
                  <c:v>203.56800000000001</c:v>
                </c:pt>
                <c:pt idx="4">
                  <c:v>150.21600000000001</c:v>
                </c:pt>
                <c:pt idx="5">
                  <c:v>114.384</c:v>
                </c:pt>
                <c:pt idx="6">
                  <c:v>32.4</c:v>
                </c:pt>
                <c:pt idx="7">
                  <c:v>105.624</c:v>
                </c:pt>
                <c:pt idx="8">
                  <c:v>140.928</c:v>
                </c:pt>
                <c:pt idx="9">
                  <c:v>181.99199999999999</c:v>
                </c:pt>
                <c:pt idx="10">
                  <c:v>547.41600000000005</c:v>
                </c:pt>
                <c:pt idx="11">
                  <c:v>627.74400000000003</c:v>
                </c:pt>
                <c:pt idx="12">
                  <c:v>585.48</c:v>
                </c:pt>
                <c:pt idx="13">
                  <c:v>561.26400000000001</c:v>
                </c:pt>
                <c:pt idx="14">
                  <c:v>571.32000000000005</c:v>
                </c:pt>
                <c:pt idx="15">
                  <c:v>318.36</c:v>
                </c:pt>
                <c:pt idx="16">
                  <c:v>231.18</c:v>
                </c:pt>
                <c:pt idx="17">
                  <c:v>198.24</c:v>
                </c:pt>
                <c:pt idx="18">
                  <c:v>191.08799999999999</c:v>
                </c:pt>
                <c:pt idx="19">
                  <c:v>161.304</c:v>
                </c:pt>
                <c:pt idx="20">
                  <c:v>202.23599999999999</c:v>
                </c:pt>
                <c:pt idx="21">
                  <c:v>341.30399999999997</c:v>
                </c:pt>
                <c:pt idx="22">
                  <c:v>385.99200000000002</c:v>
                </c:pt>
                <c:pt idx="23">
                  <c:v>251.292</c:v>
                </c:pt>
                <c:pt idx="24">
                  <c:v>742.56</c:v>
                </c:pt>
                <c:pt idx="25">
                  <c:v>806.76</c:v>
                </c:pt>
                <c:pt idx="26">
                  <c:v>623.24400000000003</c:v>
                </c:pt>
                <c:pt idx="27">
                  <c:v>422.964</c:v>
                </c:pt>
                <c:pt idx="28">
                  <c:v>491.28</c:v>
                </c:pt>
                <c:pt idx="29">
                  <c:v>337.28399999999999</c:v>
                </c:pt>
                <c:pt idx="30">
                  <c:v>367.75200000000001</c:v>
                </c:pt>
                <c:pt idx="31">
                  <c:v>278.05200000000002</c:v>
                </c:pt>
                <c:pt idx="32">
                  <c:v>567.66</c:v>
                </c:pt>
                <c:pt idx="33">
                  <c:v>404.12400000000002</c:v>
                </c:pt>
                <c:pt idx="34">
                  <c:v>766.39200000000005</c:v>
                </c:pt>
                <c:pt idx="35">
                  <c:v>1013.172</c:v>
                </c:pt>
                <c:pt idx="36">
                  <c:v>811.06799999999998</c:v>
                </c:pt>
                <c:pt idx="37">
                  <c:v>593.32799999999997</c:v>
                </c:pt>
                <c:pt idx="38">
                  <c:v>1056.7080000000001</c:v>
                </c:pt>
                <c:pt idx="39">
                  <c:v>904.452</c:v>
                </c:pt>
                <c:pt idx="40">
                  <c:v>409.69200000000001</c:v>
                </c:pt>
                <c:pt idx="41">
                  <c:v>387.84</c:v>
                </c:pt>
                <c:pt idx="42">
                  <c:v>687</c:v>
                </c:pt>
                <c:pt idx="43">
                  <c:v>925.548</c:v>
                </c:pt>
                <c:pt idx="44">
                  <c:v>1141.44</c:v>
                </c:pt>
                <c:pt idx="45">
                  <c:v>1005.1319999999999</c:v>
                </c:pt>
                <c:pt idx="46">
                  <c:v>731.59199999999998</c:v>
                </c:pt>
                <c:pt idx="47">
                  <c:v>441.06</c:v>
                </c:pt>
                <c:pt idx="48">
                  <c:v>549.43200000000002</c:v>
                </c:pt>
                <c:pt idx="49">
                  <c:v>366.51600000000002</c:v>
                </c:pt>
                <c:pt idx="50">
                  <c:v>575.70000000000005</c:v>
                </c:pt>
                <c:pt idx="51">
                  <c:v>648.29999999999995</c:v>
                </c:pt>
                <c:pt idx="52">
                  <c:v>662.23199999999997</c:v>
                </c:pt>
                <c:pt idx="53">
                  <c:v>833.77200000000005</c:v>
                </c:pt>
                <c:pt idx="54">
                  <c:v>765.13199999999995</c:v>
                </c:pt>
                <c:pt idx="55">
                  <c:v>711.048</c:v>
                </c:pt>
                <c:pt idx="56">
                  <c:v>678.61199999999997</c:v>
                </c:pt>
                <c:pt idx="57">
                  <c:v>1126.741</c:v>
                </c:pt>
                <c:pt idx="58">
                  <c:v>1592.751</c:v>
                </c:pt>
                <c:pt idx="59">
                  <c:v>1737.384</c:v>
                </c:pt>
                <c:pt idx="60">
                  <c:v>1563.289</c:v>
                </c:pt>
                <c:pt idx="61">
                  <c:v>1510.4369999999999</c:v>
                </c:pt>
                <c:pt idx="62">
                  <c:v>1388.7529999999999</c:v>
                </c:pt>
                <c:pt idx="63">
                  <c:v>1196.4580000000001</c:v>
                </c:pt>
                <c:pt idx="64">
                  <c:v>1473.2059999999999</c:v>
                </c:pt>
                <c:pt idx="65">
                  <c:v>1119.982</c:v>
                </c:pt>
                <c:pt idx="66">
                  <c:v>1311.3989999999999</c:v>
                </c:pt>
                <c:pt idx="67">
                  <c:v>903.81299999999999</c:v>
                </c:pt>
                <c:pt idx="68">
                  <c:v>1575.0889999999999</c:v>
                </c:pt>
                <c:pt idx="69">
                  <c:v>1363.8579999999999</c:v>
                </c:pt>
                <c:pt idx="70">
                  <c:v>1831.761</c:v>
                </c:pt>
                <c:pt idx="71">
                  <c:v>1848.9580000000001</c:v>
                </c:pt>
                <c:pt idx="72">
                  <c:v>1930.5540000000001</c:v>
                </c:pt>
                <c:pt idx="73">
                  <c:v>1963.21</c:v>
                </c:pt>
                <c:pt idx="74">
                  <c:v>1995.5409999999999</c:v>
                </c:pt>
                <c:pt idx="75">
                  <c:v>2236.009</c:v>
                </c:pt>
                <c:pt idx="76">
                  <c:v>2421.0140000000001</c:v>
                </c:pt>
                <c:pt idx="77">
                  <c:v>2174.123</c:v>
                </c:pt>
                <c:pt idx="78">
                  <c:v>1602.7850000000001</c:v>
                </c:pt>
                <c:pt idx="79">
                  <c:v>1405.2750000000001</c:v>
                </c:pt>
                <c:pt idx="80">
                  <c:v>1810.6120000000001</c:v>
                </c:pt>
                <c:pt idx="81">
                  <c:v>1734.2470000000001</c:v>
                </c:pt>
                <c:pt idx="82">
                  <c:v>2641.0880000000002</c:v>
                </c:pt>
                <c:pt idx="83">
                  <c:v>2207.2849999999999</c:v>
                </c:pt>
                <c:pt idx="84">
                  <c:v>1341.473</c:v>
                </c:pt>
                <c:pt idx="85">
                  <c:v>1155.2449999999999</c:v>
                </c:pt>
                <c:pt idx="86">
                  <c:v>1416.9059999999999</c:v>
                </c:pt>
                <c:pt idx="87">
                  <c:v>1533.498</c:v>
                </c:pt>
                <c:pt idx="88">
                  <c:v>1064.7249999999999</c:v>
                </c:pt>
                <c:pt idx="89">
                  <c:v>1436.307</c:v>
                </c:pt>
                <c:pt idx="90">
                  <c:v>1387.258</c:v>
                </c:pt>
                <c:pt idx="91">
                  <c:v>1518.548</c:v>
                </c:pt>
                <c:pt idx="92">
                  <c:v>1471.3430000000001</c:v>
                </c:pt>
                <c:pt idx="93">
                  <c:v>1670.9929999999999</c:v>
                </c:pt>
                <c:pt idx="94">
                  <c:v>1578.2070000000001</c:v>
                </c:pt>
                <c:pt idx="95">
                  <c:v>1761.2760000000001</c:v>
                </c:pt>
                <c:pt idx="96">
                  <c:v>1937.624</c:v>
                </c:pt>
                <c:pt idx="97">
                  <c:v>2669.81</c:v>
                </c:pt>
                <c:pt idx="98">
                  <c:v>2843.1979999999999</c:v>
                </c:pt>
                <c:pt idx="99">
                  <c:v>1732.1410000000001</c:v>
                </c:pt>
                <c:pt idx="100">
                  <c:v>1962.5609999999999</c:v>
                </c:pt>
                <c:pt idx="101">
                  <c:v>1736.682</c:v>
                </c:pt>
                <c:pt idx="102">
                  <c:v>1867.4159999999999</c:v>
                </c:pt>
                <c:pt idx="103">
                  <c:v>1589.7080000000001</c:v>
                </c:pt>
                <c:pt idx="104">
                  <c:v>1571.664</c:v>
                </c:pt>
                <c:pt idx="105">
                  <c:v>2143.5259999999998</c:v>
                </c:pt>
                <c:pt idx="106">
                  <c:v>2503.4050000000002</c:v>
                </c:pt>
                <c:pt idx="107">
                  <c:v>2611.3530000000001</c:v>
                </c:pt>
                <c:pt idx="108">
                  <c:v>3381.4789999999998</c:v>
                </c:pt>
                <c:pt idx="109">
                  <c:v>2493.9180000000001</c:v>
                </c:pt>
                <c:pt idx="110">
                  <c:v>2744.319</c:v>
                </c:pt>
                <c:pt idx="111">
                  <c:v>1602.0909999999999</c:v>
                </c:pt>
                <c:pt idx="112">
                  <c:v>1725.7650000000001</c:v>
                </c:pt>
                <c:pt idx="113">
                  <c:v>1424.912</c:v>
                </c:pt>
                <c:pt idx="114">
                  <c:v>1588.5139999999999</c:v>
                </c:pt>
                <c:pt idx="115">
                  <c:v>1507.48</c:v>
                </c:pt>
                <c:pt idx="116">
                  <c:v>1074.6379999999999</c:v>
                </c:pt>
                <c:pt idx="117">
                  <c:v>1107.2329999999999</c:v>
                </c:pt>
                <c:pt idx="118">
                  <c:v>940.35199999999998</c:v>
                </c:pt>
                <c:pt idx="119">
                  <c:v>1364.9780000000001</c:v>
                </c:pt>
                <c:pt idx="120">
                  <c:v>1094.81</c:v>
                </c:pt>
                <c:pt idx="121">
                  <c:v>1325.798</c:v>
                </c:pt>
                <c:pt idx="122">
                  <c:v>941.74</c:v>
                </c:pt>
                <c:pt idx="123">
                  <c:v>946.15599999999995</c:v>
                </c:pt>
                <c:pt idx="124">
                  <c:v>743.18799999999999</c:v>
                </c:pt>
                <c:pt idx="125">
                  <c:v>685.35599999999999</c:v>
                </c:pt>
                <c:pt idx="126">
                  <c:v>860.54200000000003</c:v>
                </c:pt>
                <c:pt idx="127">
                  <c:v>647.19000000000005</c:v>
                </c:pt>
                <c:pt idx="128">
                  <c:v>575.61900000000003</c:v>
                </c:pt>
                <c:pt idx="129">
                  <c:v>947.58799999999997</c:v>
                </c:pt>
                <c:pt idx="130">
                  <c:v>966.58600000000001</c:v>
                </c:pt>
                <c:pt idx="131">
                  <c:v>1442.2819999999999</c:v>
                </c:pt>
                <c:pt idx="132">
                  <c:v>2106.2689999999998</c:v>
                </c:pt>
                <c:pt idx="133">
                  <c:v>2343.1860000000001</c:v>
                </c:pt>
                <c:pt idx="134">
                  <c:v>1977.951</c:v>
                </c:pt>
                <c:pt idx="135">
                  <c:v>1390.713</c:v>
                </c:pt>
                <c:pt idx="136">
                  <c:v>1008.117</c:v>
                </c:pt>
                <c:pt idx="137">
                  <c:v>897.80600000000004</c:v>
                </c:pt>
                <c:pt idx="138">
                  <c:v>1113.1969999999999</c:v>
                </c:pt>
                <c:pt idx="139">
                  <c:v>1049.7349999999999</c:v>
                </c:pt>
                <c:pt idx="140">
                  <c:v>1026.6199999999999</c:v>
                </c:pt>
                <c:pt idx="141">
                  <c:v>890.87900000000002</c:v>
                </c:pt>
                <c:pt idx="142">
                  <c:v>1163.3779999999999</c:v>
                </c:pt>
                <c:pt idx="143">
                  <c:v>2000.355</c:v>
                </c:pt>
                <c:pt idx="144">
                  <c:v>1785.768</c:v>
                </c:pt>
                <c:pt idx="145">
                  <c:v>1335.5640000000001</c:v>
                </c:pt>
                <c:pt idx="146">
                  <c:v>2149.7370000000001</c:v>
                </c:pt>
                <c:pt idx="147">
                  <c:v>2068.558</c:v>
                </c:pt>
                <c:pt idx="148">
                  <c:v>1566.7470000000001</c:v>
                </c:pt>
                <c:pt idx="149">
                  <c:v>1681.175</c:v>
                </c:pt>
                <c:pt idx="150">
                  <c:v>804.47299999999996</c:v>
                </c:pt>
                <c:pt idx="151">
                  <c:v>545.46500000000003</c:v>
                </c:pt>
                <c:pt idx="152">
                  <c:v>569.76099999999997</c:v>
                </c:pt>
                <c:pt idx="153">
                  <c:v>1470.6759999999999</c:v>
                </c:pt>
                <c:pt idx="154">
                  <c:v>1458.453</c:v>
                </c:pt>
                <c:pt idx="155">
                  <c:v>2299.751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A3-4268-8DE6-A3033306DF7B}"/>
            </c:ext>
          </c:extLst>
        </c:ser>
        <c:ser>
          <c:idx val="2"/>
          <c:order val="1"/>
          <c:tx>
            <c:v>Delivered volume, GTF</c:v>
          </c:tx>
          <c:spPr>
            <a:solidFill>
              <a:srgbClr val="003856"/>
            </a:solidFill>
            <a:ln>
              <a:noFill/>
            </a:ln>
          </c:spPr>
          <c:cat>
            <c:numRef>
              <c:f>'GTF + ETF_Volumen'!$D$7:$D$162</c:f>
              <c:numCache>
                <c:formatCode>mmm\-yy</c:formatCode>
                <c:ptCount val="156"/>
                <c:pt idx="0">
                  <c:v>40179</c:v>
                </c:pt>
                <c:pt idx="1">
                  <c:v>40210</c:v>
                </c:pt>
                <c:pt idx="2">
                  <c:v>40238</c:v>
                </c:pt>
                <c:pt idx="3">
                  <c:v>40269</c:v>
                </c:pt>
                <c:pt idx="4">
                  <c:v>40299</c:v>
                </c:pt>
                <c:pt idx="5">
                  <c:v>40330</c:v>
                </c:pt>
                <c:pt idx="6">
                  <c:v>40360</c:v>
                </c:pt>
                <c:pt idx="7">
                  <c:v>40391</c:v>
                </c:pt>
                <c:pt idx="8">
                  <c:v>40422</c:v>
                </c:pt>
                <c:pt idx="9">
                  <c:v>40452</c:v>
                </c:pt>
                <c:pt idx="10">
                  <c:v>40483</c:v>
                </c:pt>
                <c:pt idx="11">
                  <c:v>40513</c:v>
                </c:pt>
                <c:pt idx="12">
                  <c:v>40544</c:v>
                </c:pt>
                <c:pt idx="13">
                  <c:v>40575</c:v>
                </c:pt>
                <c:pt idx="14">
                  <c:v>40603</c:v>
                </c:pt>
                <c:pt idx="15">
                  <c:v>40634</c:v>
                </c:pt>
                <c:pt idx="16">
                  <c:v>40664</c:v>
                </c:pt>
                <c:pt idx="17">
                  <c:v>40695</c:v>
                </c:pt>
                <c:pt idx="18">
                  <c:v>40725</c:v>
                </c:pt>
                <c:pt idx="19">
                  <c:v>40756</c:v>
                </c:pt>
                <c:pt idx="20">
                  <c:v>40787</c:v>
                </c:pt>
                <c:pt idx="21">
                  <c:v>40817</c:v>
                </c:pt>
                <c:pt idx="22">
                  <c:v>40848</c:v>
                </c:pt>
                <c:pt idx="23">
                  <c:v>40878</c:v>
                </c:pt>
                <c:pt idx="24">
                  <c:v>40909</c:v>
                </c:pt>
                <c:pt idx="25">
                  <c:v>40940</c:v>
                </c:pt>
                <c:pt idx="26">
                  <c:v>40969</c:v>
                </c:pt>
                <c:pt idx="27">
                  <c:v>41000</c:v>
                </c:pt>
                <c:pt idx="28">
                  <c:v>41030</c:v>
                </c:pt>
                <c:pt idx="29">
                  <c:v>41061</c:v>
                </c:pt>
                <c:pt idx="30">
                  <c:v>41091</c:v>
                </c:pt>
                <c:pt idx="31">
                  <c:v>41122</c:v>
                </c:pt>
                <c:pt idx="32">
                  <c:v>41153</c:v>
                </c:pt>
                <c:pt idx="33">
                  <c:v>41183</c:v>
                </c:pt>
                <c:pt idx="34">
                  <c:v>41214</c:v>
                </c:pt>
                <c:pt idx="35">
                  <c:v>41244</c:v>
                </c:pt>
                <c:pt idx="36">
                  <c:v>41275</c:v>
                </c:pt>
                <c:pt idx="37">
                  <c:v>41306</c:v>
                </c:pt>
                <c:pt idx="38">
                  <c:v>41334</c:v>
                </c:pt>
                <c:pt idx="39">
                  <c:v>41365</c:v>
                </c:pt>
                <c:pt idx="40">
                  <c:v>41395</c:v>
                </c:pt>
                <c:pt idx="41">
                  <c:v>41426</c:v>
                </c:pt>
                <c:pt idx="42">
                  <c:v>41456</c:v>
                </c:pt>
                <c:pt idx="43">
                  <c:v>41487</c:v>
                </c:pt>
                <c:pt idx="44">
                  <c:v>41518</c:v>
                </c:pt>
                <c:pt idx="45">
                  <c:v>41548</c:v>
                </c:pt>
                <c:pt idx="46">
                  <c:v>41579</c:v>
                </c:pt>
                <c:pt idx="47">
                  <c:v>41609</c:v>
                </c:pt>
                <c:pt idx="48">
                  <c:v>41640</c:v>
                </c:pt>
                <c:pt idx="49">
                  <c:v>41671</c:v>
                </c:pt>
                <c:pt idx="50">
                  <c:v>41699</c:v>
                </c:pt>
                <c:pt idx="51">
                  <c:v>41730</c:v>
                </c:pt>
                <c:pt idx="52">
                  <c:v>41760</c:v>
                </c:pt>
                <c:pt idx="53">
                  <c:v>41791</c:v>
                </c:pt>
                <c:pt idx="54">
                  <c:v>41821</c:v>
                </c:pt>
                <c:pt idx="55">
                  <c:v>41852</c:v>
                </c:pt>
                <c:pt idx="56">
                  <c:v>41883</c:v>
                </c:pt>
                <c:pt idx="57">
                  <c:v>41913</c:v>
                </c:pt>
                <c:pt idx="58">
                  <c:v>41944</c:v>
                </c:pt>
                <c:pt idx="59">
                  <c:v>41974</c:v>
                </c:pt>
                <c:pt idx="60">
                  <c:v>42005</c:v>
                </c:pt>
                <c:pt idx="61">
                  <c:v>42036</c:v>
                </c:pt>
                <c:pt idx="62">
                  <c:v>42064</c:v>
                </c:pt>
                <c:pt idx="63">
                  <c:v>42095</c:v>
                </c:pt>
                <c:pt idx="64">
                  <c:v>42125</c:v>
                </c:pt>
                <c:pt idx="65">
                  <c:v>42156</c:v>
                </c:pt>
                <c:pt idx="66">
                  <c:v>42186</c:v>
                </c:pt>
                <c:pt idx="67">
                  <c:v>42217</c:v>
                </c:pt>
                <c:pt idx="68">
                  <c:v>42248</c:v>
                </c:pt>
                <c:pt idx="69">
                  <c:v>42278</c:v>
                </c:pt>
                <c:pt idx="70">
                  <c:v>42309</c:v>
                </c:pt>
                <c:pt idx="71">
                  <c:v>42339</c:v>
                </c:pt>
                <c:pt idx="72">
                  <c:v>42370</c:v>
                </c:pt>
                <c:pt idx="73">
                  <c:v>42401</c:v>
                </c:pt>
                <c:pt idx="74">
                  <c:v>42430</c:v>
                </c:pt>
                <c:pt idx="75">
                  <c:v>42461</c:v>
                </c:pt>
                <c:pt idx="76">
                  <c:v>42491</c:v>
                </c:pt>
                <c:pt idx="77">
                  <c:v>42522</c:v>
                </c:pt>
                <c:pt idx="78">
                  <c:v>42552</c:v>
                </c:pt>
                <c:pt idx="79">
                  <c:v>42583</c:v>
                </c:pt>
                <c:pt idx="80">
                  <c:v>42614</c:v>
                </c:pt>
                <c:pt idx="81">
                  <c:v>42644</c:v>
                </c:pt>
                <c:pt idx="82">
                  <c:v>42675</c:v>
                </c:pt>
                <c:pt idx="83">
                  <c:v>42705</c:v>
                </c:pt>
                <c:pt idx="84">
                  <c:v>42736</c:v>
                </c:pt>
                <c:pt idx="85">
                  <c:v>42767</c:v>
                </c:pt>
                <c:pt idx="86">
                  <c:v>42795</c:v>
                </c:pt>
                <c:pt idx="87">
                  <c:v>42826</c:v>
                </c:pt>
                <c:pt idx="88">
                  <c:v>42856</c:v>
                </c:pt>
                <c:pt idx="89">
                  <c:v>42887</c:v>
                </c:pt>
                <c:pt idx="90">
                  <c:v>42917</c:v>
                </c:pt>
                <c:pt idx="91">
                  <c:v>42948</c:v>
                </c:pt>
                <c:pt idx="92">
                  <c:v>42979</c:v>
                </c:pt>
                <c:pt idx="93">
                  <c:v>43009</c:v>
                </c:pt>
                <c:pt idx="94">
                  <c:v>43040</c:v>
                </c:pt>
                <c:pt idx="95">
                  <c:v>43070</c:v>
                </c:pt>
                <c:pt idx="96">
                  <c:v>43101</c:v>
                </c:pt>
                <c:pt idx="97">
                  <c:v>43132</c:v>
                </c:pt>
                <c:pt idx="98">
                  <c:v>43160</c:v>
                </c:pt>
                <c:pt idx="99">
                  <c:v>43191</c:v>
                </c:pt>
                <c:pt idx="100">
                  <c:v>43221</c:v>
                </c:pt>
                <c:pt idx="101">
                  <c:v>43252</c:v>
                </c:pt>
                <c:pt idx="102">
                  <c:v>43282</c:v>
                </c:pt>
                <c:pt idx="103">
                  <c:v>43313</c:v>
                </c:pt>
                <c:pt idx="104">
                  <c:v>43344</c:v>
                </c:pt>
                <c:pt idx="105">
                  <c:v>43374</c:v>
                </c:pt>
                <c:pt idx="106">
                  <c:v>43405</c:v>
                </c:pt>
                <c:pt idx="107">
                  <c:v>43435</c:v>
                </c:pt>
                <c:pt idx="108">
                  <c:v>43466</c:v>
                </c:pt>
                <c:pt idx="109">
                  <c:v>43497</c:v>
                </c:pt>
                <c:pt idx="110">
                  <c:v>43525</c:v>
                </c:pt>
                <c:pt idx="111">
                  <c:v>43556</c:v>
                </c:pt>
                <c:pt idx="112">
                  <c:v>43586</c:v>
                </c:pt>
                <c:pt idx="113">
                  <c:v>43617</c:v>
                </c:pt>
                <c:pt idx="114">
                  <c:v>43647</c:v>
                </c:pt>
                <c:pt idx="115">
                  <c:v>43678</c:v>
                </c:pt>
                <c:pt idx="116">
                  <c:v>43709</c:v>
                </c:pt>
                <c:pt idx="117">
                  <c:v>43739</c:v>
                </c:pt>
                <c:pt idx="118">
                  <c:v>43770</c:v>
                </c:pt>
                <c:pt idx="119">
                  <c:v>43800</c:v>
                </c:pt>
                <c:pt idx="120">
                  <c:v>43831</c:v>
                </c:pt>
                <c:pt idx="121">
                  <c:v>43862</c:v>
                </c:pt>
                <c:pt idx="122">
                  <c:v>43891</c:v>
                </c:pt>
                <c:pt idx="123">
                  <c:v>43922</c:v>
                </c:pt>
                <c:pt idx="124">
                  <c:v>43952</c:v>
                </c:pt>
                <c:pt idx="125">
                  <c:v>43983</c:v>
                </c:pt>
                <c:pt idx="126">
                  <c:v>44013</c:v>
                </c:pt>
                <c:pt idx="127">
                  <c:v>44044</c:v>
                </c:pt>
                <c:pt idx="128">
                  <c:v>44075</c:v>
                </c:pt>
                <c:pt idx="129">
                  <c:v>44105</c:v>
                </c:pt>
                <c:pt idx="130">
                  <c:v>44136</c:v>
                </c:pt>
                <c:pt idx="131">
                  <c:v>44166</c:v>
                </c:pt>
                <c:pt idx="132">
                  <c:v>44197</c:v>
                </c:pt>
                <c:pt idx="133">
                  <c:v>44228</c:v>
                </c:pt>
                <c:pt idx="134">
                  <c:v>44256</c:v>
                </c:pt>
                <c:pt idx="135">
                  <c:v>44287</c:v>
                </c:pt>
                <c:pt idx="136">
                  <c:v>44317</c:v>
                </c:pt>
                <c:pt idx="137">
                  <c:v>44348</c:v>
                </c:pt>
                <c:pt idx="138">
                  <c:v>44378</c:v>
                </c:pt>
                <c:pt idx="139">
                  <c:v>44409</c:v>
                </c:pt>
                <c:pt idx="140">
                  <c:v>44440</c:v>
                </c:pt>
                <c:pt idx="141">
                  <c:v>44470</c:v>
                </c:pt>
                <c:pt idx="142">
                  <c:v>44501</c:v>
                </c:pt>
                <c:pt idx="143">
                  <c:v>44531</c:v>
                </c:pt>
                <c:pt idx="144">
                  <c:v>44562</c:v>
                </c:pt>
                <c:pt idx="145">
                  <c:v>44593</c:v>
                </c:pt>
                <c:pt idx="146">
                  <c:v>44621</c:v>
                </c:pt>
                <c:pt idx="147">
                  <c:v>44652</c:v>
                </c:pt>
                <c:pt idx="148">
                  <c:v>44682</c:v>
                </c:pt>
                <c:pt idx="149">
                  <c:v>44713</c:v>
                </c:pt>
                <c:pt idx="150">
                  <c:v>44743</c:v>
                </c:pt>
                <c:pt idx="151">
                  <c:v>44774</c:v>
                </c:pt>
                <c:pt idx="152">
                  <c:v>44805</c:v>
                </c:pt>
                <c:pt idx="153">
                  <c:v>44835</c:v>
                </c:pt>
                <c:pt idx="154">
                  <c:v>44866</c:v>
                </c:pt>
                <c:pt idx="155">
                  <c:v>44896</c:v>
                </c:pt>
              </c:numCache>
            </c:numRef>
          </c:cat>
          <c:val>
            <c:numRef>
              <c:f>'GTF + ETF_Volumen'!$F$7:$F$162</c:f>
              <c:numCache>
                <c:formatCode>_ * #,##0_ ;_ * \-#,##0_ ;_ * "-"??_ ;_ @_ </c:formatCode>
                <c:ptCount val="156"/>
                <c:pt idx="0">
                  <c:v>3006.5408809999999</c:v>
                </c:pt>
                <c:pt idx="1">
                  <c:v>2801.0393020000001</c:v>
                </c:pt>
                <c:pt idx="2">
                  <c:v>3415.2168579999998</c:v>
                </c:pt>
                <c:pt idx="3">
                  <c:v>2261.179279</c:v>
                </c:pt>
                <c:pt idx="4">
                  <c:v>1912.4083969999999</c:v>
                </c:pt>
                <c:pt idx="5">
                  <c:v>1674.510986</c:v>
                </c:pt>
                <c:pt idx="6">
                  <c:v>1744.0426689999999</c:v>
                </c:pt>
                <c:pt idx="7">
                  <c:v>1850.4828749999999</c:v>
                </c:pt>
                <c:pt idx="8">
                  <c:v>2069.3276460000002</c:v>
                </c:pt>
                <c:pt idx="9">
                  <c:v>2303.219963</c:v>
                </c:pt>
                <c:pt idx="10">
                  <c:v>2967.4790269999999</c:v>
                </c:pt>
                <c:pt idx="11">
                  <c:v>4468.2836090000001</c:v>
                </c:pt>
                <c:pt idx="12">
                  <c:v>3947.3328029999998</c:v>
                </c:pt>
                <c:pt idx="13">
                  <c:v>3417.1203540000001</c:v>
                </c:pt>
                <c:pt idx="14">
                  <c:v>4146.16482</c:v>
                </c:pt>
                <c:pt idx="15">
                  <c:v>3084.3496789999999</c:v>
                </c:pt>
                <c:pt idx="16">
                  <c:v>3053.150909</c:v>
                </c:pt>
                <c:pt idx="17">
                  <c:v>1818.944741</c:v>
                </c:pt>
                <c:pt idx="18">
                  <c:v>1829.657925</c:v>
                </c:pt>
                <c:pt idx="19">
                  <c:v>1994.6844900000001</c:v>
                </c:pt>
                <c:pt idx="20">
                  <c:v>2060.3787470000002</c:v>
                </c:pt>
                <c:pt idx="21">
                  <c:v>2421.6455890000002</c:v>
                </c:pt>
                <c:pt idx="22">
                  <c:v>3819.7681090000001</c:v>
                </c:pt>
                <c:pt idx="23">
                  <c:v>4096.4066499999999</c:v>
                </c:pt>
                <c:pt idx="24">
                  <c:v>4318.392664</c:v>
                </c:pt>
                <c:pt idx="25">
                  <c:v>4346.0158300000003</c:v>
                </c:pt>
                <c:pt idx="26">
                  <c:v>3867.6564539999999</c:v>
                </c:pt>
                <c:pt idx="27">
                  <c:v>2947.0580970000001</c:v>
                </c:pt>
                <c:pt idx="28">
                  <c:v>2910.2409579999999</c:v>
                </c:pt>
                <c:pt idx="29">
                  <c:v>3094.5923939999998</c:v>
                </c:pt>
                <c:pt idx="30">
                  <c:v>2745.5052390000001</c:v>
                </c:pt>
                <c:pt idx="31">
                  <c:v>2504.5049119999999</c:v>
                </c:pt>
                <c:pt idx="32">
                  <c:v>2915.8055380000001</c:v>
                </c:pt>
                <c:pt idx="33">
                  <c:v>1990.5568519999999</c:v>
                </c:pt>
                <c:pt idx="34">
                  <c:v>2927.4440450000002</c:v>
                </c:pt>
                <c:pt idx="35">
                  <c:v>3744.8404439999999</c:v>
                </c:pt>
                <c:pt idx="36">
                  <c:v>3143.769945</c:v>
                </c:pt>
                <c:pt idx="37">
                  <c:v>2976.7127110000001</c:v>
                </c:pt>
                <c:pt idx="38">
                  <c:v>3047.4511210000001</c:v>
                </c:pt>
                <c:pt idx="39">
                  <c:v>1757.7896450000001</c:v>
                </c:pt>
                <c:pt idx="40">
                  <c:v>1799.8455779999999</c:v>
                </c:pt>
                <c:pt idx="41">
                  <c:v>1585.5742359999999</c:v>
                </c:pt>
                <c:pt idx="42">
                  <c:v>1347.565634</c:v>
                </c:pt>
                <c:pt idx="43">
                  <c:v>1229.5327500000001</c:v>
                </c:pt>
                <c:pt idx="44">
                  <c:v>1475.3546690000001</c:v>
                </c:pt>
                <c:pt idx="45">
                  <c:v>2467.5182580000001</c:v>
                </c:pt>
                <c:pt idx="46">
                  <c:v>2439.4374039999998</c:v>
                </c:pt>
                <c:pt idx="47">
                  <c:v>2744.4094909999999</c:v>
                </c:pt>
                <c:pt idx="48">
                  <c:v>3257.1796920000002</c:v>
                </c:pt>
                <c:pt idx="49">
                  <c:v>2824.333572</c:v>
                </c:pt>
                <c:pt idx="50">
                  <c:v>2685.0930840000001</c:v>
                </c:pt>
                <c:pt idx="51">
                  <c:v>2397.7050789999998</c:v>
                </c:pt>
                <c:pt idx="52">
                  <c:v>1862.786196</c:v>
                </c:pt>
                <c:pt idx="53">
                  <c:v>1775.221767</c:v>
                </c:pt>
                <c:pt idx="54">
                  <c:v>1479.456696</c:v>
                </c:pt>
                <c:pt idx="55">
                  <c:v>1275.756789</c:v>
                </c:pt>
                <c:pt idx="56">
                  <c:v>1372.2434430000001</c:v>
                </c:pt>
                <c:pt idx="57">
                  <c:v>898.43930899999998</c:v>
                </c:pt>
                <c:pt idx="58">
                  <c:v>899.81461999999999</c:v>
                </c:pt>
                <c:pt idx="59">
                  <c:v>982.22594300000003</c:v>
                </c:pt>
                <c:pt idx="60">
                  <c:v>953.5684</c:v>
                </c:pt>
                <c:pt idx="61">
                  <c:v>717.52007700000001</c:v>
                </c:pt>
                <c:pt idx="62">
                  <c:v>575.97774300000003</c:v>
                </c:pt>
                <c:pt idx="63">
                  <c:v>683.51498800000002</c:v>
                </c:pt>
                <c:pt idx="64">
                  <c:v>763.66645800000003</c:v>
                </c:pt>
                <c:pt idx="65">
                  <c:v>1045.6685520000001</c:v>
                </c:pt>
                <c:pt idx="66">
                  <c:v>941.39170799999999</c:v>
                </c:pt>
                <c:pt idx="67">
                  <c:v>963.190336</c:v>
                </c:pt>
                <c:pt idx="68">
                  <c:v>988.34350800000004</c:v>
                </c:pt>
                <c:pt idx="69">
                  <c:v>1089.110821</c:v>
                </c:pt>
                <c:pt idx="70">
                  <c:v>1447.868156</c:v>
                </c:pt>
                <c:pt idx="71">
                  <c:v>724.40851399999997</c:v>
                </c:pt>
                <c:pt idx="72">
                  <c:v>1000.889854</c:v>
                </c:pt>
                <c:pt idx="73">
                  <c:v>903.85224000000005</c:v>
                </c:pt>
                <c:pt idx="74">
                  <c:v>826.92830500000002</c:v>
                </c:pt>
                <c:pt idx="75">
                  <c:v>384.34445799999997</c:v>
                </c:pt>
                <c:pt idx="76">
                  <c:v>278.31303000000003</c:v>
                </c:pt>
                <c:pt idx="77">
                  <c:v>409.80770999999999</c:v>
                </c:pt>
                <c:pt idx="78">
                  <c:v>509.35420800000003</c:v>
                </c:pt>
                <c:pt idx="79">
                  <c:v>850.47861599999999</c:v>
                </c:pt>
                <c:pt idx="80">
                  <c:v>592.257744</c:v>
                </c:pt>
                <c:pt idx="81">
                  <c:v>1243.7640220000001</c:v>
                </c:pt>
                <c:pt idx="82">
                  <c:v>1458.6564920000001</c:v>
                </c:pt>
                <c:pt idx="83">
                  <c:v>1702.672998</c:v>
                </c:pt>
                <c:pt idx="84">
                  <c:v>1998.9181530000001</c:v>
                </c:pt>
                <c:pt idx="85">
                  <c:v>1688.5061290000001</c:v>
                </c:pt>
                <c:pt idx="86">
                  <c:v>1881.154669</c:v>
                </c:pt>
                <c:pt idx="87">
                  <c:v>836.29927199999997</c:v>
                </c:pt>
                <c:pt idx="88">
                  <c:v>782.05263600000001</c:v>
                </c:pt>
                <c:pt idx="89">
                  <c:v>924.17208000000005</c:v>
                </c:pt>
                <c:pt idx="90">
                  <c:v>1665.8234359999999</c:v>
                </c:pt>
                <c:pt idx="91">
                  <c:v>1710.8825999999999</c:v>
                </c:pt>
                <c:pt idx="92">
                  <c:v>1164.6127919999999</c:v>
                </c:pt>
                <c:pt idx="93">
                  <c:v>1589.153462</c:v>
                </c:pt>
                <c:pt idx="94">
                  <c:v>2218.2455519999999</c:v>
                </c:pt>
                <c:pt idx="95">
                  <c:v>1896.87348</c:v>
                </c:pt>
                <c:pt idx="96">
                  <c:v>1776.417672</c:v>
                </c:pt>
                <c:pt idx="97">
                  <c:v>1663.875168</c:v>
                </c:pt>
                <c:pt idx="98">
                  <c:v>1975.390975</c:v>
                </c:pt>
                <c:pt idx="99">
                  <c:v>738.73128799999995</c:v>
                </c:pt>
                <c:pt idx="100">
                  <c:v>737.80884100000003</c:v>
                </c:pt>
                <c:pt idx="101">
                  <c:v>764.66376000000002</c:v>
                </c:pt>
                <c:pt idx="102">
                  <c:v>689.67567199999996</c:v>
                </c:pt>
                <c:pt idx="103">
                  <c:v>783.31936800000005</c:v>
                </c:pt>
                <c:pt idx="104">
                  <c:v>1016.321216</c:v>
                </c:pt>
                <c:pt idx="105">
                  <c:v>7072.2157870000001</c:v>
                </c:pt>
                <c:pt idx="106">
                  <c:v>6908.9100859999999</c:v>
                </c:pt>
                <c:pt idx="107">
                  <c:v>6999.7143329999999</c:v>
                </c:pt>
                <c:pt idx="108">
                  <c:v>7398.6971569999996</c:v>
                </c:pt>
                <c:pt idx="109">
                  <c:v>6920.0615429999998</c:v>
                </c:pt>
                <c:pt idx="110">
                  <c:v>7545.2839190000004</c:v>
                </c:pt>
                <c:pt idx="111">
                  <c:v>5920.9977070000004</c:v>
                </c:pt>
                <c:pt idx="112">
                  <c:v>6717.473645</c:v>
                </c:pt>
                <c:pt idx="113">
                  <c:v>6100.5200279999999</c:v>
                </c:pt>
                <c:pt idx="114">
                  <c:v>6309.0429489999997</c:v>
                </c:pt>
                <c:pt idx="115">
                  <c:v>5672.4291430000003</c:v>
                </c:pt>
                <c:pt idx="116">
                  <c:v>3404.4720600000001</c:v>
                </c:pt>
                <c:pt idx="117">
                  <c:v>1667.2877559999999</c:v>
                </c:pt>
                <c:pt idx="118">
                  <c:v>1811.7777759999999</c:v>
                </c:pt>
                <c:pt idx="119">
                  <c:v>1770.263087</c:v>
                </c:pt>
                <c:pt idx="120">
                  <c:v>1950.5078450000001</c:v>
                </c:pt>
                <c:pt idx="121">
                  <c:v>1984.221485</c:v>
                </c:pt>
                <c:pt idx="122">
                  <c:v>2500.6579499999998</c:v>
                </c:pt>
                <c:pt idx="123">
                  <c:v>1279.43388</c:v>
                </c:pt>
                <c:pt idx="124">
                  <c:v>1243.464064</c:v>
                </c:pt>
                <c:pt idx="125">
                  <c:v>1250.9996000000001</c:v>
                </c:pt>
                <c:pt idx="126">
                  <c:v>1311.202004</c:v>
                </c:pt>
                <c:pt idx="127">
                  <c:v>1438.1415199999999</c:v>
                </c:pt>
                <c:pt idx="128">
                  <c:v>1468.05348</c:v>
                </c:pt>
                <c:pt idx="129">
                  <c:v>1784.5454950000001</c:v>
                </c:pt>
                <c:pt idx="130">
                  <c:v>2014.12888</c:v>
                </c:pt>
                <c:pt idx="131">
                  <c:v>1914.889938</c:v>
                </c:pt>
                <c:pt idx="132">
                  <c:v>1329.7549839999999</c:v>
                </c:pt>
                <c:pt idx="133">
                  <c:v>1209.461176</c:v>
                </c:pt>
                <c:pt idx="134">
                  <c:v>1334.1037040000001</c:v>
                </c:pt>
                <c:pt idx="135">
                  <c:v>1154.6873840000001</c:v>
                </c:pt>
                <c:pt idx="136">
                  <c:v>1175.7013919999999</c:v>
                </c:pt>
                <c:pt idx="137">
                  <c:v>1097.041344</c:v>
                </c:pt>
                <c:pt idx="138">
                  <c:v>1165.929216</c:v>
                </c:pt>
                <c:pt idx="139">
                  <c:v>1103.69616</c:v>
                </c:pt>
                <c:pt idx="140">
                  <c:v>1067.0671199999999</c:v>
                </c:pt>
                <c:pt idx="141">
                  <c:v>1262.900686</c:v>
                </c:pt>
                <c:pt idx="142">
                  <c:v>1284.3381999999999</c:v>
                </c:pt>
                <c:pt idx="143">
                  <c:v>1592.6031359999999</c:v>
                </c:pt>
                <c:pt idx="144">
                  <c:v>1329.4414730000001</c:v>
                </c:pt>
                <c:pt idx="145">
                  <c:v>1208.333672</c:v>
                </c:pt>
                <c:pt idx="146">
                  <c:v>1340.810827</c:v>
                </c:pt>
                <c:pt idx="147">
                  <c:v>584.98368000000005</c:v>
                </c:pt>
                <c:pt idx="148">
                  <c:v>635.82248800000002</c:v>
                </c:pt>
                <c:pt idx="149">
                  <c:v>533.45327999999995</c:v>
                </c:pt>
                <c:pt idx="150">
                  <c:v>648.35704799999996</c:v>
                </c:pt>
                <c:pt idx="151">
                  <c:v>639.36575200000004</c:v>
                </c:pt>
                <c:pt idx="152">
                  <c:v>604.68606699999998</c:v>
                </c:pt>
                <c:pt idx="153">
                  <c:v>2581.3680410000002</c:v>
                </c:pt>
                <c:pt idx="154">
                  <c:v>2807.1769199999999</c:v>
                </c:pt>
                <c:pt idx="155">
                  <c:v>5136.700976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DA3-4268-8DE6-A3033306DF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7073664"/>
        <c:axId val="207075200"/>
      </c:areaChart>
      <c:lineChart>
        <c:grouping val="standard"/>
        <c:varyColors val="0"/>
        <c:ser>
          <c:idx val="3"/>
          <c:order val="2"/>
          <c:tx>
            <c:v>DK+S consumption</c:v>
          </c:tx>
          <c:spPr>
            <a:ln w="19050">
              <a:solidFill>
                <a:srgbClr val="7CCCBF"/>
              </a:solidFill>
            </a:ln>
          </c:spPr>
          <c:marker>
            <c:symbol val="none"/>
          </c:marker>
          <c:cat>
            <c:numRef>
              <c:f>'GTF + ETF_Volumen'!$D$7:$D$162</c:f>
              <c:numCache>
                <c:formatCode>mmm\-yy</c:formatCode>
                <c:ptCount val="156"/>
                <c:pt idx="0">
                  <c:v>40179</c:v>
                </c:pt>
                <c:pt idx="1">
                  <c:v>40210</c:v>
                </c:pt>
                <c:pt idx="2">
                  <c:v>40238</c:v>
                </c:pt>
                <c:pt idx="3">
                  <c:v>40269</c:v>
                </c:pt>
                <c:pt idx="4">
                  <c:v>40299</c:v>
                </c:pt>
                <c:pt idx="5">
                  <c:v>40330</c:v>
                </c:pt>
                <c:pt idx="6">
                  <c:v>40360</c:v>
                </c:pt>
                <c:pt idx="7">
                  <c:v>40391</c:v>
                </c:pt>
                <c:pt idx="8">
                  <c:v>40422</c:v>
                </c:pt>
                <c:pt idx="9">
                  <c:v>40452</c:v>
                </c:pt>
                <c:pt idx="10">
                  <c:v>40483</c:v>
                </c:pt>
                <c:pt idx="11">
                  <c:v>40513</c:v>
                </c:pt>
                <c:pt idx="12">
                  <c:v>40544</c:v>
                </c:pt>
                <c:pt idx="13">
                  <c:v>40575</c:v>
                </c:pt>
                <c:pt idx="14">
                  <c:v>40603</c:v>
                </c:pt>
                <c:pt idx="15">
                  <c:v>40634</c:v>
                </c:pt>
                <c:pt idx="16">
                  <c:v>40664</c:v>
                </c:pt>
                <c:pt idx="17">
                  <c:v>40695</c:v>
                </c:pt>
                <c:pt idx="18">
                  <c:v>40725</c:v>
                </c:pt>
                <c:pt idx="19">
                  <c:v>40756</c:v>
                </c:pt>
                <c:pt idx="20">
                  <c:v>40787</c:v>
                </c:pt>
                <c:pt idx="21">
                  <c:v>40817</c:v>
                </c:pt>
                <c:pt idx="22">
                  <c:v>40848</c:v>
                </c:pt>
                <c:pt idx="23">
                  <c:v>40878</c:v>
                </c:pt>
                <c:pt idx="24">
                  <c:v>40909</c:v>
                </c:pt>
                <c:pt idx="25">
                  <c:v>40940</c:v>
                </c:pt>
                <c:pt idx="26">
                  <c:v>40969</c:v>
                </c:pt>
                <c:pt idx="27">
                  <c:v>41000</c:v>
                </c:pt>
                <c:pt idx="28">
                  <c:v>41030</c:v>
                </c:pt>
                <c:pt idx="29">
                  <c:v>41061</c:v>
                </c:pt>
                <c:pt idx="30">
                  <c:v>41091</c:v>
                </c:pt>
                <c:pt idx="31">
                  <c:v>41122</c:v>
                </c:pt>
                <c:pt idx="32">
                  <c:v>41153</c:v>
                </c:pt>
                <c:pt idx="33">
                  <c:v>41183</c:v>
                </c:pt>
                <c:pt idx="34">
                  <c:v>41214</c:v>
                </c:pt>
                <c:pt idx="35">
                  <c:v>41244</c:v>
                </c:pt>
                <c:pt idx="36">
                  <c:v>41275</c:v>
                </c:pt>
                <c:pt idx="37">
                  <c:v>41306</c:v>
                </c:pt>
                <c:pt idx="38">
                  <c:v>41334</c:v>
                </c:pt>
                <c:pt idx="39">
                  <c:v>41365</c:v>
                </c:pt>
                <c:pt idx="40">
                  <c:v>41395</c:v>
                </c:pt>
                <c:pt idx="41">
                  <c:v>41426</c:v>
                </c:pt>
                <c:pt idx="42">
                  <c:v>41456</c:v>
                </c:pt>
                <c:pt idx="43">
                  <c:v>41487</c:v>
                </c:pt>
                <c:pt idx="44">
                  <c:v>41518</c:v>
                </c:pt>
                <c:pt idx="45">
                  <c:v>41548</c:v>
                </c:pt>
                <c:pt idx="46">
                  <c:v>41579</c:v>
                </c:pt>
                <c:pt idx="47">
                  <c:v>41609</c:v>
                </c:pt>
                <c:pt idx="48">
                  <c:v>41640</c:v>
                </c:pt>
                <c:pt idx="49">
                  <c:v>41671</c:v>
                </c:pt>
                <c:pt idx="50">
                  <c:v>41699</c:v>
                </c:pt>
                <c:pt idx="51">
                  <c:v>41730</c:v>
                </c:pt>
                <c:pt idx="52">
                  <c:v>41760</c:v>
                </c:pt>
                <c:pt idx="53">
                  <c:v>41791</c:v>
                </c:pt>
                <c:pt idx="54">
                  <c:v>41821</c:v>
                </c:pt>
                <c:pt idx="55">
                  <c:v>41852</c:v>
                </c:pt>
                <c:pt idx="56">
                  <c:v>41883</c:v>
                </c:pt>
                <c:pt idx="57">
                  <c:v>41913</c:v>
                </c:pt>
                <c:pt idx="58">
                  <c:v>41944</c:v>
                </c:pt>
                <c:pt idx="59">
                  <c:v>41974</c:v>
                </c:pt>
                <c:pt idx="60">
                  <c:v>42005</c:v>
                </c:pt>
                <c:pt idx="61">
                  <c:v>42036</c:v>
                </c:pt>
                <c:pt idx="62">
                  <c:v>42064</c:v>
                </c:pt>
                <c:pt idx="63">
                  <c:v>42095</c:v>
                </c:pt>
                <c:pt idx="64">
                  <c:v>42125</c:v>
                </c:pt>
                <c:pt idx="65">
                  <c:v>42156</c:v>
                </c:pt>
                <c:pt idx="66">
                  <c:v>42186</c:v>
                </c:pt>
                <c:pt idx="67">
                  <c:v>42217</c:v>
                </c:pt>
                <c:pt idx="68">
                  <c:v>42248</c:v>
                </c:pt>
                <c:pt idx="69">
                  <c:v>42278</c:v>
                </c:pt>
                <c:pt idx="70">
                  <c:v>42309</c:v>
                </c:pt>
                <c:pt idx="71">
                  <c:v>42339</c:v>
                </c:pt>
                <c:pt idx="72">
                  <c:v>42370</c:v>
                </c:pt>
                <c:pt idx="73">
                  <c:v>42401</c:v>
                </c:pt>
                <c:pt idx="74">
                  <c:v>42430</c:v>
                </c:pt>
                <c:pt idx="75">
                  <c:v>42461</c:v>
                </c:pt>
                <c:pt idx="76">
                  <c:v>42491</c:v>
                </c:pt>
                <c:pt idx="77">
                  <c:v>42522</c:v>
                </c:pt>
                <c:pt idx="78">
                  <c:v>42552</c:v>
                </c:pt>
                <c:pt idx="79">
                  <c:v>42583</c:v>
                </c:pt>
                <c:pt idx="80">
                  <c:v>42614</c:v>
                </c:pt>
                <c:pt idx="81">
                  <c:v>42644</c:v>
                </c:pt>
                <c:pt idx="82">
                  <c:v>42675</c:v>
                </c:pt>
                <c:pt idx="83">
                  <c:v>42705</c:v>
                </c:pt>
                <c:pt idx="84">
                  <c:v>42736</c:v>
                </c:pt>
                <c:pt idx="85">
                  <c:v>42767</c:v>
                </c:pt>
                <c:pt idx="86">
                  <c:v>42795</c:v>
                </c:pt>
                <c:pt idx="87">
                  <c:v>42826</c:v>
                </c:pt>
                <c:pt idx="88">
                  <c:v>42856</c:v>
                </c:pt>
                <c:pt idx="89">
                  <c:v>42887</c:v>
                </c:pt>
                <c:pt idx="90">
                  <c:v>42917</c:v>
                </c:pt>
                <c:pt idx="91">
                  <c:v>42948</c:v>
                </c:pt>
                <c:pt idx="92">
                  <c:v>42979</c:v>
                </c:pt>
                <c:pt idx="93">
                  <c:v>43009</c:v>
                </c:pt>
                <c:pt idx="94">
                  <c:v>43040</c:v>
                </c:pt>
                <c:pt idx="95">
                  <c:v>43070</c:v>
                </c:pt>
                <c:pt idx="96">
                  <c:v>43101</c:v>
                </c:pt>
                <c:pt idx="97">
                  <c:v>43132</c:v>
                </c:pt>
                <c:pt idx="98">
                  <c:v>43160</c:v>
                </c:pt>
                <c:pt idx="99">
                  <c:v>43191</c:v>
                </c:pt>
                <c:pt idx="100">
                  <c:v>43221</c:v>
                </c:pt>
                <c:pt idx="101">
                  <c:v>43252</c:v>
                </c:pt>
                <c:pt idx="102">
                  <c:v>43282</c:v>
                </c:pt>
                <c:pt idx="103">
                  <c:v>43313</c:v>
                </c:pt>
                <c:pt idx="104">
                  <c:v>43344</c:v>
                </c:pt>
                <c:pt idx="105">
                  <c:v>43374</c:v>
                </c:pt>
                <c:pt idx="106">
                  <c:v>43405</c:v>
                </c:pt>
                <c:pt idx="107">
                  <c:v>43435</c:v>
                </c:pt>
                <c:pt idx="108">
                  <c:v>43466</c:v>
                </c:pt>
                <c:pt idx="109">
                  <c:v>43497</c:v>
                </c:pt>
                <c:pt idx="110">
                  <c:v>43525</c:v>
                </c:pt>
                <c:pt idx="111">
                  <c:v>43556</c:v>
                </c:pt>
                <c:pt idx="112">
                  <c:v>43586</c:v>
                </c:pt>
                <c:pt idx="113">
                  <c:v>43617</c:v>
                </c:pt>
                <c:pt idx="114">
                  <c:v>43647</c:v>
                </c:pt>
                <c:pt idx="115">
                  <c:v>43678</c:v>
                </c:pt>
                <c:pt idx="116">
                  <c:v>43709</c:v>
                </c:pt>
                <c:pt idx="117">
                  <c:v>43739</c:v>
                </c:pt>
                <c:pt idx="118">
                  <c:v>43770</c:v>
                </c:pt>
                <c:pt idx="119">
                  <c:v>43800</c:v>
                </c:pt>
                <c:pt idx="120">
                  <c:v>43831</c:v>
                </c:pt>
                <c:pt idx="121">
                  <c:v>43862</c:v>
                </c:pt>
                <c:pt idx="122">
                  <c:v>43891</c:v>
                </c:pt>
                <c:pt idx="123">
                  <c:v>43922</c:v>
                </c:pt>
                <c:pt idx="124">
                  <c:v>43952</c:v>
                </c:pt>
                <c:pt idx="125">
                  <c:v>43983</c:v>
                </c:pt>
                <c:pt idx="126">
                  <c:v>44013</c:v>
                </c:pt>
                <c:pt idx="127">
                  <c:v>44044</c:v>
                </c:pt>
                <c:pt idx="128">
                  <c:v>44075</c:v>
                </c:pt>
                <c:pt idx="129">
                  <c:v>44105</c:v>
                </c:pt>
                <c:pt idx="130">
                  <c:v>44136</c:v>
                </c:pt>
                <c:pt idx="131">
                  <c:v>44166</c:v>
                </c:pt>
                <c:pt idx="132">
                  <c:v>44197</c:v>
                </c:pt>
                <c:pt idx="133">
                  <c:v>44228</c:v>
                </c:pt>
                <c:pt idx="134">
                  <c:v>44256</c:v>
                </c:pt>
                <c:pt idx="135">
                  <c:v>44287</c:v>
                </c:pt>
                <c:pt idx="136">
                  <c:v>44317</c:v>
                </c:pt>
                <c:pt idx="137">
                  <c:v>44348</c:v>
                </c:pt>
                <c:pt idx="138">
                  <c:v>44378</c:v>
                </c:pt>
                <c:pt idx="139">
                  <c:v>44409</c:v>
                </c:pt>
                <c:pt idx="140">
                  <c:v>44440</c:v>
                </c:pt>
                <c:pt idx="141">
                  <c:v>44470</c:v>
                </c:pt>
                <c:pt idx="142">
                  <c:v>44501</c:v>
                </c:pt>
                <c:pt idx="143">
                  <c:v>44531</c:v>
                </c:pt>
                <c:pt idx="144">
                  <c:v>44562</c:v>
                </c:pt>
                <c:pt idx="145">
                  <c:v>44593</c:v>
                </c:pt>
                <c:pt idx="146">
                  <c:v>44621</c:v>
                </c:pt>
                <c:pt idx="147">
                  <c:v>44652</c:v>
                </c:pt>
                <c:pt idx="148">
                  <c:v>44682</c:v>
                </c:pt>
                <c:pt idx="149">
                  <c:v>44713</c:v>
                </c:pt>
                <c:pt idx="150">
                  <c:v>44743</c:v>
                </c:pt>
                <c:pt idx="151">
                  <c:v>44774</c:v>
                </c:pt>
                <c:pt idx="152">
                  <c:v>44805</c:v>
                </c:pt>
                <c:pt idx="153">
                  <c:v>44835</c:v>
                </c:pt>
                <c:pt idx="154">
                  <c:v>44866</c:v>
                </c:pt>
                <c:pt idx="155">
                  <c:v>44896</c:v>
                </c:pt>
              </c:numCache>
            </c:numRef>
          </c:cat>
          <c:val>
            <c:numRef>
              <c:f>'GTF + ETF_Volumen'!$K$7:$K$162</c:f>
              <c:numCache>
                <c:formatCode>_ * #,##0_ ;_ * \-#,##0_ ;_ * "-"??_ ;_ @_ </c:formatCode>
                <c:ptCount val="156"/>
                <c:pt idx="0">
                  <c:v>7727.4468624219999</c:v>
                </c:pt>
                <c:pt idx="1">
                  <c:v>6855.8514039000002</c:v>
                </c:pt>
                <c:pt idx="2">
                  <c:v>6327.9370585460001</c:v>
                </c:pt>
                <c:pt idx="3">
                  <c:v>4835.9952495260004</c:v>
                </c:pt>
                <c:pt idx="4">
                  <c:v>3657.7222516920001</c:v>
                </c:pt>
                <c:pt idx="5">
                  <c:v>2370.6726120230001</c:v>
                </c:pt>
                <c:pt idx="6">
                  <c:v>2755.3316290160001</c:v>
                </c:pt>
                <c:pt idx="7">
                  <c:v>2388.6268233569999</c:v>
                </c:pt>
                <c:pt idx="8">
                  <c:v>3153.3172101940004</c:v>
                </c:pt>
                <c:pt idx="9">
                  <c:v>3984.5113957149997</c:v>
                </c:pt>
                <c:pt idx="10">
                  <c:v>6011.4552391300003</c:v>
                </c:pt>
                <c:pt idx="11">
                  <c:v>8118.1768907029991</c:v>
                </c:pt>
                <c:pt idx="12">
                  <c:v>6862.463158548002</c:v>
                </c:pt>
                <c:pt idx="13">
                  <c:v>6414.4377606460002</c:v>
                </c:pt>
                <c:pt idx="14">
                  <c:v>5700.657801931</c:v>
                </c:pt>
                <c:pt idx="15">
                  <c:v>3303.1965474589997</c:v>
                </c:pt>
                <c:pt idx="16">
                  <c:v>2759.1370982550002</c:v>
                </c:pt>
                <c:pt idx="17">
                  <c:v>1948.5649290900001</c:v>
                </c:pt>
                <c:pt idx="18">
                  <c:v>1499.7935898250003</c:v>
                </c:pt>
                <c:pt idx="19">
                  <c:v>1850.2884583530001</c:v>
                </c:pt>
                <c:pt idx="20">
                  <c:v>2447.284433456</c:v>
                </c:pt>
                <c:pt idx="21">
                  <c:v>4565.3221245539999</c:v>
                </c:pt>
                <c:pt idx="22">
                  <c:v>5541.0544329189997</c:v>
                </c:pt>
                <c:pt idx="23">
                  <c:v>5420.9388842419994</c:v>
                </c:pt>
                <c:pt idx="24">
                  <c:v>6219.8515178469997</c:v>
                </c:pt>
                <c:pt idx="25">
                  <c:v>6583.960098900001</c:v>
                </c:pt>
                <c:pt idx="26">
                  <c:v>4655.1336640339996</c:v>
                </c:pt>
                <c:pt idx="27">
                  <c:v>4251.4980684780003</c:v>
                </c:pt>
                <c:pt idx="28">
                  <c:v>3134.2800897709994</c:v>
                </c:pt>
                <c:pt idx="29">
                  <c:v>2866.8150755289998</c:v>
                </c:pt>
                <c:pt idx="30">
                  <c:v>1697.785883628</c:v>
                </c:pt>
                <c:pt idx="31">
                  <c:v>2094.3087467229998</c:v>
                </c:pt>
                <c:pt idx="32">
                  <c:v>2137.7224635390003</c:v>
                </c:pt>
                <c:pt idx="33">
                  <c:v>4288.1866423070005</c:v>
                </c:pt>
                <c:pt idx="34">
                  <c:v>4854.1082677510003</c:v>
                </c:pt>
                <c:pt idx="35">
                  <c:v>6625.3281816399995</c:v>
                </c:pt>
                <c:pt idx="36">
                  <c:v>6966.7432056940006</c:v>
                </c:pt>
                <c:pt idx="37">
                  <c:v>6481.6956215689997</c:v>
                </c:pt>
                <c:pt idx="38">
                  <c:v>6317.460095161</c:v>
                </c:pt>
                <c:pt idx="39">
                  <c:v>4657.1751404159995</c:v>
                </c:pt>
                <c:pt idx="40">
                  <c:v>3287.1464870350001</c:v>
                </c:pt>
                <c:pt idx="41">
                  <c:v>2075.6365551260005</c:v>
                </c:pt>
                <c:pt idx="42">
                  <c:v>1743.4391751410003</c:v>
                </c:pt>
                <c:pt idx="43">
                  <c:v>2633.7035671840003</c:v>
                </c:pt>
                <c:pt idx="44">
                  <c:v>2968.1513902240004</c:v>
                </c:pt>
                <c:pt idx="45">
                  <c:v>3077.8894927180004</c:v>
                </c:pt>
                <c:pt idx="46">
                  <c:v>4006.0650394520003</c:v>
                </c:pt>
                <c:pt idx="47">
                  <c:v>4461.0486665020007</c:v>
                </c:pt>
                <c:pt idx="48">
                  <c:v>5138.0909127939995</c:v>
                </c:pt>
                <c:pt idx="49">
                  <c:v>3967.5884019059999</c:v>
                </c:pt>
                <c:pt idx="50">
                  <c:v>3458.4511509019999</c:v>
                </c:pt>
                <c:pt idx="51">
                  <c:v>2983.4897920249996</c:v>
                </c:pt>
                <c:pt idx="52">
                  <c:v>2342.5940146179996</c:v>
                </c:pt>
                <c:pt idx="53">
                  <c:v>1981.1257880810003</c:v>
                </c:pt>
                <c:pt idx="54">
                  <c:v>1639.7629904989999</c:v>
                </c:pt>
                <c:pt idx="55">
                  <c:v>1565.550814982</c:v>
                </c:pt>
                <c:pt idx="56">
                  <c:v>1793.4402231919998</c:v>
                </c:pt>
                <c:pt idx="57">
                  <c:v>2646.9461751270001</c:v>
                </c:pt>
                <c:pt idx="58">
                  <c:v>3250.5316210969995</c:v>
                </c:pt>
                <c:pt idx="59">
                  <c:v>4342.0698094819991</c:v>
                </c:pt>
                <c:pt idx="60">
                  <c:v>4420.8522267940007</c:v>
                </c:pt>
                <c:pt idx="61">
                  <c:v>4302.8958464159996</c:v>
                </c:pt>
                <c:pt idx="62">
                  <c:v>3476.0870919759996</c:v>
                </c:pt>
                <c:pt idx="63">
                  <c:v>2787.3569600000001</c:v>
                </c:pt>
                <c:pt idx="64">
                  <c:v>2188.1766272939999</c:v>
                </c:pt>
                <c:pt idx="65">
                  <c:v>1967.252110268</c:v>
                </c:pt>
                <c:pt idx="66">
                  <c:v>1405.27674428</c:v>
                </c:pt>
                <c:pt idx="67">
                  <c:v>1697.6396835459998</c:v>
                </c:pt>
                <c:pt idx="68">
                  <c:v>2087.4953317590002</c:v>
                </c:pt>
                <c:pt idx="69">
                  <c:v>3198.5066878430002</c:v>
                </c:pt>
                <c:pt idx="70">
                  <c:v>3690.2821138090003</c:v>
                </c:pt>
                <c:pt idx="71">
                  <c:v>3501.2764324469995</c:v>
                </c:pt>
                <c:pt idx="72">
                  <c:v>4819.7502759210001</c:v>
                </c:pt>
                <c:pt idx="73">
                  <c:v>3939.6097715119995</c:v>
                </c:pt>
                <c:pt idx="74">
                  <c:v>4156.3418376749996</c:v>
                </c:pt>
                <c:pt idx="75">
                  <c:v>3355.3319999999999</c:v>
                </c:pt>
                <c:pt idx="76">
                  <c:v>2091.0039999999999</c:v>
                </c:pt>
                <c:pt idx="77">
                  <c:v>2115.3180000000002</c:v>
                </c:pt>
                <c:pt idx="78">
                  <c:v>1668.731103437</c:v>
                </c:pt>
                <c:pt idx="79">
                  <c:v>1398.743876405</c:v>
                </c:pt>
                <c:pt idx="80">
                  <c:v>1370.095808649</c:v>
                </c:pt>
                <c:pt idx="81">
                  <c:v>3417.824924773</c:v>
                </c:pt>
                <c:pt idx="82">
                  <c:v>4994.4642731820004</c:v>
                </c:pt>
                <c:pt idx="83">
                  <c:v>4338.7365667510003</c:v>
                </c:pt>
                <c:pt idx="84">
                  <c:v>5203.727208355971</c:v>
                </c:pt>
                <c:pt idx="85">
                  <c:v>5023.1560693368374</c:v>
                </c:pt>
                <c:pt idx="86">
                  <c:v>4618.9140429883</c:v>
                </c:pt>
                <c:pt idx="87">
                  <c:v>3654.2016784280404</c:v>
                </c:pt>
                <c:pt idx="88">
                  <c:v>3324.4311844672147</c:v>
                </c:pt>
                <c:pt idx="89">
                  <c:v>2585.2818536135751</c:v>
                </c:pt>
                <c:pt idx="90">
                  <c:v>1747.9410382123644</c:v>
                </c:pt>
                <c:pt idx="91">
                  <c:v>2251.3102331394184</c:v>
                </c:pt>
                <c:pt idx="92">
                  <c:v>3388.4975751426482</c:v>
                </c:pt>
                <c:pt idx="93">
                  <c:v>2697.1104106141302</c:v>
                </c:pt>
                <c:pt idx="94">
                  <c:v>3999.609156642633</c:v>
                </c:pt>
                <c:pt idx="95">
                  <c:v>4658.1421512766919</c:v>
                </c:pt>
                <c:pt idx="96">
                  <c:v>5070.9021657851899</c:v>
                </c:pt>
                <c:pt idx="97">
                  <c:v>4655.3812535973439</c:v>
                </c:pt>
                <c:pt idx="98">
                  <c:v>4700.0306849896824</c:v>
                </c:pt>
                <c:pt idx="99">
                  <c:v>2391.8616949427465</c:v>
                </c:pt>
                <c:pt idx="100">
                  <c:v>1603.469558533043</c:v>
                </c:pt>
                <c:pt idx="101">
                  <c:v>1363.4109985498226</c:v>
                </c:pt>
                <c:pt idx="102">
                  <c:v>1231.4608452725588</c:v>
                </c:pt>
                <c:pt idx="103">
                  <c:v>1342.1746785142943</c:v>
                </c:pt>
                <c:pt idx="104">
                  <c:v>1568.3009958758623</c:v>
                </c:pt>
                <c:pt idx="105">
                  <c:v>2217.2114907063569</c:v>
                </c:pt>
                <c:pt idx="106">
                  <c:v>3193.9225754673239</c:v>
                </c:pt>
                <c:pt idx="107">
                  <c:v>3423.6731776478491</c:v>
                </c:pt>
                <c:pt idx="108">
                  <c:v>4132.6742016134949</c:v>
                </c:pt>
                <c:pt idx="109">
                  <c:v>3124.8643712584594</c:v>
                </c:pt>
                <c:pt idx="110">
                  <c:v>3015.4993798456276</c:v>
                </c:pt>
                <c:pt idx="111">
                  <c:v>2110.7917045212093</c:v>
                </c:pt>
                <c:pt idx="112">
                  <c:v>1943.9662095348663</c:v>
                </c:pt>
                <c:pt idx="113">
                  <c:v>1330.6991418290897</c:v>
                </c:pt>
                <c:pt idx="114">
                  <c:v>1306.2112927018316</c:v>
                </c:pt>
                <c:pt idx="115">
                  <c:v>1514.8868338486741</c:v>
                </c:pt>
                <c:pt idx="116">
                  <c:v>2084.6160553007335</c:v>
                </c:pt>
                <c:pt idx="117">
                  <c:v>3789.3682546286473</c:v>
                </c:pt>
                <c:pt idx="118">
                  <c:v>4470.9855705008185</c:v>
                </c:pt>
                <c:pt idx="119">
                  <c:v>4515.2664153220985</c:v>
                </c:pt>
                <c:pt idx="120">
                  <c:v>4341.6746700709227</c:v>
                </c:pt>
                <c:pt idx="121">
                  <c:v>4186.9256342421913</c:v>
                </c:pt>
                <c:pt idx="122">
                  <c:v>4143.6182767410428</c:v>
                </c:pt>
                <c:pt idx="123">
                  <c:v>3202.0776124392573</c:v>
                </c:pt>
                <c:pt idx="124">
                  <c:v>3000.5670917615616</c:v>
                </c:pt>
                <c:pt idx="125">
                  <c:v>2369.3113909776616</c:v>
                </c:pt>
                <c:pt idx="126">
                  <c:v>2183.8278807511088</c:v>
                </c:pt>
                <c:pt idx="127">
                  <c:v>2103.2226963419062</c:v>
                </c:pt>
                <c:pt idx="128">
                  <c:v>2730.6407345684747</c:v>
                </c:pt>
                <c:pt idx="129">
                  <c:v>3082.4016651401489</c:v>
                </c:pt>
                <c:pt idx="130">
                  <c:v>3852.7363992994128</c:v>
                </c:pt>
                <c:pt idx="131">
                  <c:v>3944.5488368645842</c:v>
                </c:pt>
                <c:pt idx="132">
                  <c:v>5319.605094406018</c:v>
                </c:pt>
                <c:pt idx="133">
                  <c:v>4978.6650211846618</c:v>
                </c:pt>
                <c:pt idx="134">
                  <c:v>4314.9340881979197</c:v>
                </c:pt>
                <c:pt idx="135">
                  <c:v>3433.9800383036554</c:v>
                </c:pt>
                <c:pt idx="136">
                  <c:v>3140.1443458397744</c:v>
                </c:pt>
                <c:pt idx="137">
                  <c:v>2360.7481430373673</c:v>
                </c:pt>
                <c:pt idx="138">
                  <c:v>2160.3435235421011</c:v>
                </c:pt>
                <c:pt idx="139">
                  <c:v>2446.0206967028857</c:v>
                </c:pt>
                <c:pt idx="140">
                  <c:v>2428.1877849995908</c:v>
                </c:pt>
                <c:pt idx="141">
                  <c:v>2993.4305638874266</c:v>
                </c:pt>
                <c:pt idx="142">
                  <c:v>3663.7499108331608</c:v>
                </c:pt>
                <c:pt idx="143">
                  <c:v>4566.3343106042103</c:v>
                </c:pt>
                <c:pt idx="144">
                  <c:v>4044.4829634052562</c:v>
                </c:pt>
                <c:pt idx="145">
                  <c:v>3491.1156328602842</c:v>
                </c:pt>
                <c:pt idx="146">
                  <c:v>3640.6870189287865</c:v>
                </c:pt>
                <c:pt idx="147">
                  <c:v>2832.4623576383224</c:v>
                </c:pt>
                <c:pt idx="148">
                  <c:v>2290.0274742282063</c:v>
                </c:pt>
                <c:pt idx="149">
                  <c:v>2039.9947477657452</c:v>
                </c:pt>
                <c:pt idx="150">
                  <c:v>2116.6928941046881</c:v>
                </c:pt>
                <c:pt idx="151">
                  <c:v>2131.4042357326798</c:v>
                </c:pt>
                <c:pt idx="152">
                  <c:v>1577.387491068954</c:v>
                </c:pt>
                <c:pt idx="153">
                  <c:v>2645.4874332710197</c:v>
                </c:pt>
                <c:pt idx="154">
                  <c:v>2949.5039252138567</c:v>
                </c:pt>
                <c:pt idx="155">
                  <c:v>3984.07170390413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DA3-4268-8DE6-A3033306DF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73664"/>
        <c:axId val="207075200"/>
      </c:lineChart>
      <c:dateAx>
        <c:axId val="207073664"/>
        <c:scaling>
          <c:orientation val="minMax"/>
          <c:max val="44896"/>
          <c:min val="43101"/>
        </c:scaling>
        <c:delete val="0"/>
        <c:axPos val="b"/>
        <c:numFmt formatCode="[$-406]mmm/yy;@" sourceLinked="0"/>
        <c:majorTickMark val="none"/>
        <c:minorTickMark val="none"/>
        <c:tickLblPos val="nextTo"/>
        <c:txPr>
          <a:bodyPr rot="2700000"/>
          <a:lstStyle/>
          <a:p>
            <a: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endParaRPr lang="da-DK"/>
          </a:p>
        </c:txPr>
        <c:crossAx val="207075200"/>
        <c:crosses val="autoZero"/>
        <c:auto val="1"/>
        <c:lblOffset val="100"/>
        <c:baseTimeUnit val="months"/>
        <c:majorUnit val="4"/>
        <c:majorTimeUnit val="months"/>
      </c:dateAx>
      <c:valAx>
        <c:axId val="207075200"/>
        <c:scaling>
          <c:orientation val="minMax"/>
        </c:scaling>
        <c:delete val="0"/>
        <c:axPos val="l"/>
        <c:majorGridlines>
          <c:spPr>
            <a:ln>
              <a:solidFill>
                <a:srgbClr val="D9D9D9"/>
              </a:solidFill>
              <a:prstDash val="solid"/>
            </a:ln>
          </c:spPr>
        </c:majorGridlines>
        <c:title>
          <c:tx>
            <c:rich>
              <a:bodyPr rot="0" vert="horz"/>
              <a:lstStyle/>
              <a:p>
                <a:pPr>
                  <a:defRPr sz="900"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pPr>
                <a:r>
                  <a:rPr lang="da-DK" sz="9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TWh </a:t>
                </a:r>
              </a:p>
            </c:rich>
          </c:tx>
          <c:layout>
            <c:manualLayout>
              <c:xMode val="edge"/>
              <c:yMode val="edge"/>
              <c:x val="6.1526156024834947E-3"/>
              <c:y val="4.2757445642582007E-2"/>
            </c:manualLayout>
          </c:layout>
          <c:overlay val="0"/>
        </c:title>
        <c:numFmt formatCode="_ * #,##0_ ;_ * \-#,##0_ ;_ * &quot;-&quot;??_ ;_ @_ 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endParaRPr lang="da-DK"/>
          </a:p>
        </c:txPr>
        <c:crossAx val="207073664"/>
        <c:crosses val="autoZero"/>
        <c:crossBetween val="midCat"/>
        <c:dispUnits>
          <c:builtInUnit val="thousands"/>
        </c:dispUnits>
      </c:valAx>
    </c:plotArea>
    <c:legend>
      <c:legendPos val="r"/>
      <c:layout>
        <c:manualLayout>
          <c:xMode val="edge"/>
          <c:yMode val="edge"/>
          <c:x val="7.7384331954342522E-2"/>
          <c:y val="6.171774758596143E-3"/>
          <c:w val="0.9035821854491336"/>
          <c:h val="9.2016521190665113E-2"/>
        </c:manualLayout>
      </c:layout>
      <c:overlay val="0"/>
      <c:spPr>
        <a:ln w="19050"/>
      </c:spPr>
      <c:txPr>
        <a:bodyPr/>
        <a:lstStyle/>
        <a:p>
          <a:pPr>
            <a:defRPr sz="900">
              <a:solidFill>
                <a:schemeClr val="tx1">
                  <a:lumMod val="65000"/>
                  <a:lumOff val="35000"/>
                </a:schemeClr>
              </a:solidFill>
            </a:defRPr>
          </a:pPr>
          <a:endParaRPr lang="da-DK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da-DK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873298064304464E-2"/>
          <c:y val="0.12549610113972501"/>
          <c:w val="0.92372675703734319"/>
          <c:h val="0.74158660359927753"/>
        </c:manualLayout>
      </c:layout>
      <c:lineChart>
        <c:grouping val="standard"/>
        <c:varyColors val="0"/>
        <c:ser>
          <c:idx val="7"/>
          <c:order val="0"/>
          <c:tx>
            <c:v>ETF</c:v>
          </c:tx>
          <c:spPr>
            <a:ln w="34925">
              <a:solidFill>
                <a:srgbClr val="37B9FF"/>
              </a:solidFill>
            </a:ln>
          </c:spPr>
          <c:marker>
            <c:symbol val="none"/>
          </c:marker>
          <c:cat>
            <c:numRef>
              <c:f>'DA_ETF, TTF, NCG og GPL'!$D$5062:$D$5432</c:f>
              <c:numCache>
                <c:formatCode>m/d/yyyy</c:formatCode>
                <c:ptCount val="371"/>
                <c:pt idx="0">
                  <c:v>44562</c:v>
                </c:pt>
                <c:pt idx="1">
                  <c:v>44563</c:v>
                </c:pt>
                <c:pt idx="2">
                  <c:v>44564</c:v>
                </c:pt>
                <c:pt idx="3">
                  <c:v>44565</c:v>
                </c:pt>
                <c:pt idx="4">
                  <c:v>44566</c:v>
                </c:pt>
                <c:pt idx="5">
                  <c:v>44567</c:v>
                </c:pt>
                <c:pt idx="6">
                  <c:v>44568</c:v>
                </c:pt>
                <c:pt idx="7">
                  <c:v>44569</c:v>
                </c:pt>
                <c:pt idx="8">
                  <c:v>44570</c:v>
                </c:pt>
                <c:pt idx="9">
                  <c:v>44571</c:v>
                </c:pt>
                <c:pt idx="10">
                  <c:v>44572</c:v>
                </c:pt>
                <c:pt idx="11">
                  <c:v>44573</c:v>
                </c:pt>
                <c:pt idx="12">
                  <c:v>44574</c:v>
                </c:pt>
                <c:pt idx="13">
                  <c:v>44575</c:v>
                </c:pt>
                <c:pt idx="14">
                  <c:v>44576</c:v>
                </c:pt>
                <c:pt idx="15">
                  <c:v>44577</c:v>
                </c:pt>
                <c:pt idx="16">
                  <c:v>44578</c:v>
                </c:pt>
                <c:pt idx="17">
                  <c:v>44579</c:v>
                </c:pt>
                <c:pt idx="18">
                  <c:v>44580</c:v>
                </c:pt>
                <c:pt idx="19">
                  <c:v>44581</c:v>
                </c:pt>
                <c:pt idx="20">
                  <c:v>44582</c:v>
                </c:pt>
                <c:pt idx="21">
                  <c:v>44583</c:v>
                </c:pt>
                <c:pt idx="22">
                  <c:v>44584</c:v>
                </c:pt>
                <c:pt idx="23">
                  <c:v>44585</c:v>
                </c:pt>
                <c:pt idx="24">
                  <c:v>44586</c:v>
                </c:pt>
                <c:pt idx="25">
                  <c:v>44587</c:v>
                </c:pt>
                <c:pt idx="26">
                  <c:v>44588</c:v>
                </c:pt>
                <c:pt idx="27">
                  <c:v>44589</c:v>
                </c:pt>
                <c:pt idx="28">
                  <c:v>44590</c:v>
                </c:pt>
                <c:pt idx="29">
                  <c:v>44591</c:v>
                </c:pt>
                <c:pt idx="30">
                  <c:v>44592</c:v>
                </c:pt>
                <c:pt idx="31">
                  <c:v>44593</c:v>
                </c:pt>
                <c:pt idx="32">
                  <c:v>44594</c:v>
                </c:pt>
                <c:pt idx="33">
                  <c:v>44595</c:v>
                </c:pt>
                <c:pt idx="34">
                  <c:v>44596</c:v>
                </c:pt>
                <c:pt idx="35">
                  <c:v>44597</c:v>
                </c:pt>
                <c:pt idx="36">
                  <c:v>44598</c:v>
                </c:pt>
                <c:pt idx="37">
                  <c:v>44599</c:v>
                </c:pt>
                <c:pt idx="38">
                  <c:v>44600</c:v>
                </c:pt>
                <c:pt idx="39">
                  <c:v>44601</c:v>
                </c:pt>
                <c:pt idx="40">
                  <c:v>44602</c:v>
                </c:pt>
                <c:pt idx="41">
                  <c:v>44603</c:v>
                </c:pt>
                <c:pt idx="42">
                  <c:v>44604</c:v>
                </c:pt>
                <c:pt idx="43">
                  <c:v>44605</c:v>
                </c:pt>
                <c:pt idx="44">
                  <c:v>44606</c:v>
                </c:pt>
                <c:pt idx="45">
                  <c:v>44607</c:v>
                </c:pt>
                <c:pt idx="46">
                  <c:v>44608</c:v>
                </c:pt>
                <c:pt idx="47">
                  <c:v>44609</c:v>
                </c:pt>
                <c:pt idx="48">
                  <c:v>44610</c:v>
                </c:pt>
                <c:pt idx="49">
                  <c:v>44611</c:v>
                </c:pt>
                <c:pt idx="50">
                  <c:v>44612</c:v>
                </c:pt>
                <c:pt idx="51">
                  <c:v>44613</c:v>
                </c:pt>
                <c:pt idx="52">
                  <c:v>44614</c:v>
                </c:pt>
                <c:pt idx="53">
                  <c:v>44615</c:v>
                </c:pt>
                <c:pt idx="54">
                  <c:v>44616</c:v>
                </c:pt>
                <c:pt idx="55">
                  <c:v>44617</c:v>
                </c:pt>
                <c:pt idx="56">
                  <c:v>44618</c:v>
                </c:pt>
                <c:pt idx="57">
                  <c:v>44619</c:v>
                </c:pt>
                <c:pt idx="58">
                  <c:v>44620</c:v>
                </c:pt>
                <c:pt idx="59">
                  <c:v>44621</c:v>
                </c:pt>
                <c:pt idx="60">
                  <c:v>44622</c:v>
                </c:pt>
                <c:pt idx="61">
                  <c:v>44623</c:v>
                </c:pt>
                <c:pt idx="62">
                  <c:v>44624</c:v>
                </c:pt>
                <c:pt idx="63">
                  <c:v>44625</c:v>
                </c:pt>
                <c:pt idx="64">
                  <c:v>44626</c:v>
                </c:pt>
                <c:pt idx="65">
                  <c:v>44627</c:v>
                </c:pt>
                <c:pt idx="66">
                  <c:v>44628</c:v>
                </c:pt>
                <c:pt idx="67">
                  <c:v>44629</c:v>
                </c:pt>
                <c:pt idx="68">
                  <c:v>44630</c:v>
                </c:pt>
                <c:pt idx="69">
                  <c:v>44631</c:v>
                </c:pt>
                <c:pt idx="70">
                  <c:v>44632</c:v>
                </c:pt>
                <c:pt idx="71">
                  <c:v>44633</c:v>
                </c:pt>
                <c:pt idx="72">
                  <c:v>44634</c:v>
                </c:pt>
                <c:pt idx="73">
                  <c:v>44635</c:v>
                </c:pt>
                <c:pt idx="74">
                  <c:v>44636</c:v>
                </c:pt>
                <c:pt idx="75">
                  <c:v>44637</c:v>
                </c:pt>
                <c:pt idx="76">
                  <c:v>44638</c:v>
                </c:pt>
                <c:pt idx="77">
                  <c:v>44639</c:v>
                </c:pt>
                <c:pt idx="78">
                  <c:v>44640</c:v>
                </c:pt>
                <c:pt idx="79">
                  <c:v>44641</c:v>
                </c:pt>
                <c:pt idx="80">
                  <c:v>44642</c:v>
                </c:pt>
                <c:pt idx="81">
                  <c:v>44643</c:v>
                </c:pt>
                <c:pt idx="82">
                  <c:v>44644</c:v>
                </c:pt>
                <c:pt idx="83">
                  <c:v>44645</c:v>
                </c:pt>
                <c:pt idx="84">
                  <c:v>44646</c:v>
                </c:pt>
                <c:pt idx="85">
                  <c:v>44647</c:v>
                </c:pt>
                <c:pt idx="86">
                  <c:v>44648</c:v>
                </c:pt>
                <c:pt idx="87">
                  <c:v>44649</c:v>
                </c:pt>
                <c:pt idx="88">
                  <c:v>44650</c:v>
                </c:pt>
                <c:pt idx="89">
                  <c:v>44651</c:v>
                </c:pt>
                <c:pt idx="90">
                  <c:v>44652</c:v>
                </c:pt>
                <c:pt idx="91">
                  <c:v>44653</c:v>
                </c:pt>
                <c:pt idx="92">
                  <c:v>44654</c:v>
                </c:pt>
                <c:pt idx="93">
                  <c:v>44655</c:v>
                </c:pt>
                <c:pt idx="94">
                  <c:v>44656</c:v>
                </c:pt>
                <c:pt idx="95">
                  <c:v>44657</c:v>
                </c:pt>
                <c:pt idx="96">
                  <c:v>44658</c:v>
                </c:pt>
                <c:pt idx="97">
                  <c:v>44659</c:v>
                </c:pt>
                <c:pt idx="98">
                  <c:v>44660</c:v>
                </c:pt>
                <c:pt idx="99">
                  <c:v>44661</c:v>
                </c:pt>
                <c:pt idx="100">
                  <c:v>44662</c:v>
                </c:pt>
                <c:pt idx="101">
                  <c:v>44663</c:v>
                </c:pt>
                <c:pt idx="102">
                  <c:v>44664</c:v>
                </c:pt>
                <c:pt idx="103">
                  <c:v>44665</c:v>
                </c:pt>
                <c:pt idx="104">
                  <c:v>44666</c:v>
                </c:pt>
                <c:pt idx="105">
                  <c:v>44667</c:v>
                </c:pt>
                <c:pt idx="106">
                  <c:v>44668</c:v>
                </c:pt>
                <c:pt idx="107">
                  <c:v>44669</c:v>
                </c:pt>
                <c:pt idx="108">
                  <c:v>44670</c:v>
                </c:pt>
                <c:pt idx="109">
                  <c:v>44671</c:v>
                </c:pt>
                <c:pt idx="110">
                  <c:v>44672</c:v>
                </c:pt>
                <c:pt idx="111">
                  <c:v>44673</c:v>
                </c:pt>
                <c:pt idx="112">
                  <c:v>44674</c:v>
                </c:pt>
                <c:pt idx="113">
                  <c:v>44675</c:v>
                </c:pt>
                <c:pt idx="114">
                  <c:v>44676</c:v>
                </c:pt>
                <c:pt idx="115">
                  <c:v>44677</c:v>
                </c:pt>
                <c:pt idx="116">
                  <c:v>44678</c:v>
                </c:pt>
                <c:pt idx="117">
                  <c:v>44679</c:v>
                </c:pt>
                <c:pt idx="118">
                  <c:v>44680</c:v>
                </c:pt>
                <c:pt idx="119">
                  <c:v>44681</c:v>
                </c:pt>
                <c:pt idx="120">
                  <c:v>44682</c:v>
                </c:pt>
                <c:pt idx="121">
                  <c:v>44683</c:v>
                </c:pt>
                <c:pt idx="122">
                  <c:v>44684</c:v>
                </c:pt>
                <c:pt idx="123">
                  <c:v>44685</c:v>
                </c:pt>
                <c:pt idx="124">
                  <c:v>44686</c:v>
                </c:pt>
                <c:pt idx="125">
                  <c:v>44687</c:v>
                </c:pt>
                <c:pt idx="126">
                  <c:v>44688</c:v>
                </c:pt>
                <c:pt idx="127">
                  <c:v>44689</c:v>
                </c:pt>
                <c:pt idx="128">
                  <c:v>44690</c:v>
                </c:pt>
                <c:pt idx="129">
                  <c:v>44691</c:v>
                </c:pt>
                <c:pt idx="130">
                  <c:v>44692</c:v>
                </c:pt>
                <c:pt idx="131">
                  <c:v>44693</c:v>
                </c:pt>
                <c:pt idx="132">
                  <c:v>44694</c:v>
                </c:pt>
                <c:pt idx="133">
                  <c:v>44695</c:v>
                </c:pt>
                <c:pt idx="134">
                  <c:v>44696</c:v>
                </c:pt>
                <c:pt idx="135">
                  <c:v>44697</c:v>
                </c:pt>
                <c:pt idx="136">
                  <c:v>44698</c:v>
                </c:pt>
                <c:pt idx="137">
                  <c:v>44699</c:v>
                </c:pt>
                <c:pt idx="138">
                  <c:v>44700</c:v>
                </c:pt>
                <c:pt idx="139">
                  <c:v>44701</c:v>
                </c:pt>
                <c:pt idx="140">
                  <c:v>44702</c:v>
                </c:pt>
                <c:pt idx="141">
                  <c:v>44703</c:v>
                </c:pt>
                <c:pt idx="142">
                  <c:v>44704</c:v>
                </c:pt>
                <c:pt idx="143">
                  <c:v>44705</c:v>
                </c:pt>
                <c:pt idx="144">
                  <c:v>44706</c:v>
                </c:pt>
                <c:pt idx="145">
                  <c:v>44707</c:v>
                </c:pt>
                <c:pt idx="146">
                  <c:v>44708</c:v>
                </c:pt>
                <c:pt idx="147">
                  <c:v>44709</c:v>
                </c:pt>
                <c:pt idx="148">
                  <c:v>44710</c:v>
                </c:pt>
                <c:pt idx="149">
                  <c:v>44711</c:v>
                </c:pt>
                <c:pt idx="150">
                  <c:v>44712</c:v>
                </c:pt>
                <c:pt idx="151">
                  <c:v>44713</c:v>
                </c:pt>
                <c:pt idx="152">
                  <c:v>44714</c:v>
                </c:pt>
                <c:pt idx="153">
                  <c:v>44715</c:v>
                </c:pt>
                <c:pt idx="154">
                  <c:v>44716</c:v>
                </c:pt>
                <c:pt idx="155">
                  <c:v>44717</c:v>
                </c:pt>
                <c:pt idx="156">
                  <c:v>44718</c:v>
                </c:pt>
                <c:pt idx="157">
                  <c:v>44719</c:v>
                </c:pt>
                <c:pt idx="158">
                  <c:v>44720</c:v>
                </c:pt>
                <c:pt idx="159">
                  <c:v>44721</c:v>
                </c:pt>
                <c:pt idx="160">
                  <c:v>44722</c:v>
                </c:pt>
                <c:pt idx="161">
                  <c:v>44723</c:v>
                </c:pt>
                <c:pt idx="162">
                  <c:v>44724</c:v>
                </c:pt>
                <c:pt idx="163">
                  <c:v>44725</c:v>
                </c:pt>
                <c:pt idx="164">
                  <c:v>44726</c:v>
                </c:pt>
                <c:pt idx="165">
                  <c:v>44727</c:v>
                </c:pt>
                <c:pt idx="166">
                  <c:v>44728</c:v>
                </c:pt>
                <c:pt idx="167">
                  <c:v>44729</c:v>
                </c:pt>
                <c:pt idx="168">
                  <c:v>44730</c:v>
                </c:pt>
                <c:pt idx="169">
                  <c:v>44731</c:v>
                </c:pt>
                <c:pt idx="170">
                  <c:v>44732</c:v>
                </c:pt>
                <c:pt idx="171">
                  <c:v>44733</c:v>
                </c:pt>
                <c:pt idx="172">
                  <c:v>44734</c:v>
                </c:pt>
                <c:pt idx="173">
                  <c:v>44735</c:v>
                </c:pt>
                <c:pt idx="174">
                  <c:v>44736</c:v>
                </c:pt>
                <c:pt idx="175">
                  <c:v>44737</c:v>
                </c:pt>
                <c:pt idx="176">
                  <c:v>44738</c:v>
                </c:pt>
                <c:pt idx="177">
                  <c:v>44739</c:v>
                </c:pt>
                <c:pt idx="178">
                  <c:v>44740</c:v>
                </c:pt>
                <c:pt idx="179">
                  <c:v>44741</c:v>
                </c:pt>
                <c:pt idx="180">
                  <c:v>44742</c:v>
                </c:pt>
                <c:pt idx="181">
                  <c:v>44743</c:v>
                </c:pt>
                <c:pt idx="182">
                  <c:v>44744</c:v>
                </c:pt>
                <c:pt idx="183">
                  <c:v>44745</c:v>
                </c:pt>
                <c:pt idx="184">
                  <c:v>44746</c:v>
                </c:pt>
                <c:pt idx="185">
                  <c:v>44747</c:v>
                </c:pt>
                <c:pt idx="186">
                  <c:v>44748</c:v>
                </c:pt>
                <c:pt idx="187">
                  <c:v>44749</c:v>
                </c:pt>
                <c:pt idx="188">
                  <c:v>44750</c:v>
                </c:pt>
                <c:pt idx="189">
                  <c:v>44751</c:v>
                </c:pt>
                <c:pt idx="190">
                  <c:v>44752</c:v>
                </c:pt>
                <c:pt idx="191">
                  <c:v>44753</c:v>
                </c:pt>
                <c:pt idx="192">
                  <c:v>44754</c:v>
                </c:pt>
                <c:pt idx="193">
                  <c:v>44755</c:v>
                </c:pt>
                <c:pt idx="194">
                  <c:v>44756</c:v>
                </c:pt>
                <c:pt idx="195">
                  <c:v>44757</c:v>
                </c:pt>
                <c:pt idx="196">
                  <c:v>44758</c:v>
                </c:pt>
                <c:pt idx="197">
                  <c:v>44759</c:v>
                </c:pt>
                <c:pt idx="198">
                  <c:v>44760</c:v>
                </c:pt>
                <c:pt idx="199">
                  <c:v>44761</c:v>
                </c:pt>
                <c:pt idx="200">
                  <c:v>44762</c:v>
                </c:pt>
                <c:pt idx="201">
                  <c:v>44763</c:v>
                </c:pt>
                <c:pt idx="202">
                  <c:v>44764</c:v>
                </c:pt>
                <c:pt idx="203">
                  <c:v>44765</c:v>
                </c:pt>
                <c:pt idx="204">
                  <c:v>44766</c:v>
                </c:pt>
                <c:pt idx="205">
                  <c:v>44767</c:v>
                </c:pt>
                <c:pt idx="206">
                  <c:v>44768</c:v>
                </c:pt>
                <c:pt idx="207">
                  <c:v>44769</c:v>
                </c:pt>
                <c:pt idx="208">
                  <c:v>44770</c:v>
                </c:pt>
                <c:pt idx="209">
                  <c:v>44771</c:v>
                </c:pt>
                <c:pt idx="210">
                  <c:v>44772</c:v>
                </c:pt>
                <c:pt idx="211">
                  <c:v>44773</c:v>
                </c:pt>
                <c:pt idx="212">
                  <c:v>44774</c:v>
                </c:pt>
                <c:pt idx="213">
                  <c:v>44775</c:v>
                </c:pt>
                <c:pt idx="214">
                  <c:v>44776</c:v>
                </c:pt>
                <c:pt idx="215">
                  <c:v>44777</c:v>
                </c:pt>
                <c:pt idx="216">
                  <c:v>44778</c:v>
                </c:pt>
                <c:pt idx="217">
                  <c:v>44779</c:v>
                </c:pt>
                <c:pt idx="218">
                  <c:v>44780</c:v>
                </c:pt>
                <c:pt idx="219">
                  <c:v>44781</c:v>
                </c:pt>
                <c:pt idx="220">
                  <c:v>44782</c:v>
                </c:pt>
                <c:pt idx="221">
                  <c:v>44783</c:v>
                </c:pt>
                <c:pt idx="222">
                  <c:v>44784</c:v>
                </c:pt>
                <c:pt idx="223">
                  <c:v>44785</c:v>
                </c:pt>
                <c:pt idx="224">
                  <c:v>44786</c:v>
                </c:pt>
                <c:pt idx="225">
                  <c:v>44787</c:v>
                </c:pt>
                <c:pt idx="226">
                  <c:v>44788</c:v>
                </c:pt>
                <c:pt idx="227">
                  <c:v>44789</c:v>
                </c:pt>
                <c:pt idx="228">
                  <c:v>44790</c:v>
                </c:pt>
                <c:pt idx="229">
                  <c:v>44791</c:v>
                </c:pt>
                <c:pt idx="230">
                  <c:v>44792</c:v>
                </c:pt>
                <c:pt idx="231">
                  <c:v>44793</c:v>
                </c:pt>
                <c:pt idx="232">
                  <c:v>44794</c:v>
                </c:pt>
                <c:pt idx="233">
                  <c:v>44795</c:v>
                </c:pt>
                <c:pt idx="234">
                  <c:v>44796</c:v>
                </c:pt>
                <c:pt idx="235">
                  <c:v>44797</c:v>
                </c:pt>
                <c:pt idx="236">
                  <c:v>44798</c:v>
                </c:pt>
                <c:pt idx="237">
                  <c:v>44799</c:v>
                </c:pt>
                <c:pt idx="238">
                  <c:v>44800</c:v>
                </c:pt>
                <c:pt idx="239">
                  <c:v>44801</c:v>
                </c:pt>
                <c:pt idx="240">
                  <c:v>44802</c:v>
                </c:pt>
                <c:pt idx="241">
                  <c:v>44803</c:v>
                </c:pt>
                <c:pt idx="242">
                  <c:v>44804</c:v>
                </c:pt>
                <c:pt idx="243">
                  <c:v>44805</c:v>
                </c:pt>
                <c:pt idx="244">
                  <c:v>44806</c:v>
                </c:pt>
                <c:pt idx="245">
                  <c:v>44807</c:v>
                </c:pt>
                <c:pt idx="246">
                  <c:v>44808</c:v>
                </c:pt>
                <c:pt idx="247">
                  <c:v>44809</c:v>
                </c:pt>
                <c:pt idx="248">
                  <c:v>44810</c:v>
                </c:pt>
                <c:pt idx="249">
                  <c:v>44811</c:v>
                </c:pt>
                <c:pt idx="250">
                  <c:v>44812</c:v>
                </c:pt>
                <c:pt idx="251">
                  <c:v>44813</c:v>
                </c:pt>
                <c:pt idx="252">
                  <c:v>44814</c:v>
                </c:pt>
                <c:pt idx="253">
                  <c:v>44815</c:v>
                </c:pt>
                <c:pt idx="254">
                  <c:v>44816</c:v>
                </c:pt>
                <c:pt idx="255">
                  <c:v>44817</c:v>
                </c:pt>
                <c:pt idx="256">
                  <c:v>44818</c:v>
                </c:pt>
                <c:pt idx="257">
                  <c:v>44819</c:v>
                </c:pt>
                <c:pt idx="258">
                  <c:v>44820</c:v>
                </c:pt>
                <c:pt idx="259">
                  <c:v>44821</c:v>
                </c:pt>
                <c:pt idx="260">
                  <c:v>44822</c:v>
                </c:pt>
                <c:pt idx="261">
                  <c:v>44823</c:v>
                </c:pt>
                <c:pt idx="262">
                  <c:v>44824</c:v>
                </c:pt>
                <c:pt idx="263">
                  <c:v>44825</c:v>
                </c:pt>
                <c:pt idx="264">
                  <c:v>44826</c:v>
                </c:pt>
                <c:pt idx="265">
                  <c:v>44827</c:v>
                </c:pt>
                <c:pt idx="266">
                  <c:v>44828</c:v>
                </c:pt>
                <c:pt idx="267">
                  <c:v>44829</c:v>
                </c:pt>
                <c:pt idx="268">
                  <c:v>44830</c:v>
                </c:pt>
                <c:pt idx="269">
                  <c:v>44831</c:v>
                </c:pt>
                <c:pt idx="270">
                  <c:v>44832</c:v>
                </c:pt>
                <c:pt idx="271">
                  <c:v>44833</c:v>
                </c:pt>
                <c:pt idx="272">
                  <c:v>44834</c:v>
                </c:pt>
                <c:pt idx="273">
                  <c:v>44835</c:v>
                </c:pt>
                <c:pt idx="274">
                  <c:v>44836</c:v>
                </c:pt>
                <c:pt idx="275">
                  <c:v>44837</c:v>
                </c:pt>
                <c:pt idx="276">
                  <c:v>44838</c:v>
                </c:pt>
                <c:pt idx="277">
                  <c:v>44839</c:v>
                </c:pt>
                <c:pt idx="278">
                  <c:v>44840</c:v>
                </c:pt>
                <c:pt idx="279">
                  <c:v>44841</c:v>
                </c:pt>
                <c:pt idx="280">
                  <c:v>44842</c:v>
                </c:pt>
                <c:pt idx="281">
                  <c:v>44843</c:v>
                </c:pt>
                <c:pt idx="282">
                  <c:v>44844</c:v>
                </c:pt>
                <c:pt idx="283">
                  <c:v>44845</c:v>
                </c:pt>
                <c:pt idx="284">
                  <c:v>44846</c:v>
                </c:pt>
                <c:pt idx="285">
                  <c:v>44847</c:v>
                </c:pt>
                <c:pt idx="286">
                  <c:v>44848</c:v>
                </c:pt>
                <c:pt idx="287">
                  <c:v>44849</c:v>
                </c:pt>
                <c:pt idx="288">
                  <c:v>44850</c:v>
                </c:pt>
                <c:pt idx="289">
                  <c:v>44851</c:v>
                </c:pt>
                <c:pt idx="290">
                  <c:v>44852</c:v>
                </c:pt>
                <c:pt idx="291">
                  <c:v>44853</c:v>
                </c:pt>
                <c:pt idx="292">
                  <c:v>44854</c:v>
                </c:pt>
                <c:pt idx="293">
                  <c:v>44855</c:v>
                </c:pt>
                <c:pt idx="294">
                  <c:v>44856</c:v>
                </c:pt>
                <c:pt idx="295">
                  <c:v>44857</c:v>
                </c:pt>
                <c:pt idx="296">
                  <c:v>44858</c:v>
                </c:pt>
                <c:pt idx="297">
                  <c:v>44859</c:v>
                </c:pt>
                <c:pt idx="298">
                  <c:v>44860</c:v>
                </c:pt>
                <c:pt idx="299">
                  <c:v>44861</c:v>
                </c:pt>
                <c:pt idx="300">
                  <c:v>44862</c:v>
                </c:pt>
                <c:pt idx="301">
                  <c:v>44863</c:v>
                </c:pt>
                <c:pt idx="302">
                  <c:v>44864</c:v>
                </c:pt>
                <c:pt idx="303">
                  <c:v>44865</c:v>
                </c:pt>
                <c:pt idx="304">
                  <c:v>44866</c:v>
                </c:pt>
                <c:pt idx="305">
                  <c:v>44867</c:v>
                </c:pt>
                <c:pt idx="306">
                  <c:v>44868</c:v>
                </c:pt>
                <c:pt idx="307">
                  <c:v>44869</c:v>
                </c:pt>
                <c:pt idx="308">
                  <c:v>44870</c:v>
                </c:pt>
                <c:pt idx="309">
                  <c:v>44871</c:v>
                </c:pt>
                <c:pt idx="310">
                  <c:v>44872</c:v>
                </c:pt>
                <c:pt idx="311">
                  <c:v>44873</c:v>
                </c:pt>
                <c:pt idx="312">
                  <c:v>44874</c:v>
                </c:pt>
                <c:pt idx="313">
                  <c:v>44875</c:v>
                </c:pt>
                <c:pt idx="314">
                  <c:v>44876</c:v>
                </c:pt>
                <c:pt idx="315">
                  <c:v>44877</c:v>
                </c:pt>
                <c:pt idx="316">
                  <c:v>44878</c:v>
                </c:pt>
                <c:pt idx="317">
                  <c:v>44879</c:v>
                </c:pt>
                <c:pt idx="318">
                  <c:v>44880</c:v>
                </c:pt>
                <c:pt idx="319">
                  <c:v>44881</c:v>
                </c:pt>
                <c:pt idx="320">
                  <c:v>44882</c:v>
                </c:pt>
                <c:pt idx="321">
                  <c:v>44883</c:v>
                </c:pt>
                <c:pt idx="322">
                  <c:v>44884</c:v>
                </c:pt>
                <c:pt idx="323">
                  <c:v>44885</c:v>
                </c:pt>
                <c:pt idx="324">
                  <c:v>44886</c:v>
                </c:pt>
                <c:pt idx="325">
                  <c:v>44887</c:v>
                </c:pt>
                <c:pt idx="326">
                  <c:v>44888</c:v>
                </c:pt>
                <c:pt idx="327">
                  <c:v>44889</c:v>
                </c:pt>
                <c:pt idx="328">
                  <c:v>44890</c:v>
                </c:pt>
                <c:pt idx="329">
                  <c:v>44891</c:v>
                </c:pt>
                <c:pt idx="330">
                  <c:v>44892</c:v>
                </c:pt>
                <c:pt idx="331">
                  <c:v>44893</c:v>
                </c:pt>
                <c:pt idx="332">
                  <c:v>44894</c:v>
                </c:pt>
                <c:pt idx="333">
                  <c:v>44895</c:v>
                </c:pt>
                <c:pt idx="334">
                  <c:v>44896</c:v>
                </c:pt>
                <c:pt idx="335">
                  <c:v>44897</c:v>
                </c:pt>
                <c:pt idx="336">
                  <c:v>44898</c:v>
                </c:pt>
                <c:pt idx="337">
                  <c:v>44899</c:v>
                </c:pt>
                <c:pt idx="338">
                  <c:v>44900</c:v>
                </c:pt>
                <c:pt idx="339">
                  <c:v>44901</c:v>
                </c:pt>
                <c:pt idx="340">
                  <c:v>44902</c:v>
                </c:pt>
                <c:pt idx="341">
                  <c:v>44903</c:v>
                </c:pt>
                <c:pt idx="342">
                  <c:v>44904</c:v>
                </c:pt>
                <c:pt idx="343">
                  <c:v>44905</c:v>
                </c:pt>
                <c:pt idx="344">
                  <c:v>44906</c:v>
                </c:pt>
                <c:pt idx="345">
                  <c:v>44907</c:v>
                </c:pt>
                <c:pt idx="346">
                  <c:v>44908</c:v>
                </c:pt>
                <c:pt idx="347">
                  <c:v>44909</c:v>
                </c:pt>
                <c:pt idx="348">
                  <c:v>44910</c:v>
                </c:pt>
                <c:pt idx="349">
                  <c:v>44911</c:v>
                </c:pt>
                <c:pt idx="350">
                  <c:v>44912</c:v>
                </c:pt>
                <c:pt idx="351">
                  <c:v>44913</c:v>
                </c:pt>
                <c:pt idx="352">
                  <c:v>44914</c:v>
                </c:pt>
                <c:pt idx="353">
                  <c:v>44915</c:v>
                </c:pt>
                <c:pt idx="354">
                  <c:v>44916</c:v>
                </c:pt>
                <c:pt idx="355">
                  <c:v>44917</c:v>
                </c:pt>
                <c:pt idx="356">
                  <c:v>44918</c:v>
                </c:pt>
                <c:pt idx="357">
                  <c:v>44919</c:v>
                </c:pt>
                <c:pt idx="358">
                  <c:v>44920</c:v>
                </c:pt>
                <c:pt idx="359">
                  <c:v>44921</c:v>
                </c:pt>
                <c:pt idx="360">
                  <c:v>44922</c:v>
                </c:pt>
                <c:pt idx="361">
                  <c:v>44923</c:v>
                </c:pt>
                <c:pt idx="362">
                  <c:v>44924</c:v>
                </c:pt>
                <c:pt idx="363">
                  <c:v>44925</c:v>
                </c:pt>
                <c:pt idx="364">
                  <c:v>44926</c:v>
                </c:pt>
                <c:pt idx="365">
                  <c:v>44927</c:v>
                </c:pt>
                <c:pt idx="366">
                  <c:v>44928</c:v>
                </c:pt>
                <c:pt idx="367">
                  <c:v>44929</c:v>
                </c:pt>
                <c:pt idx="368">
                  <c:v>44930</c:v>
                </c:pt>
                <c:pt idx="369">
                  <c:v>44931</c:v>
                </c:pt>
                <c:pt idx="370">
                  <c:v>44932</c:v>
                </c:pt>
              </c:numCache>
            </c:numRef>
          </c:cat>
          <c:val>
            <c:numRef>
              <c:f>'DA_ETF, TTF, NCG og GPL'!$E$5062:$E$5432</c:f>
              <c:numCache>
                <c:formatCode>0.00</c:formatCode>
                <c:ptCount val="371"/>
                <c:pt idx="0">
                  <c:v>69.608000000000004</c:v>
                </c:pt>
                <c:pt idx="1">
                  <c:v>69.608000000000004</c:v>
                </c:pt>
                <c:pt idx="2">
                  <c:v>69.608000000000004</c:v>
                </c:pt>
                <c:pt idx="3">
                  <c:v>70.450999999999993</c:v>
                </c:pt>
                <c:pt idx="4">
                  <c:v>94.272999999999996</c:v>
                </c:pt>
                <c:pt idx="5">
                  <c:v>93.662999999999997</c:v>
                </c:pt>
                <c:pt idx="6">
                  <c:v>95.061999999999998</c:v>
                </c:pt>
                <c:pt idx="7">
                  <c:v>91.926000000000002</c:v>
                </c:pt>
                <c:pt idx="8">
                  <c:v>91.926000000000002</c:v>
                </c:pt>
                <c:pt idx="9">
                  <c:v>93.712000000000003</c:v>
                </c:pt>
                <c:pt idx="10">
                  <c:v>89.930999999999997</c:v>
                </c:pt>
                <c:pt idx="11">
                  <c:v>81.632000000000005</c:v>
                </c:pt>
                <c:pt idx="12">
                  <c:v>77.209000000000003</c:v>
                </c:pt>
                <c:pt idx="13">
                  <c:v>80.694000000000003</c:v>
                </c:pt>
                <c:pt idx="14">
                  <c:v>91.349000000000004</c:v>
                </c:pt>
                <c:pt idx="15">
                  <c:v>91.349000000000004</c:v>
                </c:pt>
                <c:pt idx="16">
                  <c:v>88.594999999999999</c:v>
                </c:pt>
                <c:pt idx="17">
                  <c:v>78.644000000000005</c:v>
                </c:pt>
                <c:pt idx="18">
                  <c:v>79.037000000000006</c:v>
                </c:pt>
                <c:pt idx="19">
                  <c:v>75.447000000000003</c:v>
                </c:pt>
                <c:pt idx="20">
                  <c:v>75.108999999999995</c:v>
                </c:pt>
                <c:pt idx="21">
                  <c:v>79.849999999999994</c:v>
                </c:pt>
                <c:pt idx="22">
                  <c:v>79.849999999999994</c:v>
                </c:pt>
                <c:pt idx="23">
                  <c:v>79.72</c:v>
                </c:pt>
                <c:pt idx="24">
                  <c:v>93.046000000000006</c:v>
                </c:pt>
                <c:pt idx="25">
                  <c:v>93.87</c:v>
                </c:pt>
                <c:pt idx="26">
                  <c:v>92.372</c:v>
                </c:pt>
                <c:pt idx="27">
                  <c:v>92.475999999999999</c:v>
                </c:pt>
                <c:pt idx="28">
                  <c:v>91.938000000000002</c:v>
                </c:pt>
                <c:pt idx="29">
                  <c:v>91.938000000000002</c:v>
                </c:pt>
                <c:pt idx="30">
                  <c:v>92.956999999999994</c:v>
                </c:pt>
                <c:pt idx="31">
                  <c:v>87.278999999999996</c:v>
                </c:pt>
                <c:pt idx="32">
                  <c:v>77.093000000000004</c:v>
                </c:pt>
                <c:pt idx="33">
                  <c:v>78.697999999999993</c:v>
                </c:pt>
                <c:pt idx="34">
                  <c:v>79.316000000000003</c:v>
                </c:pt>
                <c:pt idx="35">
                  <c:v>82.221000000000004</c:v>
                </c:pt>
                <c:pt idx="36">
                  <c:v>82.221000000000004</c:v>
                </c:pt>
                <c:pt idx="37">
                  <c:v>82.352000000000004</c:v>
                </c:pt>
                <c:pt idx="38">
                  <c:v>78.793000000000006</c:v>
                </c:pt>
                <c:pt idx="39">
                  <c:v>78.927000000000007</c:v>
                </c:pt>
                <c:pt idx="40">
                  <c:v>75.712999999999994</c:v>
                </c:pt>
                <c:pt idx="41">
                  <c:v>74.293000000000006</c:v>
                </c:pt>
                <c:pt idx="42">
                  <c:v>75.242000000000004</c:v>
                </c:pt>
                <c:pt idx="43">
                  <c:v>75.242000000000004</c:v>
                </c:pt>
                <c:pt idx="44">
                  <c:v>75.207999999999998</c:v>
                </c:pt>
                <c:pt idx="45">
                  <c:v>81.116</c:v>
                </c:pt>
                <c:pt idx="46">
                  <c:v>72.153000000000006</c:v>
                </c:pt>
                <c:pt idx="47">
                  <c:v>69.727000000000004</c:v>
                </c:pt>
                <c:pt idx="48">
                  <c:v>73.688999999999993</c:v>
                </c:pt>
                <c:pt idx="49">
                  <c:v>72.596000000000004</c:v>
                </c:pt>
                <c:pt idx="50">
                  <c:v>72.596000000000004</c:v>
                </c:pt>
                <c:pt idx="51">
                  <c:v>72.953000000000003</c:v>
                </c:pt>
                <c:pt idx="52">
                  <c:v>74.094999999999999</c:v>
                </c:pt>
                <c:pt idx="53">
                  <c:v>79.617000000000004</c:v>
                </c:pt>
                <c:pt idx="54">
                  <c:v>86.415999999999997</c:v>
                </c:pt>
                <c:pt idx="55">
                  <c:v>125.73</c:v>
                </c:pt>
                <c:pt idx="56">
                  <c:v>95.34</c:v>
                </c:pt>
                <c:pt idx="57">
                  <c:v>95.34</c:v>
                </c:pt>
                <c:pt idx="58">
                  <c:v>95.381</c:v>
                </c:pt>
                <c:pt idx="59">
                  <c:v>104.221</c:v>
                </c:pt>
                <c:pt idx="60">
                  <c:v>121.569</c:v>
                </c:pt>
                <c:pt idx="61">
                  <c:v>161.30699999999999</c:v>
                </c:pt>
                <c:pt idx="62">
                  <c:v>164.41900000000001</c:v>
                </c:pt>
                <c:pt idx="63">
                  <c:v>189.065</c:v>
                </c:pt>
                <c:pt idx="64">
                  <c:v>189.065</c:v>
                </c:pt>
                <c:pt idx="65">
                  <c:v>192.12200000000001</c:v>
                </c:pt>
                <c:pt idx="66">
                  <c:v>264.07600000000002</c:v>
                </c:pt>
                <c:pt idx="67">
                  <c:v>209.751</c:v>
                </c:pt>
                <c:pt idx="68">
                  <c:v>161.28200000000001</c:v>
                </c:pt>
                <c:pt idx="69">
                  <c:v>132.93199999999999</c:v>
                </c:pt>
                <c:pt idx="70">
                  <c:v>123.57299999999999</c:v>
                </c:pt>
                <c:pt idx="71">
                  <c:v>123.57299999999999</c:v>
                </c:pt>
                <c:pt idx="72">
                  <c:v>125.621</c:v>
                </c:pt>
                <c:pt idx="73">
                  <c:v>116.467</c:v>
                </c:pt>
                <c:pt idx="74">
                  <c:v>119.01600000000001</c:v>
                </c:pt>
                <c:pt idx="75">
                  <c:v>107.98</c:v>
                </c:pt>
                <c:pt idx="76">
                  <c:v>105.803</c:v>
                </c:pt>
                <c:pt idx="77">
                  <c:v>102.248</c:v>
                </c:pt>
                <c:pt idx="78">
                  <c:v>102.248</c:v>
                </c:pt>
                <c:pt idx="79">
                  <c:v>102.126</c:v>
                </c:pt>
                <c:pt idx="80">
                  <c:v>97.507999999999996</c:v>
                </c:pt>
                <c:pt idx="81">
                  <c:v>95.466999999999999</c:v>
                </c:pt>
                <c:pt idx="82">
                  <c:v>112.027</c:v>
                </c:pt>
                <c:pt idx="83">
                  <c:v>115.80800000000001</c:v>
                </c:pt>
                <c:pt idx="84">
                  <c:v>102.294</c:v>
                </c:pt>
                <c:pt idx="85">
                  <c:v>103.294</c:v>
                </c:pt>
                <c:pt idx="86">
                  <c:v>102.708</c:v>
                </c:pt>
                <c:pt idx="87">
                  <c:v>102.631</c:v>
                </c:pt>
                <c:pt idx="88">
                  <c:v>110.494</c:v>
                </c:pt>
                <c:pt idx="89">
                  <c:v>120.565</c:v>
                </c:pt>
                <c:pt idx="90">
                  <c:v>121.069</c:v>
                </c:pt>
                <c:pt idx="91">
                  <c:v>119.943</c:v>
                </c:pt>
                <c:pt idx="92">
                  <c:v>119.943</c:v>
                </c:pt>
                <c:pt idx="93">
                  <c:v>119.98399999999999</c:v>
                </c:pt>
                <c:pt idx="94">
                  <c:v>110.98399999999999</c:v>
                </c:pt>
                <c:pt idx="95">
                  <c:v>110.22799999999999</c:v>
                </c:pt>
                <c:pt idx="96">
                  <c:v>109.67</c:v>
                </c:pt>
                <c:pt idx="97">
                  <c:v>106.625</c:v>
                </c:pt>
                <c:pt idx="98">
                  <c:v>109.181</c:v>
                </c:pt>
                <c:pt idx="99">
                  <c:v>110.181</c:v>
                </c:pt>
                <c:pt idx="100">
                  <c:v>109.22499999999999</c:v>
                </c:pt>
                <c:pt idx="101">
                  <c:v>103.124</c:v>
                </c:pt>
                <c:pt idx="102">
                  <c:v>104.64700000000001</c:v>
                </c:pt>
                <c:pt idx="103">
                  <c:v>105.548</c:v>
                </c:pt>
                <c:pt idx="104">
                  <c:v>100.827</c:v>
                </c:pt>
                <c:pt idx="105">
                  <c:v>100.827</c:v>
                </c:pt>
                <c:pt idx="106">
                  <c:v>100.827</c:v>
                </c:pt>
                <c:pt idx="107">
                  <c:v>100.827</c:v>
                </c:pt>
                <c:pt idx="108">
                  <c:v>100.877</c:v>
                </c:pt>
                <c:pt idx="109">
                  <c:v>94.483999999999995</c:v>
                </c:pt>
                <c:pt idx="110">
                  <c:v>96.995999999999995</c:v>
                </c:pt>
                <c:pt idx="111">
                  <c:v>98.79</c:v>
                </c:pt>
                <c:pt idx="112">
                  <c:v>95.744</c:v>
                </c:pt>
                <c:pt idx="113">
                  <c:v>95.744</c:v>
                </c:pt>
                <c:pt idx="114">
                  <c:v>96.974000000000004</c:v>
                </c:pt>
                <c:pt idx="115">
                  <c:v>98.658000000000001</c:v>
                </c:pt>
                <c:pt idx="116">
                  <c:v>93.558000000000007</c:v>
                </c:pt>
                <c:pt idx="117">
                  <c:v>108.852</c:v>
                </c:pt>
                <c:pt idx="118">
                  <c:v>104.072</c:v>
                </c:pt>
                <c:pt idx="119">
                  <c:v>102.24299999999999</c:v>
                </c:pt>
                <c:pt idx="120">
                  <c:v>102.24299999999999</c:v>
                </c:pt>
                <c:pt idx="121">
                  <c:v>102.24299999999999</c:v>
                </c:pt>
                <c:pt idx="122">
                  <c:v>102.32</c:v>
                </c:pt>
                <c:pt idx="123">
                  <c:v>99.552000000000007</c:v>
                </c:pt>
                <c:pt idx="124">
                  <c:v>110.004</c:v>
                </c:pt>
                <c:pt idx="125">
                  <c:v>104.65600000000001</c:v>
                </c:pt>
                <c:pt idx="126">
                  <c:v>96.248999999999995</c:v>
                </c:pt>
                <c:pt idx="127">
                  <c:v>96.248999999999995</c:v>
                </c:pt>
                <c:pt idx="128">
                  <c:v>96.691000000000003</c:v>
                </c:pt>
                <c:pt idx="129">
                  <c:v>89.049000000000007</c:v>
                </c:pt>
                <c:pt idx="130">
                  <c:v>84.879000000000005</c:v>
                </c:pt>
                <c:pt idx="131">
                  <c:v>84.885000000000005</c:v>
                </c:pt>
                <c:pt idx="132">
                  <c:v>98.596000000000004</c:v>
                </c:pt>
                <c:pt idx="133">
                  <c:v>91.522999999999996</c:v>
                </c:pt>
                <c:pt idx="134">
                  <c:v>93.91</c:v>
                </c:pt>
                <c:pt idx="135">
                  <c:v>93.617999999999995</c:v>
                </c:pt>
                <c:pt idx="136">
                  <c:v>94.552000000000007</c:v>
                </c:pt>
                <c:pt idx="137">
                  <c:v>95.15</c:v>
                </c:pt>
                <c:pt idx="138">
                  <c:v>92.22</c:v>
                </c:pt>
                <c:pt idx="139">
                  <c:v>88.194999999999993</c:v>
                </c:pt>
                <c:pt idx="140">
                  <c:v>89.194999999999993</c:v>
                </c:pt>
                <c:pt idx="141">
                  <c:v>88.242999999999995</c:v>
                </c:pt>
                <c:pt idx="142">
                  <c:v>82.106999999999999</c:v>
                </c:pt>
                <c:pt idx="143">
                  <c:v>82.712999999999994</c:v>
                </c:pt>
                <c:pt idx="144">
                  <c:v>81.84</c:v>
                </c:pt>
                <c:pt idx="145">
                  <c:v>82.588999999999999</c:v>
                </c:pt>
                <c:pt idx="146">
                  <c:v>83.227000000000004</c:v>
                </c:pt>
                <c:pt idx="147">
                  <c:v>84.227000000000004</c:v>
                </c:pt>
                <c:pt idx="148">
                  <c:v>84.221000000000004</c:v>
                </c:pt>
                <c:pt idx="149">
                  <c:v>88.022999999999996</c:v>
                </c:pt>
                <c:pt idx="150">
                  <c:v>91.156999999999996</c:v>
                </c:pt>
                <c:pt idx="151">
                  <c:v>83.581999999999994</c:v>
                </c:pt>
                <c:pt idx="152">
                  <c:v>83.581999999999994</c:v>
                </c:pt>
                <c:pt idx="153">
                  <c:v>83.581999999999994</c:v>
                </c:pt>
                <c:pt idx="154">
                  <c:v>83.581999999999994</c:v>
                </c:pt>
                <c:pt idx="155">
                  <c:v>83.68</c:v>
                </c:pt>
                <c:pt idx="156">
                  <c:v>83.68</c:v>
                </c:pt>
                <c:pt idx="157">
                  <c:v>80.781999999999996</c:v>
                </c:pt>
                <c:pt idx="158">
                  <c:v>78.83</c:v>
                </c:pt>
                <c:pt idx="159">
                  <c:v>78.563000000000002</c:v>
                </c:pt>
                <c:pt idx="160">
                  <c:v>85.037000000000006</c:v>
                </c:pt>
                <c:pt idx="161">
                  <c:v>82.555999999999997</c:v>
                </c:pt>
                <c:pt idx="162">
                  <c:v>82.555999999999997</c:v>
                </c:pt>
                <c:pt idx="163">
                  <c:v>83.364999999999995</c:v>
                </c:pt>
                <c:pt idx="164">
                  <c:v>82.111000000000004</c:v>
                </c:pt>
                <c:pt idx="165">
                  <c:v>90.028000000000006</c:v>
                </c:pt>
                <c:pt idx="166">
                  <c:v>103.819</c:v>
                </c:pt>
                <c:pt idx="167">
                  <c:v>137.95099999999999</c:v>
                </c:pt>
                <c:pt idx="168">
                  <c:v>120.27500000000001</c:v>
                </c:pt>
                <c:pt idx="169">
                  <c:v>120.27500000000001</c:v>
                </c:pt>
                <c:pt idx="170">
                  <c:v>122.474</c:v>
                </c:pt>
                <c:pt idx="171">
                  <c:v>121.428</c:v>
                </c:pt>
                <c:pt idx="172">
                  <c:v>124.124</c:v>
                </c:pt>
                <c:pt idx="173">
                  <c:v>127.77500000000001</c:v>
                </c:pt>
                <c:pt idx="174">
                  <c:v>134.416</c:v>
                </c:pt>
                <c:pt idx="175">
                  <c:v>128.256</c:v>
                </c:pt>
                <c:pt idx="176">
                  <c:v>128.256</c:v>
                </c:pt>
                <c:pt idx="177">
                  <c:v>129.596</c:v>
                </c:pt>
                <c:pt idx="178">
                  <c:v>133.28800000000001</c:v>
                </c:pt>
                <c:pt idx="179">
                  <c:v>130.12</c:v>
                </c:pt>
                <c:pt idx="180">
                  <c:v>138.98699999999999</c:v>
                </c:pt>
                <c:pt idx="181">
                  <c:v>148.339</c:v>
                </c:pt>
                <c:pt idx="182">
                  <c:v>146.46100000000001</c:v>
                </c:pt>
                <c:pt idx="183">
                  <c:v>146.46100000000001</c:v>
                </c:pt>
                <c:pt idx="184">
                  <c:v>147.238</c:v>
                </c:pt>
                <c:pt idx="185">
                  <c:v>162.29599999999999</c:v>
                </c:pt>
                <c:pt idx="186">
                  <c:v>172.774</c:v>
                </c:pt>
                <c:pt idx="187">
                  <c:v>164.21199999999999</c:v>
                </c:pt>
                <c:pt idx="188">
                  <c:v>181.90199999999999</c:v>
                </c:pt>
                <c:pt idx="189">
                  <c:v>178.03700000000001</c:v>
                </c:pt>
                <c:pt idx="190">
                  <c:v>178.03700000000001</c:v>
                </c:pt>
                <c:pt idx="191">
                  <c:v>179.672</c:v>
                </c:pt>
                <c:pt idx="192">
                  <c:v>172.774</c:v>
                </c:pt>
                <c:pt idx="193">
                  <c:v>175.12700000000001</c:v>
                </c:pt>
                <c:pt idx="194">
                  <c:v>182.34200000000001</c:v>
                </c:pt>
                <c:pt idx="195">
                  <c:v>177.66300000000001</c:v>
                </c:pt>
                <c:pt idx="196">
                  <c:v>166.453</c:v>
                </c:pt>
                <c:pt idx="197">
                  <c:v>166.453</c:v>
                </c:pt>
                <c:pt idx="198">
                  <c:v>161.91</c:v>
                </c:pt>
                <c:pt idx="199">
                  <c:v>159.35499999999999</c:v>
                </c:pt>
                <c:pt idx="200">
                  <c:v>160.369</c:v>
                </c:pt>
                <c:pt idx="201">
                  <c:v>158.70500000000001</c:v>
                </c:pt>
                <c:pt idx="202">
                  <c:v>148.58799999999999</c:v>
                </c:pt>
                <c:pt idx="203">
                  <c:v>162.66800000000001</c:v>
                </c:pt>
                <c:pt idx="204">
                  <c:v>162.66800000000001</c:v>
                </c:pt>
                <c:pt idx="205">
                  <c:v>162.822</c:v>
                </c:pt>
                <c:pt idx="206">
                  <c:v>166.89400000000001</c:v>
                </c:pt>
                <c:pt idx="207">
                  <c:v>195.17</c:v>
                </c:pt>
                <c:pt idx="208">
                  <c:v>209.01</c:v>
                </c:pt>
                <c:pt idx="209">
                  <c:v>202.14</c:v>
                </c:pt>
                <c:pt idx="210">
                  <c:v>191.35300000000001</c:v>
                </c:pt>
                <c:pt idx="211">
                  <c:v>191.35300000000001</c:v>
                </c:pt>
                <c:pt idx="212">
                  <c:v>193.73400000000001</c:v>
                </c:pt>
                <c:pt idx="213">
                  <c:v>201.32599999999999</c:v>
                </c:pt>
                <c:pt idx="214">
                  <c:v>207.08199999999999</c:v>
                </c:pt>
                <c:pt idx="215">
                  <c:v>201.732</c:v>
                </c:pt>
                <c:pt idx="216">
                  <c:v>195.167</c:v>
                </c:pt>
                <c:pt idx="217">
                  <c:v>194.34700000000001</c:v>
                </c:pt>
                <c:pt idx="218">
                  <c:v>194.34700000000001</c:v>
                </c:pt>
                <c:pt idx="219">
                  <c:v>193.83500000000001</c:v>
                </c:pt>
                <c:pt idx="220">
                  <c:v>192.98099999999999</c:v>
                </c:pt>
                <c:pt idx="221">
                  <c:v>190.785</c:v>
                </c:pt>
                <c:pt idx="222">
                  <c:v>204.24700000000001</c:v>
                </c:pt>
                <c:pt idx="223">
                  <c:v>208.40700000000001</c:v>
                </c:pt>
                <c:pt idx="224">
                  <c:v>203.917</c:v>
                </c:pt>
                <c:pt idx="225">
                  <c:v>203.917</c:v>
                </c:pt>
                <c:pt idx="226">
                  <c:v>205.08799999999999</c:v>
                </c:pt>
                <c:pt idx="227">
                  <c:v>215.68899999999999</c:v>
                </c:pt>
                <c:pt idx="228">
                  <c:v>234.05099999999999</c:v>
                </c:pt>
                <c:pt idx="229">
                  <c:v>231.51</c:v>
                </c:pt>
                <c:pt idx="230">
                  <c:v>237.08799999999999</c:v>
                </c:pt>
                <c:pt idx="231">
                  <c:v>244.47200000000001</c:v>
                </c:pt>
                <c:pt idx="232">
                  <c:v>244.47200000000001</c:v>
                </c:pt>
                <c:pt idx="233">
                  <c:v>243.03399999999999</c:v>
                </c:pt>
                <c:pt idx="234">
                  <c:v>275.47899999999998</c:v>
                </c:pt>
                <c:pt idx="235">
                  <c:v>268.60000000000002</c:v>
                </c:pt>
                <c:pt idx="236">
                  <c:v>287.94</c:v>
                </c:pt>
                <c:pt idx="237">
                  <c:v>310.90899999999999</c:v>
                </c:pt>
                <c:pt idx="238">
                  <c:v>319.05</c:v>
                </c:pt>
                <c:pt idx="239">
                  <c:v>319.05</c:v>
                </c:pt>
                <c:pt idx="240">
                  <c:v>319.05</c:v>
                </c:pt>
                <c:pt idx="241">
                  <c:v>320.41000000000003</c:v>
                </c:pt>
                <c:pt idx="242">
                  <c:v>255.762</c:v>
                </c:pt>
                <c:pt idx="243">
                  <c:v>243.36699999999999</c:v>
                </c:pt>
                <c:pt idx="244">
                  <c:v>225.75</c:v>
                </c:pt>
                <c:pt idx="245">
                  <c:v>184.19399999999999</c:v>
                </c:pt>
                <c:pt idx="246">
                  <c:v>184.19399999999999</c:v>
                </c:pt>
                <c:pt idx="247">
                  <c:v>187.65600000000001</c:v>
                </c:pt>
                <c:pt idx="248">
                  <c:v>226.59100000000001</c:v>
                </c:pt>
                <c:pt idx="249">
                  <c:v>219.642</c:v>
                </c:pt>
                <c:pt idx="250">
                  <c:v>208.001</c:v>
                </c:pt>
                <c:pt idx="251">
                  <c:v>196.89500000000001</c:v>
                </c:pt>
                <c:pt idx="252">
                  <c:v>195.66</c:v>
                </c:pt>
                <c:pt idx="253">
                  <c:v>195.66</c:v>
                </c:pt>
                <c:pt idx="254">
                  <c:v>197.148</c:v>
                </c:pt>
                <c:pt idx="255">
                  <c:v>186.41900000000001</c:v>
                </c:pt>
                <c:pt idx="256">
                  <c:v>189.23</c:v>
                </c:pt>
                <c:pt idx="257">
                  <c:v>212.976</c:v>
                </c:pt>
                <c:pt idx="258">
                  <c:v>203.94499999999999</c:v>
                </c:pt>
                <c:pt idx="259">
                  <c:v>169.18899999999999</c:v>
                </c:pt>
                <c:pt idx="260">
                  <c:v>165.39400000000001</c:v>
                </c:pt>
                <c:pt idx="261">
                  <c:v>165.39400000000001</c:v>
                </c:pt>
                <c:pt idx="262">
                  <c:v>167.517</c:v>
                </c:pt>
                <c:pt idx="263">
                  <c:v>171.11500000000001</c:v>
                </c:pt>
                <c:pt idx="264">
                  <c:v>184.20500000000001</c:v>
                </c:pt>
                <c:pt idx="265">
                  <c:v>174.33099999999999</c:v>
                </c:pt>
                <c:pt idx="266">
                  <c:v>167.208</c:v>
                </c:pt>
                <c:pt idx="267">
                  <c:v>167.208</c:v>
                </c:pt>
                <c:pt idx="268">
                  <c:v>169.70599999999999</c:v>
                </c:pt>
                <c:pt idx="269">
                  <c:v>167.34299999999999</c:v>
                </c:pt>
                <c:pt idx="270">
                  <c:v>187.95599999999999</c:v>
                </c:pt>
                <c:pt idx="271">
                  <c:v>199.554</c:v>
                </c:pt>
                <c:pt idx="272">
                  <c:v>184.523</c:v>
                </c:pt>
                <c:pt idx="273">
                  <c:v>168.16800000000001</c:v>
                </c:pt>
                <c:pt idx="274">
                  <c:v>168.16800000000001</c:v>
                </c:pt>
                <c:pt idx="275">
                  <c:v>167.21</c:v>
                </c:pt>
                <c:pt idx="276">
                  <c:v>147.94200000000001</c:v>
                </c:pt>
                <c:pt idx="277">
                  <c:v>119.77200000000001</c:v>
                </c:pt>
                <c:pt idx="278">
                  <c:v>90.123000000000005</c:v>
                </c:pt>
                <c:pt idx="279">
                  <c:v>120.578</c:v>
                </c:pt>
                <c:pt idx="280">
                  <c:v>120.613</c:v>
                </c:pt>
                <c:pt idx="281">
                  <c:v>120.613</c:v>
                </c:pt>
                <c:pt idx="282">
                  <c:v>125.09699999999999</c:v>
                </c:pt>
                <c:pt idx="283">
                  <c:v>110.57599999999999</c:v>
                </c:pt>
                <c:pt idx="284">
                  <c:v>111.583</c:v>
                </c:pt>
                <c:pt idx="285">
                  <c:v>108.70699999999999</c:v>
                </c:pt>
                <c:pt idx="286">
                  <c:v>100.961</c:v>
                </c:pt>
                <c:pt idx="287">
                  <c:v>75.759</c:v>
                </c:pt>
                <c:pt idx="288">
                  <c:v>75.759</c:v>
                </c:pt>
                <c:pt idx="289">
                  <c:v>75.727999999999994</c:v>
                </c:pt>
                <c:pt idx="290">
                  <c:v>63.152000000000001</c:v>
                </c:pt>
                <c:pt idx="291">
                  <c:v>62.341000000000001</c:v>
                </c:pt>
                <c:pt idx="292">
                  <c:v>73.802000000000007</c:v>
                </c:pt>
                <c:pt idx="293">
                  <c:v>64.813999999999993</c:v>
                </c:pt>
                <c:pt idx="294">
                  <c:v>50.625999999999998</c:v>
                </c:pt>
                <c:pt idx="295">
                  <c:v>50.625999999999998</c:v>
                </c:pt>
                <c:pt idx="296">
                  <c:v>53.249000000000002</c:v>
                </c:pt>
                <c:pt idx="297">
                  <c:v>34.491999999999997</c:v>
                </c:pt>
                <c:pt idx="298">
                  <c:v>43.595999999999997</c:v>
                </c:pt>
                <c:pt idx="299">
                  <c:v>50.680999999999997</c:v>
                </c:pt>
                <c:pt idx="300">
                  <c:v>40.668999999999997</c:v>
                </c:pt>
                <c:pt idx="301">
                  <c:v>32.256999999999998</c:v>
                </c:pt>
                <c:pt idx="302">
                  <c:v>32.256999999999998</c:v>
                </c:pt>
                <c:pt idx="303">
                  <c:v>34.174999999999997</c:v>
                </c:pt>
                <c:pt idx="304">
                  <c:v>42.484999999999999</c:v>
                </c:pt>
                <c:pt idx="305">
                  <c:v>32.646000000000001</c:v>
                </c:pt>
                <c:pt idx="306">
                  <c:v>44.378</c:v>
                </c:pt>
                <c:pt idx="307">
                  <c:v>79.144000000000005</c:v>
                </c:pt>
                <c:pt idx="308">
                  <c:v>57.082000000000001</c:v>
                </c:pt>
                <c:pt idx="309">
                  <c:v>57.082000000000001</c:v>
                </c:pt>
                <c:pt idx="310">
                  <c:v>60.686</c:v>
                </c:pt>
                <c:pt idx="311">
                  <c:v>59.728000000000002</c:v>
                </c:pt>
                <c:pt idx="312">
                  <c:v>85.724000000000004</c:v>
                </c:pt>
                <c:pt idx="313">
                  <c:v>97.864000000000004</c:v>
                </c:pt>
                <c:pt idx="314">
                  <c:v>89.51</c:v>
                </c:pt>
                <c:pt idx="315">
                  <c:v>70.442999999999998</c:v>
                </c:pt>
                <c:pt idx="316">
                  <c:v>70.442999999999998</c:v>
                </c:pt>
                <c:pt idx="317">
                  <c:v>77.662000000000006</c:v>
                </c:pt>
                <c:pt idx="318">
                  <c:v>105.617</c:v>
                </c:pt>
                <c:pt idx="319">
                  <c:v>119.843</c:v>
                </c:pt>
                <c:pt idx="320">
                  <c:v>113.03100000000001</c:v>
                </c:pt>
                <c:pt idx="321">
                  <c:v>105.504</c:v>
                </c:pt>
                <c:pt idx="322">
                  <c:v>110.821</c:v>
                </c:pt>
                <c:pt idx="323">
                  <c:v>110.821</c:v>
                </c:pt>
                <c:pt idx="324">
                  <c:v>110.97499999999999</c:v>
                </c:pt>
                <c:pt idx="325">
                  <c:v>117.83799999999999</c:v>
                </c:pt>
                <c:pt idx="326">
                  <c:v>117.124</c:v>
                </c:pt>
                <c:pt idx="327">
                  <c:v>126.273</c:v>
                </c:pt>
                <c:pt idx="328">
                  <c:v>124.71599999999999</c:v>
                </c:pt>
                <c:pt idx="329">
                  <c:v>121.959</c:v>
                </c:pt>
                <c:pt idx="330">
                  <c:v>121.959</c:v>
                </c:pt>
                <c:pt idx="331">
                  <c:v>123.349</c:v>
                </c:pt>
                <c:pt idx="332">
                  <c:v>125.85599999999999</c:v>
                </c:pt>
                <c:pt idx="333">
                  <c:v>134.36199999999999</c:v>
                </c:pt>
                <c:pt idx="334">
                  <c:v>147.05199999999999</c:v>
                </c:pt>
                <c:pt idx="335">
                  <c:v>147.50899999999999</c:v>
                </c:pt>
                <c:pt idx="336">
                  <c:v>135.75700000000001</c:v>
                </c:pt>
                <c:pt idx="337">
                  <c:v>135.75700000000001</c:v>
                </c:pt>
                <c:pt idx="338">
                  <c:v>136.44900000000001</c:v>
                </c:pt>
                <c:pt idx="339">
                  <c:v>138.22999999999999</c:v>
                </c:pt>
                <c:pt idx="340">
                  <c:v>138.80000000000001</c:v>
                </c:pt>
                <c:pt idx="341">
                  <c:v>147.34399999999999</c:v>
                </c:pt>
                <c:pt idx="342">
                  <c:v>153.864</c:v>
                </c:pt>
                <c:pt idx="343">
                  <c:v>141.24199999999999</c:v>
                </c:pt>
                <c:pt idx="344">
                  <c:v>141.24199999999999</c:v>
                </c:pt>
                <c:pt idx="345">
                  <c:v>142.14099999999999</c:v>
                </c:pt>
                <c:pt idx="346">
                  <c:v>139.47900000000001</c:v>
                </c:pt>
                <c:pt idx="347">
                  <c:v>142.67400000000001</c:v>
                </c:pt>
                <c:pt idx="348">
                  <c:v>134.99600000000001</c:v>
                </c:pt>
                <c:pt idx="349">
                  <c:v>137.78899999999999</c:v>
                </c:pt>
                <c:pt idx="350">
                  <c:v>123.633</c:v>
                </c:pt>
                <c:pt idx="351">
                  <c:v>123.633</c:v>
                </c:pt>
                <c:pt idx="352">
                  <c:v>122.15900000000001</c:v>
                </c:pt>
                <c:pt idx="353">
                  <c:v>110.19199999999999</c:v>
                </c:pt>
                <c:pt idx="354">
                  <c:v>105.92400000000001</c:v>
                </c:pt>
                <c:pt idx="355">
                  <c:v>99.739000000000004</c:v>
                </c:pt>
                <c:pt idx="356">
                  <c:v>92.644999999999996</c:v>
                </c:pt>
                <c:pt idx="357">
                  <c:v>83.706999999999994</c:v>
                </c:pt>
                <c:pt idx="358">
                  <c:v>83.706999999999994</c:v>
                </c:pt>
                <c:pt idx="359">
                  <c:v>83.706999999999994</c:v>
                </c:pt>
                <c:pt idx="360">
                  <c:v>83.706999999999994</c:v>
                </c:pt>
                <c:pt idx="361">
                  <c:v>83.935000000000002</c:v>
                </c:pt>
                <c:pt idx="362">
                  <c:v>79.117999999999995</c:v>
                </c:pt>
                <c:pt idx="363">
                  <c:v>82.805999999999997</c:v>
                </c:pt>
                <c:pt idx="364">
                  <c:v>82.805999999999997</c:v>
                </c:pt>
                <c:pt idx="365">
                  <c:v>82.805999999999997</c:v>
                </c:pt>
                <c:pt idx="366">
                  <c:v>82.805999999999997</c:v>
                </c:pt>
                <c:pt idx="367">
                  <c:v>82.805999999999997</c:v>
                </c:pt>
                <c:pt idx="368">
                  <c:v>70.539000000000001</c:v>
                </c:pt>
                <c:pt idx="369">
                  <c:v>65.442999999999998</c:v>
                </c:pt>
                <c:pt idx="370">
                  <c:v>65.442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6FA-4BAD-969C-87EDB41DD380}"/>
            </c:ext>
          </c:extLst>
        </c:ser>
        <c:ser>
          <c:idx val="0"/>
          <c:order val="1"/>
          <c:tx>
            <c:v>ETF 2021</c:v>
          </c:tx>
          <c:spPr>
            <a:ln w="15875">
              <a:solidFill>
                <a:schemeClr val="bg1">
                  <a:lumMod val="50000"/>
                </a:schemeClr>
              </a:solidFill>
              <a:prstDash val="dash"/>
            </a:ln>
          </c:spPr>
          <c:marker>
            <c:symbol val="none"/>
          </c:marker>
          <c:cat>
            <c:numRef>
              <c:f>'DA_ETF, TTF, NCG og GPL'!$D$5062:$D$5432</c:f>
              <c:numCache>
                <c:formatCode>m/d/yyyy</c:formatCode>
                <c:ptCount val="371"/>
                <c:pt idx="0">
                  <c:v>44562</c:v>
                </c:pt>
                <c:pt idx="1">
                  <c:v>44563</c:v>
                </c:pt>
                <c:pt idx="2">
                  <c:v>44564</c:v>
                </c:pt>
                <c:pt idx="3">
                  <c:v>44565</c:v>
                </c:pt>
                <c:pt idx="4">
                  <c:v>44566</c:v>
                </c:pt>
                <c:pt idx="5">
                  <c:v>44567</c:v>
                </c:pt>
                <c:pt idx="6">
                  <c:v>44568</c:v>
                </c:pt>
                <c:pt idx="7">
                  <c:v>44569</c:v>
                </c:pt>
                <c:pt idx="8">
                  <c:v>44570</c:v>
                </c:pt>
                <c:pt idx="9">
                  <c:v>44571</c:v>
                </c:pt>
                <c:pt idx="10">
                  <c:v>44572</c:v>
                </c:pt>
                <c:pt idx="11">
                  <c:v>44573</c:v>
                </c:pt>
                <c:pt idx="12">
                  <c:v>44574</c:v>
                </c:pt>
                <c:pt idx="13">
                  <c:v>44575</c:v>
                </c:pt>
                <c:pt idx="14">
                  <c:v>44576</c:v>
                </c:pt>
                <c:pt idx="15">
                  <c:v>44577</c:v>
                </c:pt>
                <c:pt idx="16">
                  <c:v>44578</c:v>
                </c:pt>
                <c:pt idx="17">
                  <c:v>44579</c:v>
                </c:pt>
                <c:pt idx="18">
                  <c:v>44580</c:v>
                </c:pt>
                <c:pt idx="19">
                  <c:v>44581</c:v>
                </c:pt>
                <c:pt idx="20">
                  <c:v>44582</c:v>
                </c:pt>
                <c:pt idx="21">
                  <c:v>44583</c:v>
                </c:pt>
                <c:pt idx="22">
                  <c:v>44584</c:v>
                </c:pt>
                <c:pt idx="23">
                  <c:v>44585</c:v>
                </c:pt>
                <c:pt idx="24">
                  <c:v>44586</c:v>
                </c:pt>
                <c:pt idx="25">
                  <c:v>44587</c:v>
                </c:pt>
                <c:pt idx="26">
                  <c:v>44588</c:v>
                </c:pt>
                <c:pt idx="27">
                  <c:v>44589</c:v>
                </c:pt>
                <c:pt idx="28">
                  <c:v>44590</c:v>
                </c:pt>
                <c:pt idx="29">
                  <c:v>44591</c:v>
                </c:pt>
                <c:pt idx="30">
                  <c:v>44592</c:v>
                </c:pt>
                <c:pt idx="31">
                  <c:v>44593</c:v>
                </c:pt>
                <c:pt idx="32">
                  <c:v>44594</c:v>
                </c:pt>
                <c:pt idx="33">
                  <c:v>44595</c:v>
                </c:pt>
                <c:pt idx="34">
                  <c:v>44596</c:v>
                </c:pt>
                <c:pt idx="35">
                  <c:v>44597</c:v>
                </c:pt>
                <c:pt idx="36">
                  <c:v>44598</c:v>
                </c:pt>
                <c:pt idx="37">
                  <c:v>44599</c:v>
                </c:pt>
                <c:pt idx="38">
                  <c:v>44600</c:v>
                </c:pt>
                <c:pt idx="39">
                  <c:v>44601</c:v>
                </c:pt>
                <c:pt idx="40">
                  <c:v>44602</c:v>
                </c:pt>
                <c:pt idx="41">
                  <c:v>44603</c:v>
                </c:pt>
                <c:pt idx="42">
                  <c:v>44604</c:v>
                </c:pt>
                <c:pt idx="43">
                  <c:v>44605</c:v>
                </c:pt>
                <c:pt idx="44">
                  <c:v>44606</c:v>
                </c:pt>
                <c:pt idx="45">
                  <c:v>44607</c:v>
                </c:pt>
                <c:pt idx="46">
                  <c:v>44608</c:v>
                </c:pt>
                <c:pt idx="47">
                  <c:v>44609</c:v>
                </c:pt>
                <c:pt idx="48">
                  <c:v>44610</c:v>
                </c:pt>
                <c:pt idx="49">
                  <c:v>44611</c:v>
                </c:pt>
                <c:pt idx="50">
                  <c:v>44612</c:v>
                </c:pt>
                <c:pt idx="51">
                  <c:v>44613</c:v>
                </c:pt>
                <c:pt idx="52">
                  <c:v>44614</c:v>
                </c:pt>
                <c:pt idx="53">
                  <c:v>44615</c:v>
                </c:pt>
                <c:pt idx="54">
                  <c:v>44616</c:v>
                </c:pt>
                <c:pt idx="55">
                  <c:v>44617</c:v>
                </c:pt>
                <c:pt idx="56">
                  <c:v>44618</c:v>
                </c:pt>
                <c:pt idx="57">
                  <c:v>44619</c:v>
                </c:pt>
                <c:pt idx="58">
                  <c:v>44620</c:v>
                </c:pt>
                <c:pt idx="59">
                  <c:v>44621</c:v>
                </c:pt>
                <c:pt idx="60">
                  <c:v>44622</c:v>
                </c:pt>
                <c:pt idx="61">
                  <c:v>44623</c:v>
                </c:pt>
                <c:pt idx="62">
                  <c:v>44624</c:v>
                </c:pt>
                <c:pt idx="63">
                  <c:v>44625</c:v>
                </c:pt>
                <c:pt idx="64">
                  <c:v>44626</c:v>
                </c:pt>
                <c:pt idx="65">
                  <c:v>44627</c:v>
                </c:pt>
                <c:pt idx="66">
                  <c:v>44628</c:v>
                </c:pt>
                <c:pt idx="67">
                  <c:v>44629</c:v>
                </c:pt>
                <c:pt idx="68">
                  <c:v>44630</c:v>
                </c:pt>
                <c:pt idx="69">
                  <c:v>44631</c:v>
                </c:pt>
                <c:pt idx="70">
                  <c:v>44632</c:v>
                </c:pt>
                <c:pt idx="71">
                  <c:v>44633</c:v>
                </c:pt>
                <c:pt idx="72">
                  <c:v>44634</c:v>
                </c:pt>
                <c:pt idx="73">
                  <c:v>44635</c:v>
                </c:pt>
                <c:pt idx="74">
                  <c:v>44636</c:v>
                </c:pt>
                <c:pt idx="75">
                  <c:v>44637</c:v>
                </c:pt>
                <c:pt idx="76">
                  <c:v>44638</c:v>
                </c:pt>
                <c:pt idx="77">
                  <c:v>44639</c:v>
                </c:pt>
                <c:pt idx="78">
                  <c:v>44640</c:v>
                </c:pt>
                <c:pt idx="79">
                  <c:v>44641</c:v>
                </c:pt>
                <c:pt idx="80">
                  <c:v>44642</c:v>
                </c:pt>
                <c:pt idx="81">
                  <c:v>44643</c:v>
                </c:pt>
                <c:pt idx="82">
                  <c:v>44644</c:v>
                </c:pt>
                <c:pt idx="83">
                  <c:v>44645</c:v>
                </c:pt>
                <c:pt idx="84">
                  <c:v>44646</c:v>
                </c:pt>
                <c:pt idx="85">
                  <c:v>44647</c:v>
                </c:pt>
                <c:pt idx="86">
                  <c:v>44648</c:v>
                </c:pt>
                <c:pt idx="87">
                  <c:v>44649</c:v>
                </c:pt>
                <c:pt idx="88">
                  <c:v>44650</c:v>
                </c:pt>
                <c:pt idx="89">
                  <c:v>44651</c:v>
                </c:pt>
                <c:pt idx="90">
                  <c:v>44652</c:v>
                </c:pt>
                <c:pt idx="91">
                  <c:v>44653</c:v>
                </c:pt>
                <c:pt idx="92">
                  <c:v>44654</c:v>
                </c:pt>
                <c:pt idx="93">
                  <c:v>44655</c:v>
                </c:pt>
                <c:pt idx="94">
                  <c:v>44656</c:v>
                </c:pt>
                <c:pt idx="95">
                  <c:v>44657</c:v>
                </c:pt>
                <c:pt idx="96">
                  <c:v>44658</c:v>
                </c:pt>
                <c:pt idx="97">
                  <c:v>44659</c:v>
                </c:pt>
                <c:pt idx="98">
                  <c:v>44660</c:v>
                </c:pt>
                <c:pt idx="99">
                  <c:v>44661</c:v>
                </c:pt>
                <c:pt idx="100">
                  <c:v>44662</c:v>
                </c:pt>
                <c:pt idx="101">
                  <c:v>44663</c:v>
                </c:pt>
                <c:pt idx="102">
                  <c:v>44664</c:v>
                </c:pt>
                <c:pt idx="103">
                  <c:v>44665</c:v>
                </c:pt>
                <c:pt idx="104">
                  <c:v>44666</c:v>
                </c:pt>
                <c:pt idx="105">
                  <c:v>44667</c:v>
                </c:pt>
                <c:pt idx="106">
                  <c:v>44668</c:v>
                </c:pt>
                <c:pt idx="107">
                  <c:v>44669</c:v>
                </c:pt>
                <c:pt idx="108">
                  <c:v>44670</c:v>
                </c:pt>
                <c:pt idx="109">
                  <c:v>44671</c:v>
                </c:pt>
                <c:pt idx="110">
                  <c:v>44672</c:v>
                </c:pt>
                <c:pt idx="111">
                  <c:v>44673</c:v>
                </c:pt>
                <c:pt idx="112">
                  <c:v>44674</c:v>
                </c:pt>
                <c:pt idx="113">
                  <c:v>44675</c:v>
                </c:pt>
                <c:pt idx="114">
                  <c:v>44676</c:v>
                </c:pt>
                <c:pt idx="115">
                  <c:v>44677</c:v>
                </c:pt>
                <c:pt idx="116">
                  <c:v>44678</c:v>
                </c:pt>
                <c:pt idx="117">
                  <c:v>44679</c:v>
                </c:pt>
                <c:pt idx="118">
                  <c:v>44680</c:v>
                </c:pt>
                <c:pt idx="119">
                  <c:v>44681</c:v>
                </c:pt>
                <c:pt idx="120">
                  <c:v>44682</c:v>
                </c:pt>
                <c:pt idx="121">
                  <c:v>44683</c:v>
                </c:pt>
                <c:pt idx="122">
                  <c:v>44684</c:v>
                </c:pt>
                <c:pt idx="123">
                  <c:v>44685</c:v>
                </c:pt>
                <c:pt idx="124">
                  <c:v>44686</c:v>
                </c:pt>
                <c:pt idx="125">
                  <c:v>44687</c:v>
                </c:pt>
                <c:pt idx="126">
                  <c:v>44688</c:v>
                </c:pt>
                <c:pt idx="127">
                  <c:v>44689</c:v>
                </c:pt>
                <c:pt idx="128">
                  <c:v>44690</c:v>
                </c:pt>
                <c:pt idx="129">
                  <c:v>44691</c:v>
                </c:pt>
                <c:pt idx="130">
                  <c:v>44692</c:v>
                </c:pt>
                <c:pt idx="131">
                  <c:v>44693</c:v>
                </c:pt>
                <c:pt idx="132">
                  <c:v>44694</c:v>
                </c:pt>
                <c:pt idx="133">
                  <c:v>44695</c:v>
                </c:pt>
                <c:pt idx="134">
                  <c:v>44696</c:v>
                </c:pt>
                <c:pt idx="135">
                  <c:v>44697</c:v>
                </c:pt>
                <c:pt idx="136">
                  <c:v>44698</c:v>
                </c:pt>
                <c:pt idx="137">
                  <c:v>44699</c:v>
                </c:pt>
                <c:pt idx="138">
                  <c:v>44700</c:v>
                </c:pt>
                <c:pt idx="139">
                  <c:v>44701</c:v>
                </c:pt>
                <c:pt idx="140">
                  <c:v>44702</c:v>
                </c:pt>
                <c:pt idx="141">
                  <c:v>44703</c:v>
                </c:pt>
                <c:pt idx="142">
                  <c:v>44704</c:v>
                </c:pt>
                <c:pt idx="143">
                  <c:v>44705</c:v>
                </c:pt>
                <c:pt idx="144">
                  <c:v>44706</c:v>
                </c:pt>
                <c:pt idx="145">
                  <c:v>44707</c:v>
                </c:pt>
                <c:pt idx="146">
                  <c:v>44708</c:v>
                </c:pt>
                <c:pt idx="147">
                  <c:v>44709</c:v>
                </c:pt>
                <c:pt idx="148">
                  <c:v>44710</c:v>
                </c:pt>
                <c:pt idx="149">
                  <c:v>44711</c:v>
                </c:pt>
                <c:pt idx="150">
                  <c:v>44712</c:v>
                </c:pt>
                <c:pt idx="151">
                  <c:v>44713</c:v>
                </c:pt>
                <c:pt idx="152">
                  <c:v>44714</c:v>
                </c:pt>
                <c:pt idx="153">
                  <c:v>44715</c:v>
                </c:pt>
                <c:pt idx="154">
                  <c:v>44716</c:v>
                </c:pt>
                <c:pt idx="155">
                  <c:v>44717</c:v>
                </c:pt>
                <c:pt idx="156">
                  <c:v>44718</c:v>
                </c:pt>
                <c:pt idx="157">
                  <c:v>44719</c:v>
                </c:pt>
                <c:pt idx="158">
                  <c:v>44720</c:v>
                </c:pt>
                <c:pt idx="159">
                  <c:v>44721</c:v>
                </c:pt>
                <c:pt idx="160">
                  <c:v>44722</c:v>
                </c:pt>
                <c:pt idx="161">
                  <c:v>44723</c:v>
                </c:pt>
                <c:pt idx="162">
                  <c:v>44724</c:v>
                </c:pt>
                <c:pt idx="163">
                  <c:v>44725</c:v>
                </c:pt>
                <c:pt idx="164">
                  <c:v>44726</c:v>
                </c:pt>
                <c:pt idx="165">
                  <c:v>44727</c:v>
                </c:pt>
                <c:pt idx="166">
                  <c:v>44728</c:v>
                </c:pt>
                <c:pt idx="167">
                  <c:v>44729</c:v>
                </c:pt>
                <c:pt idx="168">
                  <c:v>44730</c:v>
                </c:pt>
                <c:pt idx="169">
                  <c:v>44731</c:v>
                </c:pt>
                <c:pt idx="170">
                  <c:v>44732</c:v>
                </c:pt>
                <c:pt idx="171">
                  <c:v>44733</c:v>
                </c:pt>
                <c:pt idx="172">
                  <c:v>44734</c:v>
                </c:pt>
                <c:pt idx="173">
                  <c:v>44735</c:v>
                </c:pt>
                <c:pt idx="174">
                  <c:v>44736</c:v>
                </c:pt>
                <c:pt idx="175">
                  <c:v>44737</c:v>
                </c:pt>
                <c:pt idx="176">
                  <c:v>44738</c:v>
                </c:pt>
                <c:pt idx="177">
                  <c:v>44739</c:v>
                </c:pt>
                <c:pt idx="178">
                  <c:v>44740</c:v>
                </c:pt>
                <c:pt idx="179">
                  <c:v>44741</c:v>
                </c:pt>
                <c:pt idx="180">
                  <c:v>44742</c:v>
                </c:pt>
                <c:pt idx="181">
                  <c:v>44743</c:v>
                </c:pt>
                <c:pt idx="182">
                  <c:v>44744</c:v>
                </c:pt>
                <c:pt idx="183">
                  <c:v>44745</c:v>
                </c:pt>
                <c:pt idx="184">
                  <c:v>44746</c:v>
                </c:pt>
                <c:pt idx="185">
                  <c:v>44747</c:v>
                </c:pt>
                <c:pt idx="186">
                  <c:v>44748</c:v>
                </c:pt>
                <c:pt idx="187">
                  <c:v>44749</c:v>
                </c:pt>
                <c:pt idx="188">
                  <c:v>44750</c:v>
                </c:pt>
                <c:pt idx="189">
                  <c:v>44751</c:v>
                </c:pt>
                <c:pt idx="190">
                  <c:v>44752</c:v>
                </c:pt>
                <c:pt idx="191">
                  <c:v>44753</c:v>
                </c:pt>
                <c:pt idx="192">
                  <c:v>44754</c:v>
                </c:pt>
                <c:pt idx="193">
                  <c:v>44755</c:v>
                </c:pt>
                <c:pt idx="194">
                  <c:v>44756</c:v>
                </c:pt>
                <c:pt idx="195">
                  <c:v>44757</c:v>
                </c:pt>
                <c:pt idx="196">
                  <c:v>44758</c:v>
                </c:pt>
                <c:pt idx="197">
                  <c:v>44759</c:v>
                </c:pt>
                <c:pt idx="198">
                  <c:v>44760</c:v>
                </c:pt>
                <c:pt idx="199">
                  <c:v>44761</c:v>
                </c:pt>
                <c:pt idx="200">
                  <c:v>44762</c:v>
                </c:pt>
                <c:pt idx="201">
                  <c:v>44763</c:v>
                </c:pt>
                <c:pt idx="202">
                  <c:v>44764</c:v>
                </c:pt>
                <c:pt idx="203">
                  <c:v>44765</c:v>
                </c:pt>
                <c:pt idx="204">
                  <c:v>44766</c:v>
                </c:pt>
                <c:pt idx="205">
                  <c:v>44767</c:v>
                </c:pt>
                <c:pt idx="206">
                  <c:v>44768</c:v>
                </c:pt>
                <c:pt idx="207">
                  <c:v>44769</c:v>
                </c:pt>
                <c:pt idx="208">
                  <c:v>44770</c:v>
                </c:pt>
                <c:pt idx="209">
                  <c:v>44771</c:v>
                </c:pt>
                <c:pt idx="210">
                  <c:v>44772</c:v>
                </c:pt>
                <c:pt idx="211">
                  <c:v>44773</c:v>
                </c:pt>
                <c:pt idx="212">
                  <c:v>44774</c:v>
                </c:pt>
                <c:pt idx="213">
                  <c:v>44775</c:v>
                </c:pt>
                <c:pt idx="214">
                  <c:v>44776</c:v>
                </c:pt>
                <c:pt idx="215">
                  <c:v>44777</c:v>
                </c:pt>
                <c:pt idx="216">
                  <c:v>44778</c:v>
                </c:pt>
                <c:pt idx="217">
                  <c:v>44779</c:v>
                </c:pt>
                <c:pt idx="218">
                  <c:v>44780</c:v>
                </c:pt>
                <c:pt idx="219">
                  <c:v>44781</c:v>
                </c:pt>
                <c:pt idx="220">
                  <c:v>44782</c:v>
                </c:pt>
                <c:pt idx="221">
                  <c:v>44783</c:v>
                </c:pt>
                <c:pt idx="222">
                  <c:v>44784</c:v>
                </c:pt>
                <c:pt idx="223">
                  <c:v>44785</c:v>
                </c:pt>
                <c:pt idx="224">
                  <c:v>44786</c:v>
                </c:pt>
                <c:pt idx="225">
                  <c:v>44787</c:v>
                </c:pt>
                <c:pt idx="226">
                  <c:v>44788</c:v>
                </c:pt>
                <c:pt idx="227">
                  <c:v>44789</c:v>
                </c:pt>
                <c:pt idx="228">
                  <c:v>44790</c:v>
                </c:pt>
                <c:pt idx="229">
                  <c:v>44791</c:v>
                </c:pt>
                <c:pt idx="230">
                  <c:v>44792</c:v>
                </c:pt>
                <c:pt idx="231">
                  <c:v>44793</c:v>
                </c:pt>
                <c:pt idx="232">
                  <c:v>44794</c:v>
                </c:pt>
                <c:pt idx="233">
                  <c:v>44795</c:v>
                </c:pt>
                <c:pt idx="234">
                  <c:v>44796</c:v>
                </c:pt>
                <c:pt idx="235">
                  <c:v>44797</c:v>
                </c:pt>
                <c:pt idx="236">
                  <c:v>44798</c:v>
                </c:pt>
                <c:pt idx="237">
                  <c:v>44799</c:v>
                </c:pt>
                <c:pt idx="238">
                  <c:v>44800</c:v>
                </c:pt>
                <c:pt idx="239">
                  <c:v>44801</c:v>
                </c:pt>
                <c:pt idx="240">
                  <c:v>44802</c:v>
                </c:pt>
                <c:pt idx="241">
                  <c:v>44803</c:v>
                </c:pt>
                <c:pt idx="242">
                  <c:v>44804</c:v>
                </c:pt>
                <c:pt idx="243">
                  <c:v>44805</c:v>
                </c:pt>
                <c:pt idx="244">
                  <c:v>44806</c:v>
                </c:pt>
                <c:pt idx="245">
                  <c:v>44807</c:v>
                </c:pt>
                <c:pt idx="246">
                  <c:v>44808</c:v>
                </c:pt>
                <c:pt idx="247">
                  <c:v>44809</c:v>
                </c:pt>
                <c:pt idx="248">
                  <c:v>44810</c:v>
                </c:pt>
                <c:pt idx="249">
                  <c:v>44811</c:v>
                </c:pt>
                <c:pt idx="250">
                  <c:v>44812</c:v>
                </c:pt>
                <c:pt idx="251">
                  <c:v>44813</c:v>
                </c:pt>
                <c:pt idx="252">
                  <c:v>44814</c:v>
                </c:pt>
                <c:pt idx="253">
                  <c:v>44815</c:v>
                </c:pt>
                <c:pt idx="254">
                  <c:v>44816</c:v>
                </c:pt>
                <c:pt idx="255">
                  <c:v>44817</c:v>
                </c:pt>
                <c:pt idx="256">
                  <c:v>44818</c:v>
                </c:pt>
                <c:pt idx="257">
                  <c:v>44819</c:v>
                </c:pt>
                <c:pt idx="258">
                  <c:v>44820</c:v>
                </c:pt>
                <c:pt idx="259">
                  <c:v>44821</c:v>
                </c:pt>
                <c:pt idx="260">
                  <c:v>44822</c:v>
                </c:pt>
                <c:pt idx="261">
                  <c:v>44823</c:v>
                </c:pt>
                <c:pt idx="262">
                  <c:v>44824</c:v>
                </c:pt>
                <c:pt idx="263">
                  <c:v>44825</c:v>
                </c:pt>
                <c:pt idx="264">
                  <c:v>44826</c:v>
                </c:pt>
                <c:pt idx="265">
                  <c:v>44827</c:v>
                </c:pt>
                <c:pt idx="266">
                  <c:v>44828</c:v>
                </c:pt>
                <c:pt idx="267">
                  <c:v>44829</c:v>
                </c:pt>
                <c:pt idx="268">
                  <c:v>44830</c:v>
                </c:pt>
                <c:pt idx="269">
                  <c:v>44831</c:v>
                </c:pt>
                <c:pt idx="270">
                  <c:v>44832</c:v>
                </c:pt>
                <c:pt idx="271">
                  <c:v>44833</c:v>
                </c:pt>
                <c:pt idx="272">
                  <c:v>44834</c:v>
                </c:pt>
                <c:pt idx="273">
                  <c:v>44835</c:v>
                </c:pt>
                <c:pt idx="274">
                  <c:v>44836</c:v>
                </c:pt>
                <c:pt idx="275">
                  <c:v>44837</c:v>
                </c:pt>
                <c:pt idx="276">
                  <c:v>44838</c:v>
                </c:pt>
                <c:pt idx="277">
                  <c:v>44839</c:v>
                </c:pt>
                <c:pt idx="278">
                  <c:v>44840</c:v>
                </c:pt>
                <c:pt idx="279">
                  <c:v>44841</c:v>
                </c:pt>
                <c:pt idx="280">
                  <c:v>44842</c:v>
                </c:pt>
                <c:pt idx="281">
                  <c:v>44843</c:v>
                </c:pt>
                <c:pt idx="282">
                  <c:v>44844</c:v>
                </c:pt>
                <c:pt idx="283">
                  <c:v>44845</c:v>
                </c:pt>
                <c:pt idx="284">
                  <c:v>44846</c:v>
                </c:pt>
                <c:pt idx="285">
                  <c:v>44847</c:v>
                </c:pt>
                <c:pt idx="286">
                  <c:v>44848</c:v>
                </c:pt>
                <c:pt idx="287">
                  <c:v>44849</c:v>
                </c:pt>
                <c:pt idx="288">
                  <c:v>44850</c:v>
                </c:pt>
                <c:pt idx="289">
                  <c:v>44851</c:v>
                </c:pt>
                <c:pt idx="290">
                  <c:v>44852</c:v>
                </c:pt>
                <c:pt idx="291">
                  <c:v>44853</c:v>
                </c:pt>
                <c:pt idx="292">
                  <c:v>44854</c:v>
                </c:pt>
                <c:pt idx="293">
                  <c:v>44855</c:v>
                </c:pt>
                <c:pt idx="294">
                  <c:v>44856</c:v>
                </c:pt>
                <c:pt idx="295">
                  <c:v>44857</c:v>
                </c:pt>
                <c:pt idx="296">
                  <c:v>44858</c:v>
                </c:pt>
                <c:pt idx="297">
                  <c:v>44859</c:v>
                </c:pt>
                <c:pt idx="298">
                  <c:v>44860</c:v>
                </c:pt>
                <c:pt idx="299">
                  <c:v>44861</c:v>
                </c:pt>
                <c:pt idx="300">
                  <c:v>44862</c:v>
                </c:pt>
                <c:pt idx="301">
                  <c:v>44863</c:v>
                </c:pt>
                <c:pt idx="302">
                  <c:v>44864</c:v>
                </c:pt>
                <c:pt idx="303">
                  <c:v>44865</c:v>
                </c:pt>
                <c:pt idx="304">
                  <c:v>44866</c:v>
                </c:pt>
                <c:pt idx="305">
                  <c:v>44867</c:v>
                </c:pt>
                <c:pt idx="306">
                  <c:v>44868</c:v>
                </c:pt>
                <c:pt idx="307">
                  <c:v>44869</c:v>
                </c:pt>
                <c:pt idx="308">
                  <c:v>44870</c:v>
                </c:pt>
                <c:pt idx="309">
                  <c:v>44871</c:v>
                </c:pt>
                <c:pt idx="310">
                  <c:v>44872</c:v>
                </c:pt>
                <c:pt idx="311">
                  <c:v>44873</c:v>
                </c:pt>
                <c:pt idx="312">
                  <c:v>44874</c:v>
                </c:pt>
                <c:pt idx="313">
                  <c:v>44875</c:v>
                </c:pt>
                <c:pt idx="314">
                  <c:v>44876</c:v>
                </c:pt>
                <c:pt idx="315">
                  <c:v>44877</c:v>
                </c:pt>
                <c:pt idx="316">
                  <c:v>44878</c:v>
                </c:pt>
                <c:pt idx="317">
                  <c:v>44879</c:v>
                </c:pt>
                <c:pt idx="318">
                  <c:v>44880</c:v>
                </c:pt>
                <c:pt idx="319">
                  <c:v>44881</c:v>
                </c:pt>
                <c:pt idx="320">
                  <c:v>44882</c:v>
                </c:pt>
                <c:pt idx="321">
                  <c:v>44883</c:v>
                </c:pt>
                <c:pt idx="322">
                  <c:v>44884</c:v>
                </c:pt>
                <c:pt idx="323">
                  <c:v>44885</c:v>
                </c:pt>
                <c:pt idx="324">
                  <c:v>44886</c:v>
                </c:pt>
                <c:pt idx="325">
                  <c:v>44887</c:v>
                </c:pt>
                <c:pt idx="326">
                  <c:v>44888</c:v>
                </c:pt>
                <c:pt idx="327">
                  <c:v>44889</c:v>
                </c:pt>
                <c:pt idx="328">
                  <c:v>44890</c:v>
                </c:pt>
                <c:pt idx="329">
                  <c:v>44891</c:v>
                </c:pt>
                <c:pt idx="330">
                  <c:v>44892</c:v>
                </c:pt>
                <c:pt idx="331">
                  <c:v>44893</c:v>
                </c:pt>
                <c:pt idx="332">
                  <c:v>44894</c:v>
                </c:pt>
                <c:pt idx="333">
                  <c:v>44895</c:v>
                </c:pt>
                <c:pt idx="334">
                  <c:v>44896</c:v>
                </c:pt>
                <c:pt idx="335">
                  <c:v>44897</c:v>
                </c:pt>
                <c:pt idx="336">
                  <c:v>44898</c:v>
                </c:pt>
                <c:pt idx="337">
                  <c:v>44899</c:v>
                </c:pt>
                <c:pt idx="338">
                  <c:v>44900</c:v>
                </c:pt>
                <c:pt idx="339">
                  <c:v>44901</c:v>
                </c:pt>
                <c:pt idx="340">
                  <c:v>44902</c:v>
                </c:pt>
                <c:pt idx="341">
                  <c:v>44903</c:v>
                </c:pt>
                <c:pt idx="342">
                  <c:v>44904</c:v>
                </c:pt>
                <c:pt idx="343">
                  <c:v>44905</c:v>
                </c:pt>
                <c:pt idx="344">
                  <c:v>44906</c:v>
                </c:pt>
                <c:pt idx="345">
                  <c:v>44907</c:v>
                </c:pt>
                <c:pt idx="346">
                  <c:v>44908</c:v>
                </c:pt>
                <c:pt idx="347">
                  <c:v>44909</c:v>
                </c:pt>
                <c:pt idx="348">
                  <c:v>44910</c:v>
                </c:pt>
                <c:pt idx="349">
                  <c:v>44911</c:v>
                </c:pt>
                <c:pt idx="350">
                  <c:v>44912</c:v>
                </c:pt>
                <c:pt idx="351">
                  <c:v>44913</c:v>
                </c:pt>
                <c:pt idx="352">
                  <c:v>44914</c:v>
                </c:pt>
                <c:pt idx="353">
                  <c:v>44915</c:v>
                </c:pt>
                <c:pt idx="354">
                  <c:v>44916</c:v>
                </c:pt>
                <c:pt idx="355">
                  <c:v>44917</c:v>
                </c:pt>
                <c:pt idx="356">
                  <c:v>44918</c:v>
                </c:pt>
                <c:pt idx="357">
                  <c:v>44919</c:v>
                </c:pt>
                <c:pt idx="358">
                  <c:v>44920</c:v>
                </c:pt>
                <c:pt idx="359">
                  <c:v>44921</c:v>
                </c:pt>
                <c:pt idx="360">
                  <c:v>44922</c:v>
                </c:pt>
                <c:pt idx="361">
                  <c:v>44923</c:v>
                </c:pt>
                <c:pt idx="362">
                  <c:v>44924</c:v>
                </c:pt>
                <c:pt idx="363">
                  <c:v>44925</c:v>
                </c:pt>
                <c:pt idx="364">
                  <c:v>44926</c:v>
                </c:pt>
                <c:pt idx="365">
                  <c:v>44927</c:v>
                </c:pt>
                <c:pt idx="366">
                  <c:v>44928</c:v>
                </c:pt>
                <c:pt idx="367">
                  <c:v>44929</c:v>
                </c:pt>
                <c:pt idx="368">
                  <c:v>44930</c:v>
                </c:pt>
                <c:pt idx="369">
                  <c:v>44931</c:v>
                </c:pt>
                <c:pt idx="370">
                  <c:v>44932</c:v>
                </c:pt>
              </c:numCache>
            </c:numRef>
          </c:cat>
          <c:val>
            <c:numRef>
              <c:f>'DA_ETF, TTF, NCG og GPL'!$E$4697:$E$5067</c:f>
              <c:numCache>
                <c:formatCode>0.00</c:formatCode>
                <c:ptCount val="371"/>
                <c:pt idx="0">
                  <c:v>19.231000000000002</c:v>
                </c:pt>
                <c:pt idx="1">
                  <c:v>19.231000000000002</c:v>
                </c:pt>
                <c:pt idx="2">
                  <c:v>19.231000000000002</c:v>
                </c:pt>
                <c:pt idx="3">
                  <c:v>19.209</c:v>
                </c:pt>
                <c:pt idx="4">
                  <c:v>19.818000000000001</c:v>
                </c:pt>
                <c:pt idx="5">
                  <c:v>18.306000000000001</c:v>
                </c:pt>
                <c:pt idx="6">
                  <c:v>17.524000000000001</c:v>
                </c:pt>
                <c:pt idx="7">
                  <c:v>18.631</c:v>
                </c:pt>
                <c:pt idx="8">
                  <c:v>19.917000000000002</c:v>
                </c:pt>
                <c:pt idx="9">
                  <c:v>19.917000000000002</c:v>
                </c:pt>
                <c:pt idx="10">
                  <c:v>20.058</c:v>
                </c:pt>
                <c:pt idx="11">
                  <c:v>21.283999999999999</c:v>
                </c:pt>
                <c:pt idx="12">
                  <c:v>24.196999999999999</c:v>
                </c:pt>
                <c:pt idx="13">
                  <c:v>22.068999999999999</c:v>
                </c:pt>
                <c:pt idx="14">
                  <c:v>20.099</c:v>
                </c:pt>
                <c:pt idx="15">
                  <c:v>19.552</c:v>
                </c:pt>
                <c:pt idx="16">
                  <c:v>19.552</c:v>
                </c:pt>
                <c:pt idx="17">
                  <c:v>19.652000000000001</c:v>
                </c:pt>
                <c:pt idx="18">
                  <c:v>18.699000000000002</c:v>
                </c:pt>
                <c:pt idx="19">
                  <c:v>19.292999999999999</c:v>
                </c:pt>
                <c:pt idx="20">
                  <c:v>19.37</c:v>
                </c:pt>
                <c:pt idx="21">
                  <c:v>19.004000000000001</c:v>
                </c:pt>
                <c:pt idx="22">
                  <c:v>19.542000000000002</c:v>
                </c:pt>
                <c:pt idx="23">
                  <c:v>19.542000000000002</c:v>
                </c:pt>
                <c:pt idx="24">
                  <c:v>19.579000000000001</c:v>
                </c:pt>
                <c:pt idx="25">
                  <c:v>19.283000000000001</c:v>
                </c:pt>
                <c:pt idx="26">
                  <c:v>18.68</c:v>
                </c:pt>
                <c:pt idx="27">
                  <c:v>18.548999999999999</c:v>
                </c:pt>
                <c:pt idx="28">
                  <c:v>19.969000000000001</c:v>
                </c:pt>
                <c:pt idx="29">
                  <c:v>20.321999999999999</c:v>
                </c:pt>
                <c:pt idx="30">
                  <c:v>20.321999999999999</c:v>
                </c:pt>
                <c:pt idx="31">
                  <c:v>20.288</c:v>
                </c:pt>
                <c:pt idx="32">
                  <c:v>18.503</c:v>
                </c:pt>
                <c:pt idx="33">
                  <c:v>18.831</c:v>
                </c:pt>
                <c:pt idx="34">
                  <c:v>18.794</c:v>
                </c:pt>
                <c:pt idx="35">
                  <c:v>19.422999999999998</c:v>
                </c:pt>
                <c:pt idx="36">
                  <c:v>20.073</c:v>
                </c:pt>
                <c:pt idx="37">
                  <c:v>20.073</c:v>
                </c:pt>
                <c:pt idx="38">
                  <c:v>20.253</c:v>
                </c:pt>
                <c:pt idx="39">
                  <c:v>21.751000000000001</c:v>
                </c:pt>
                <c:pt idx="40">
                  <c:v>21.451000000000001</c:v>
                </c:pt>
                <c:pt idx="41">
                  <c:v>21.646999999999998</c:v>
                </c:pt>
                <c:pt idx="42">
                  <c:v>19.677</c:v>
                </c:pt>
                <c:pt idx="43">
                  <c:v>19.715</c:v>
                </c:pt>
                <c:pt idx="44">
                  <c:v>19.715</c:v>
                </c:pt>
                <c:pt idx="45">
                  <c:v>19.739999999999998</c:v>
                </c:pt>
                <c:pt idx="46">
                  <c:v>18.728999999999999</c:v>
                </c:pt>
                <c:pt idx="47">
                  <c:v>17.766999999999999</c:v>
                </c:pt>
                <c:pt idx="48">
                  <c:v>17.253</c:v>
                </c:pt>
                <c:pt idx="49">
                  <c:v>17.38</c:v>
                </c:pt>
                <c:pt idx="50">
                  <c:v>16.803000000000001</c:v>
                </c:pt>
                <c:pt idx="51">
                  <c:v>16.803000000000001</c:v>
                </c:pt>
                <c:pt idx="52">
                  <c:v>16.849</c:v>
                </c:pt>
                <c:pt idx="53">
                  <c:v>15.942</c:v>
                </c:pt>
                <c:pt idx="54">
                  <c:v>16.103999999999999</c:v>
                </c:pt>
                <c:pt idx="55">
                  <c:v>16.149999999999999</c:v>
                </c:pt>
                <c:pt idx="56">
                  <c:v>16.338000000000001</c:v>
                </c:pt>
                <c:pt idx="57">
                  <c:v>16.338000000000001</c:v>
                </c:pt>
                <c:pt idx="58">
                  <c:v>15.981999999999999</c:v>
                </c:pt>
                <c:pt idx="59">
                  <c:v>15.999000000000001</c:v>
                </c:pt>
                <c:pt idx="60">
                  <c:v>16.771999999999998</c:v>
                </c:pt>
                <c:pt idx="61">
                  <c:v>16.64</c:v>
                </c:pt>
                <c:pt idx="62">
                  <c:v>16.337</c:v>
                </c:pt>
                <c:pt idx="63">
                  <c:v>16.628</c:v>
                </c:pt>
                <c:pt idx="64">
                  <c:v>17.024000000000001</c:v>
                </c:pt>
                <c:pt idx="65">
                  <c:v>17.024000000000001</c:v>
                </c:pt>
                <c:pt idx="66">
                  <c:v>17.061</c:v>
                </c:pt>
                <c:pt idx="67">
                  <c:v>17.199000000000002</c:v>
                </c:pt>
                <c:pt idx="68">
                  <c:v>17.704999999999998</c:v>
                </c:pt>
                <c:pt idx="69">
                  <c:v>18.178000000000001</c:v>
                </c:pt>
                <c:pt idx="70">
                  <c:v>18.323</c:v>
                </c:pt>
                <c:pt idx="71">
                  <c:v>18.582000000000001</c:v>
                </c:pt>
                <c:pt idx="72">
                  <c:v>18.582000000000001</c:v>
                </c:pt>
                <c:pt idx="73">
                  <c:v>18.712</c:v>
                </c:pt>
                <c:pt idx="74">
                  <c:v>18.966000000000001</c:v>
                </c:pt>
                <c:pt idx="75">
                  <c:v>17.945</c:v>
                </c:pt>
                <c:pt idx="76">
                  <c:v>18.199000000000002</c:v>
                </c:pt>
                <c:pt idx="77">
                  <c:v>18.663</c:v>
                </c:pt>
                <c:pt idx="78">
                  <c:v>17.695</c:v>
                </c:pt>
                <c:pt idx="79">
                  <c:v>17.695</c:v>
                </c:pt>
                <c:pt idx="80">
                  <c:v>17.824999999999999</c:v>
                </c:pt>
                <c:pt idx="81">
                  <c:v>18.385000000000002</c:v>
                </c:pt>
                <c:pt idx="82">
                  <c:v>18.239000000000001</c:v>
                </c:pt>
                <c:pt idx="83">
                  <c:v>18.86</c:v>
                </c:pt>
                <c:pt idx="84">
                  <c:v>18.63</c:v>
                </c:pt>
                <c:pt idx="85">
                  <c:v>18.63</c:v>
                </c:pt>
                <c:pt idx="86">
                  <c:v>18.63</c:v>
                </c:pt>
                <c:pt idx="87">
                  <c:v>18.666</c:v>
                </c:pt>
                <c:pt idx="88">
                  <c:v>18.477</c:v>
                </c:pt>
                <c:pt idx="89">
                  <c:v>18.53</c:v>
                </c:pt>
                <c:pt idx="90">
                  <c:v>19.32</c:v>
                </c:pt>
                <c:pt idx="91">
                  <c:v>19.584</c:v>
                </c:pt>
                <c:pt idx="92">
                  <c:v>19.584</c:v>
                </c:pt>
                <c:pt idx="93">
                  <c:v>19.584</c:v>
                </c:pt>
                <c:pt idx="94">
                  <c:v>19.584</c:v>
                </c:pt>
                <c:pt idx="95">
                  <c:v>19.704000000000001</c:v>
                </c:pt>
                <c:pt idx="96">
                  <c:v>20.6</c:v>
                </c:pt>
                <c:pt idx="97">
                  <c:v>20.683</c:v>
                </c:pt>
                <c:pt idx="98">
                  <c:v>20.292000000000002</c:v>
                </c:pt>
                <c:pt idx="99">
                  <c:v>19.646999999999998</c:v>
                </c:pt>
                <c:pt idx="100">
                  <c:v>19.646999999999998</c:v>
                </c:pt>
                <c:pt idx="101">
                  <c:v>19.853000000000002</c:v>
                </c:pt>
                <c:pt idx="102">
                  <c:v>20.437999999999999</c:v>
                </c:pt>
                <c:pt idx="103">
                  <c:v>20.940999999999999</c:v>
                </c:pt>
                <c:pt idx="104">
                  <c:v>20.797999999999998</c:v>
                </c:pt>
                <c:pt idx="105">
                  <c:v>21.125</c:v>
                </c:pt>
                <c:pt idx="106">
                  <c:v>21.504999999999999</c:v>
                </c:pt>
                <c:pt idx="107">
                  <c:v>21.504999999999999</c:v>
                </c:pt>
                <c:pt idx="108">
                  <c:v>21.603999999999999</c:v>
                </c:pt>
                <c:pt idx="109">
                  <c:v>21.696999999999999</c:v>
                </c:pt>
                <c:pt idx="110">
                  <c:v>21.510999999999999</c:v>
                </c:pt>
                <c:pt idx="111">
                  <c:v>21.466000000000001</c:v>
                </c:pt>
                <c:pt idx="112">
                  <c:v>21.974</c:v>
                </c:pt>
                <c:pt idx="113">
                  <c:v>20.54</c:v>
                </c:pt>
                <c:pt idx="114">
                  <c:v>20.54</c:v>
                </c:pt>
                <c:pt idx="115">
                  <c:v>20.611999999999998</c:v>
                </c:pt>
                <c:pt idx="116">
                  <c:v>20.911999999999999</c:v>
                </c:pt>
                <c:pt idx="117">
                  <c:v>21.530999999999999</c:v>
                </c:pt>
                <c:pt idx="118">
                  <c:v>22.221</c:v>
                </c:pt>
                <c:pt idx="119">
                  <c:v>22.663</c:v>
                </c:pt>
                <c:pt idx="120">
                  <c:v>23.509</c:v>
                </c:pt>
                <c:pt idx="121">
                  <c:v>23.509</c:v>
                </c:pt>
                <c:pt idx="122">
                  <c:v>23.509</c:v>
                </c:pt>
                <c:pt idx="123">
                  <c:v>23.524000000000001</c:v>
                </c:pt>
                <c:pt idx="124">
                  <c:v>24.611000000000001</c:v>
                </c:pt>
                <c:pt idx="125">
                  <c:v>24.651</c:v>
                </c:pt>
                <c:pt idx="126">
                  <c:v>25.683</c:v>
                </c:pt>
                <c:pt idx="127">
                  <c:v>24.462</c:v>
                </c:pt>
                <c:pt idx="128">
                  <c:v>24.462</c:v>
                </c:pt>
                <c:pt idx="129">
                  <c:v>24.370999999999999</c:v>
                </c:pt>
                <c:pt idx="130">
                  <c:v>25.548999999999999</c:v>
                </c:pt>
                <c:pt idx="131">
                  <c:v>25.725000000000001</c:v>
                </c:pt>
                <c:pt idx="132">
                  <c:v>26.623000000000001</c:v>
                </c:pt>
                <c:pt idx="133">
                  <c:v>25.821000000000002</c:v>
                </c:pt>
                <c:pt idx="134">
                  <c:v>27.061</c:v>
                </c:pt>
                <c:pt idx="135">
                  <c:v>27.061</c:v>
                </c:pt>
                <c:pt idx="136">
                  <c:v>27.094999999999999</c:v>
                </c:pt>
                <c:pt idx="137">
                  <c:v>26.882999999999999</c:v>
                </c:pt>
                <c:pt idx="138">
                  <c:v>25.712</c:v>
                </c:pt>
                <c:pt idx="139">
                  <c:v>23.709</c:v>
                </c:pt>
                <c:pt idx="140">
                  <c:v>24.331</c:v>
                </c:pt>
                <c:pt idx="141">
                  <c:v>24.908999999999999</c:v>
                </c:pt>
                <c:pt idx="142">
                  <c:v>25.908999999999999</c:v>
                </c:pt>
                <c:pt idx="143">
                  <c:v>25.012</c:v>
                </c:pt>
                <c:pt idx="144">
                  <c:v>24.895</c:v>
                </c:pt>
                <c:pt idx="145">
                  <c:v>25.97</c:v>
                </c:pt>
                <c:pt idx="146">
                  <c:v>27.059000000000001</c:v>
                </c:pt>
                <c:pt idx="147">
                  <c:v>25.725000000000001</c:v>
                </c:pt>
                <c:pt idx="148">
                  <c:v>25.311</c:v>
                </c:pt>
                <c:pt idx="149">
                  <c:v>25.311</c:v>
                </c:pt>
                <c:pt idx="150">
                  <c:v>25.311</c:v>
                </c:pt>
                <c:pt idx="151">
                  <c:v>25.311</c:v>
                </c:pt>
                <c:pt idx="152">
                  <c:v>26.055</c:v>
                </c:pt>
                <c:pt idx="153">
                  <c:v>25.632999999999999</c:v>
                </c:pt>
                <c:pt idx="154">
                  <c:v>25.977</c:v>
                </c:pt>
                <c:pt idx="155">
                  <c:v>26.134</c:v>
                </c:pt>
                <c:pt idx="156">
                  <c:v>26.134</c:v>
                </c:pt>
                <c:pt idx="157">
                  <c:v>26.097999999999999</c:v>
                </c:pt>
                <c:pt idx="158">
                  <c:v>26.686</c:v>
                </c:pt>
                <c:pt idx="159">
                  <c:v>27.978999999999999</c:v>
                </c:pt>
                <c:pt idx="160">
                  <c:v>28.41</c:v>
                </c:pt>
                <c:pt idx="161">
                  <c:v>28.64</c:v>
                </c:pt>
                <c:pt idx="162">
                  <c:v>27.728999999999999</c:v>
                </c:pt>
                <c:pt idx="163">
                  <c:v>27.728999999999999</c:v>
                </c:pt>
                <c:pt idx="164">
                  <c:v>27.852</c:v>
                </c:pt>
                <c:pt idx="165">
                  <c:v>29.207000000000001</c:v>
                </c:pt>
                <c:pt idx="166">
                  <c:v>28.193000000000001</c:v>
                </c:pt>
                <c:pt idx="167">
                  <c:v>28.334</c:v>
                </c:pt>
                <c:pt idx="168">
                  <c:v>28.18</c:v>
                </c:pt>
                <c:pt idx="169">
                  <c:v>28.712</c:v>
                </c:pt>
                <c:pt idx="170">
                  <c:v>28.712</c:v>
                </c:pt>
                <c:pt idx="171">
                  <c:v>28.803000000000001</c:v>
                </c:pt>
                <c:pt idx="172">
                  <c:v>29.847000000000001</c:v>
                </c:pt>
                <c:pt idx="173">
                  <c:v>30.346</c:v>
                </c:pt>
                <c:pt idx="174">
                  <c:v>31.484000000000002</c:v>
                </c:pt>
                <c:pt idx="175">
                  <c:v>31.702000000000002</c:v>
                </c:pt>
                <c:pt idx="176">
                  <c:v>31.882000000000001</c:v>
                </c:pt>
                <c:pt idx="177">
                  <c:v>31.882000000000001</c:v>
                </c:pt>
                <c:pt idx="178">
                  <c:v>32.003</c:v>
                </c:pt>
                <c:pt idx="179">
                  <c:v>32.167000000000002</c:v>
                </c:pt>
                <c:pt idx="180">
                  <c:v>33.353999999999999</c:v>
                </c:pt>
                <c:pt idx="181">
                  <c:v>34.448999999999998</c:v>
                </c:pt>
                <c:pt idx="182">
                  <c:v>36.375</c:v>
                </c:pt>
                <c:pt idx="183">
                  <c:v>35.68</c:v>
                </c:pt>
                <c:pt idx="184">
                  <c:v>35.779000000000003</c:v>
                </c:pt>
                <c:pt idx="185">
                  <c:v>37.386000000000003</c:v>
                </c:pt>
                <c:pt idx="186">
                  <c:v>36.146000000000001</c:v>
                </c:pt>
                <c:pt idx="187">
                  <c:v>34.481999999999999</c:v>
                </c:pt>
                <c:pt idx="188">
                  <c:v>32.409999999999997</c:v>
                </c:pt>
                <c:pt idx="189">
                  <c:v>35.326000000000001</c:v>
                </c:pt>
                <c:pt idx="190">
                  <c:v>35.326000000000001</c:v>
                </c:pt>
                <c:pt idx="191">
                  <c:v>35.473999999999997</c:v>
                </c:pt>
                <c:pt idx="192">
                  <c:v>35.844999999999999</c:v>
                </c:pt>
                <c:pt idx="193">
                  <c:v>35.215000000000003</c:v>
                </c:pt>
                <c:pt idx="194">
                  <c:v>34.750999999999998</c:v>
                </c:pt>
                <c:pt idx="195">
                  <c:v>34.118000000000002</c:v>
                </c:pt>
                <c:pt idx="196">
                  <c:v>34.767000000000003</c:v>
                </c:pt>
                <c:pt idx="197">
                  <c:v>34.767000000000003</c:v>
                </c:pt>
                <c:pt idx="198">
                  <c:v>34.901000000000003</c:v>
                </c:pt>
                <c:pt idx="199">
                  <c:v>36.04</c:v>
                </c:pt>
                <c:pt idx="200">
                  <c:v>34.627000000000002</c:v>
                </c:pt>
                <c:pt idx="201">
                  <c:v>35.658999999999999</c:v>
                </c:pt>
                <c:pt idx="202">
                  <c:v>35.857999999999997</c:v>
                </c:pt>
                <c:pt idx="203">
                  <c:v>34.831000000000003</c:v>
                </c:pt>
                <c:pt idx="204">
                  <c:v>34.831000000000003</c:v>
                </c:pt>
                <c:pt idx="205">
                  <c:v>34.880000000000003</c:v>
                </c:pt>
                <c:pt idx="206">
                  <c:v>36.529000000000003</c:v>
                </c:pt>
                <c:pt idx="207">
                  <c:v>37.088999999999999</c:v>
                </c:pt>
                <c:pt idx="208">
                  <c:v>38.264000000000003</c:v>
                </c:pt>
                <c:pt idx="209">
                  <c:v>40.000999999999998</c:v>
                </c:pt>
                <c:pt idx="210">
                  <c:v>38.886000000000003</c:v>
                </c:pt>
                <c:pt idx="211">
                  <c:v>40.000999999999998</c:v>
                </c:pt>
                <c:pt idx="212">
                  <c:v>38.985999999999997</c:v>
                </c:pt>
                <c:pt idx="213">
                  <c:v>41.676000000000002</c:v>
                </c:pt>
                <c:pt idx="214">
                  <c:v>40.902999999999999</c:v>
                </c:pt>
                <c:pt idx="215">
                  <c:v>41.158000000000001</c:v>
                </c:pt>
                <c:pt idx="216">
                  <c:v>41.228999999999999</c:v>
                </c:pt>
                <c:pt idx="217">
                  <c:v>42.320999999999998</c:v>
                </c:pt>
                <c:pt idx="218">
                  <c:v>42.320999999999998</c:v>
                </c:pt>
                <c:pt idx="219">
                  <c:v>42.418999999999997</c:v>
                </c:pt>
                <c:pt idx="220">
                  <c:v>42.722999999999999</c:v>
                </c:pt>
                <c:pt idx="221">
                  <c:v>43.95</c:v>
                </c:pt>
                <c:pt idx="222">
                  <c:v>43.95</c:v>
                </c:pt>
                <c:pt idx="223">
                  <c:v>45.344999999999999</c:v>
                </c:pt>
                <c:pt idx="224">
                  <c:v>45.871000000000002</c:v>
                </c:pt>
                <c:pt idx="225">
                  <c:v>44.176000000000002</c:v>
                </c:pt>
                <c:pt idx="226">
                  <c:v>44.176000000000002</c:v>
                </c:pt>
                <c:pt idx="227">
                  <c:v>44.314</c:v>
                </c:pt>
                <c:pt idx="228">
                  <c:v>47.27</c:v>
                </c:pt>
                <c:pt idx="229">
                  <c:v>46.838000000000001</c:v>
                </c:pt>
                <c:pt idx="230">
                  <c:v>44.664999999999999</c:v>
                </c:pt>
                <c:pt idx="231">
                  <c:v>40.311</c:v>
                </c:pt>
                <c:pt idx="232">
                  <c:v>41.045999999999999</c:v>
                </c:pt>
                <c:pt idx="233">
                  <c:v>41.045999999999999</c:v>
                </c:pt>
                <c:pt idx="234">
                  <c:v>41.146999999999998</c:v>
                </c:pt>
                <c:pt idx="235">
                  <c:v>41.701999999999998</c:v>
                </c:pt>
                <c:pt idx="236">
                  <c:v>44.378</c:v>
                </c:pt>
                <c:pt idx="237">
                  <c:v>45.195999999999998</c:v>
                </c:pt>
                <c:pt idx="238">
                  <c:v>45.417000000000002</c:v>
                </c:pt>
                <c:pt idx="239">
                  <c:v>47.012</c:v>
                </c:pt>
                <c:pt idx="240">
                  <c:v>47.012</c:v>
                </c:pt>
                <c:pt idx="241">
                  <c:v>47.012</c:v>
                </c:pt>
                <c:pt idx="242">
                  <c:v>47.061</c:v>
                </c:pt>
                <c:pt idx="243">
                  <c:v>49.323</c:v>
                </c:pt>
                <c:pt idx="244">
                  <c:v>51.783000000000001</c:v>
                </c:pt>
                <c:pt idx="245">
                  <c:v>51.341000000000001</c:v>
                </c:pt>
                <c:pt idx="246">
                  <c:v>51.564</c:v>
                </c:pt>
                <c:pt idx="247">
                  <c:v>51.564</c:v>
                </c:pt>
                <c:pt idx="248">
                  <c:v>51.505000000000003</c:v>
                </c:pt>
                <c:pt idx="249">
                  <c:v>52.359000000000002</c:v>
                </c:pt>
                <c:pt idx="250">
                  <c:v>53.164000000000001</c:v>
                </c:pt>
                <c:pt idx="251">
                  <c:v>54.542999999999999</c:v>
                </c:pt>
                <c:pt idx="252">
                  <c:v>55.805</c:v>
                </c:pt>
                <c:pt idx="253">
                  <c:v>56.933999999999997</c:v>
                </c:pt>
                <c:pt idx="254">
                  <c:v>56.933999999999997</c:v>
                </c:pt>
                <c:pt idx="255">
                  <c:v>57.113</c:v>
                </c:pt>
                <c:pt idx="256">
                  <c:v>61.024000000000001</c:v>
                </c:pt>
                <c:pt idx="257">
                  <c:v>65.102999999999994</c:v>
                </c:pt>
                <c:pt idx="258">
                  <c:v>71.277000000000001</c:v>
                </c:pt>
                <c:pt idx="259">
                  <c:v>63.783999999999999</c:v>
                </c:pt>
                <c:pt idx="260">
                  <c:v>63.31</c:v>
                </c:pt>
                <c:pt idx="261">
                  <c:v>63.31</c:v>
                </c:pt>
                <c:pt idx="262">
                  <c:v>63.786999999999999</c:v>
                </c:pt>
                <c:pt idx="263">
                  <c:v>72.935000000000002</c:v>
                </c:pt>
                <c:pt idx="264">
                  <c:v>72.941000000000003</c:v>
                </c:pt>
                <c:pt idx="265">
                  <c:v>70.477999999999994</c:v>
                </c:pt>
                <c:pt idx="266">
                  <c:v>68.558999999999997</c:v>
                </c:pt>
                <c:pt idx="267">
                  <c:v>68.298000000000002</c:v>
                </c:pt>
                <c:pt idx="268">
                  <c:v>68.298000000000002</c:v>
                </c:pt>
                <c:pt idx="269">
                  <c:v>69.085999999999999</c:v>
                </c:pt>
                <c:pt idx="270">
                  <c:v>75.432000000000002</c:v>
                </c:pt>
                <c:pt idx="271">
                  <c:v>80.260000000000005</c:v>
                </c:pt>
                <c:pt idx="272">
                  <c:v>83.141999999999996</c:v>
                </c:pt>
                <c:pt idx="273">
                  <c:v>91.293000000000006</c:v>
                </c:pt>
                <c:pt idx="274">
                  <c:v>92.191000000000003</c:v>
                </c:pt>
                <c:pt idx="275">
                  <c:v>92.191000000000003</c:v>
                </c:pt>
                <c:pt idx="276">
                  <c:v>90.998000000000005</c:v>
                </c:pt>
                <c:pt idx="277">
                  <c:v>92.1</c:v>
                </c:pt>
                <c:pt idx="278">
                  <c:v>111.916</c:v>
                </c:pt>
                <c:pt idx="279">
                  <c:v>127.983</c:v>
                </c:pt>
                <c:pt idx="280">
                  <c:v>95.418999999999997</c:v>
                </c:pt>
                <c:pt idx="281">
                  <c:v>89.399000000000001</c:v>
                </c:pt>
                <c:pt idx="282">
                  <c:v>89.399000000000001</c:v>
                </c:pt>
                <c:pt idx="283">
                  <c:v>90.468999999999994</c:v>
                </c:pt>
                <c:pt idx="284">
                  <c:v>86.191000000000003</c:v>
                </c:pt>
                <c:pt idx="285">
                  <c:v>86.456999999999994</c:v>
                </c:pt>
                <c:pt idx="286">
                  <c:v>90.941000000000003</c:v>
                </c:pt>
                <c:pt idx="287">
                  <c:v>98.546999999999997</c:v>
                </c:pt>
                <c:pt idx="288">
                  <c:v>94.814999999999998</c:v>
                </c:pt>
                <c:pt idx="289">
                  <c:v>94.814999999999998</c:v>
                </c:pt>
                <c:pt idx="290">
                  <c:v>95.316000000000003</c:v>
                </c:pt>
                <c:pt idx="291">
                  <c:v>94.701999999999998</c:v>
                </c:pt>
                <c:pt idx="292">
                  <c:v>88.460999999999999</c:v>
                </c:pt>
                <c:pt idx="293">
                  <c:v>90.620999999999995</c:v>
                </c:pt>
                <c:pt idx="294">
                  <c:v>88.727000000000004</c:v>
                </c:pt>
                <c:pt idx="295">
                  <c:v>88.174000000000007</c:v>
                </c:pt>
                <c:pt idx="296">
                  <c:v>88.174000000000007</c:v>
                </c:pt>
                <c:pt idx="297">
                  <c:v>88.501999999999995</c:v>
                </c:pt>
                <c:pt idx="298">
                  <c:v>91.334999999999994</c:v>
                </c:pt>
                <c:pt idx="299">
                  <c:v>91.334999999999994</c:v>
                </c:pt>
                <c:pt idx="300">
                  <c:v>87.197000000000003</c:v>
                </c:pt>
                <c:pt idx="301">
                  <c:v>79.284000000000006</c:v>
                </c:pt>
                <c:pt idx="302">
                  <c:v>66.768000000000001</c:v>
                </c:pt>
                <c:pt idx="303">
                  <c:v>66.768000000000001</c:v>
                </c:pt>
                <c:pt idx="304">
                  <c:v>65.200999999999993</c:v>
                </c:pt>
                <c:pt idx="305">
                  <c:v>66.769000000000005</c:v>
                </c:pt>
                <c:pt idx="306">
                  <c:v>68.010999999999996</c:v>
                </c:pt>
                <c:pt idx="307">
                  <c:v>75.783000000000001</c:v>
                </c:pt>
                <c:pt idx="308">
                  <c:v>74.677999999999997</c:v>
                </c:pt>
                <c:pt idx="309">
                  <c:v>73.84</c:v>
                </c:pt>
                <c:pt idx="310">
                  <c:v>73.84</c:v>
                </c:pt>
                <c:pt idx="311">
                  <c:v>74.215000000000003</c:v>
                </c:pt>
                <c:pt idx="312">
                  <c:v>77.408000000000001</c:v>
                </c:pt>
                <c:pt idx="313">
                  <c:v>76.744</c:v>
                </c:pt>
                <c:pt idx="314">
                  <c:v>67.872</c:v>
                </c:pt>
                <c:pt idx="315">
                  <c:v>74.111999999999995</c:v>
                </c:pt>
                <c:pt idx="316">
                  <c:v>76.369</c:v>
                </c:pt>
                <c:pt idx="317">
                  <c:v>76.369</c:v>
                </c:pt>
                <c:pt idx="318">
                  <c:v>76.676000000000002</c:v>
                </c:pt>
                <c:pt idx="319">
                  <c:v>80.322000000000003</c:v>
                </c:pt>
                <c:pt idx="320">
                  <c:v>90.328999999999994</c:v>
                </c:pt>
                <c:pt idx="321">
                  <c:v>99.623999999999995</c:v>
                </c:pt>
                <c:pt idx="322">
                  <c:v>93.691999999999993</c:v>
                </c:pt>
                <c:pt idx="323">
                  <c:v>86.872</c:v>
                </c:pt>
                <c:pt idx="324">
                  <c:v>86.872</c:v>
                </c:pt>
                <c:pt idx="325">
                  <c:v>87.344999999999999</c:v>
                </c:pt>
                <c:pt idx="326">
                  <c:v>85.272000000000006</c:v>
                </c:pt>
                <c:pt idx="327">
                  <c:v>91.254000000000005</c:v>
                </c:pt>
                <c:pt idx="328">
                  <c:v>93.902000000000001</c:v>
                </c:pt>
                <c:pt idx="329">
                  <c:v>94.631</c:v>
                </c:pt>
                <c:pt idx="330">
                  <c:v>91.108999999999995</c:v>
                </c:pt>
                <c:pt idx="331">
                  <c:v>91.108999999999995</c:v>
                </c:pt>
                <c:pt idx="332">
                  <c:v>91.5</c:v>
                </c:pt>
                <c:pt idx="333">
                  <c:v>94.344999999999999</c:v>
                </c:pt>
                <c:pt idx="334">
                  <c:v>97.781000000000006</c:v>
                </c:pt>
                <c:pt idx="335">
                  <c:v>96.477000000000004</c:v>
                </c:pt>
                <c:pt idx="336">
                  <c:v>94.691999999999993</c:v>
                </c:pt>
                <c:pt idx="337">
                  <c:v>94.427000000000007</c:v>
                </c:pt>
                <c:pt idx="338">
                  <c:v>94.427000000000007</c:v>
                </c:pt>
                <c:pt idx="339">
                  <c:v>94.721000000000004</c:v>
                </c:pt>
                <c:pt idx="340">
                  <c:v>91.813999999999993</c:v>
                </c:pt>
                <c:pt idx="341">
                  <c:v>98.27</c:v>
                </c:pt>
                <c:pt idx="342">
                  <c:v>104.087</c:v>
                </c:pt>
                <c:pt idx="343">
                  <c:v>104.208</c:v>
                </c:pt>
                <c:pt idx="344">
                  <c:v>106.78400000000001</c:v>
                </c:pt>
                <c:pt idx="345">
                  <c:v>106.78400000000001</c:v>
                </c:pt>
                <c:pt idx="346">
                  <c:v>106.538</c:v>
                </c:pt>
                <c:pt idx="347">
                  <c:v>118.443</c:v>
                </c:pt>
                <c:pt idx="348">
                  <c:v>124.2</c:v>
                </c:pt>
                <c:pt idx="349">
                  <c:v>128.96299999999999</c:v>
                </c:pt>
                <c:pt idx="350">
                  <c:v>137.96299999999999</c:v>
                </c:pt>
                <c:pt idx="351">
                  <c:v>137.44300000000001</c:v>
                </c:pt>
                <c:pt idx="352">
                  <c:v>137.44300000000001</c:v>
                </c:pt>
                <c:pt idx="353">
                  <c:v>138.08199999999999</c:v>
                </c:pt>
                <c:pt idx="354">
                  <c:v>148.16499999999999</c:v>
                </c:pt>
                <c:pt idx="355">
                  <c:v>180.184</c:v>
                </c:pt>
                <c:pt idx="356">
                  <c:v>177.542</c:v>
                </c:pt>
                <c:pt idx="357">
                  <c:v>145.084</c:v>
                </c:pt>
                <c:pt idx="358">
                  <c:v>108.47</c:v>
                </c:pt>
                <c:pt idx="359">
                  <c:v>108.47</c:v>
                </c:pt>
                <c:pt idx="360">
                  <c:v>108.47</c:v>
                </c:pt>
                <c:pt idx="361">
                  <c:v>108.47</c:v>
                </c:pt>
                <c:pt idx="362">
                  <c:v>108.108</c:v>
                </c:pt>
                <c:pt idx="363">
                  <c:v>99.004000000000005</c:v>
                </c:pt>
                <c:pt idx="364">
                  <c:v>82.828999999999994</c:v>
                </c:pt>
                <c:pt idx="365">
                  <c:v>69.608000000000004</c:v>
                </c:pt>
                <c:pt idx="366">
                  <c:v>69.608000000000004</c:v>
                </c:pt>
                <c:pt idx="367">
                  <c:v>69.608000000000004</c:v>
                </c:pt>
                <c:pt idx="368">
                  <c:v>70.450999999999993</c:v>
                </c:pt>
                <c:pt idx="369">
                  <c:v>94.272999999999996</c:v>
                </c:pt>
                <c:pt idx="370">
                  <c:v>93.662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6FA-4BAD-969C-87EDB41DD380}"/>
            </c:ext>
          </c:extLst>
        </c:ser>
        <c:ser>
          <c:idx val="4"/>
          <c:order val="2"/>
          <c:tx>
            <c:v>TTF</c:v>
          </c:tx>
          <c:spPr>
            <a:ln w="12700">
              <a:solidFill>
                <a:schemeClr val="accent2"/>
              </a:solidFill>
            </a:ln>
          </c:spPr>
          <c:marker>
            <c:symbol val="none"/>
          </c:marker>
          <c:cat>
            <c:numRef>
              <c:f>'DA_ETF, TTF, NCG og GPL'!$D$5062:$D$5432</c:f>
              <c:numCache>
                <c:formatCode>m/d/yyyy</c:formatCode>
                <c:ptCount val="371"/>
                <c:pt idx="0">
                  <c:v>44562</c:v>
                </c:pt>
                <c:pt idx="1">
                  <c:v>44563</c:v>
                </c:pt>
                <c:pt idx="2">
                  <c:v>44564</c:v>
                </c:pt>
                <c:pt idx="3">
                  <c:v>44565</c:v>
                </c:pt>
                <c:pt idx="4">
                  <c:v>44566</c:v>
                </c:pt>
                <c:pt idx="5">
                  <c:v>44567</c:v>
                </c:pt>
                <c:pt idx="6">
                  <c:v>44568</c:v>
                </c:pt>
                <c:pt idx="7">
                  <c:v>44569</c:v>
                </c:pt>
                <c:pt idx="8">
                  <c:v>44570</c:v>
                </c:pt>
                <c:pt idx="9">
                  <c:v>44571</c:v>
                </c:pt>
                <c:pt idx="10">
                  <c:v>44572</c:v>
                </c:pt>
                <c:pt idx="11">
                  <c:v>44573</c:v>
                </c:pt>
                <c:pt idx="12">
                  <c:v>44574</c:v>
                </c:pt>
                <c:pt idx="13">
                  <c:v>44575</c:v>
                </c:pt>
                <c:pt idx="14">
                  <c:v>44576</c:v>
                </c:pt>
                <c:pt idx="15">
                  <c:v>44577</c:v>
                </c:pt>
                <c:pt idx="16">
                  <c:v>44578</c:v>
                </c:pt>
                <c:pt idx="17">
                  <c:v>44579</c:v>
                </c:pt>
                <c:pt idx="18">
                  <c:v>44580</c:v>
                </c:pt>
                <c:pt idx="19">
                  <c:v>44581</c:v>
                </c:pt>
                <c:pt idx="20">
                  <c:v>44582</c:v>
                </c:pt>
                <c:pt idx="21">
                  <c:v>44583</c:v>
                </c:pt>
                <c:pt idx="22">
                  <c:v>44584</c:v>
                </c:pt>
                <c:pt idx="23">
                  <c:v>44585</c:v>
                </c:pt>
                <c:pt idx="24">
                  <c:v>44586</c:v>
                </c:pt>
                <c:pt idx="25">
                  <c:v>44587</c:v>
                </c:pt>
                <c:pt idx="26">
                  <c:v>44588</c:v>
                </c:pt>
                <c:pt idx="27">
                  <c:v>44589</c:v>
                </c:pt>
                <c:pt idx="28">
                  <c:v>44590</c:v>
                </c:pt>
                <c:pt idx="29">
                  <c:v>44591</c:v>
                </c:pt>
                <c:pt idx="30">
                  <c:v>44592</c:v>
                </c:pt>
                <c:pt idx="31">
                  <c:v>44593</c:v>
                </c:pt>
                <c:pt idx="32">
                  <c:v>44594</c:v>
                </c:pt>
                <c:pt idx="33">
                  <c:v>44595</c:v>
                </c:pt>
                <c:pt idx="34">
                  <c:v>44596</c:v>
                </c:pt>
                <c:pt idx="35">
                  <c:v>44597</c:v>
                </c:pt>
                <c:pt idx="36">
                  <c:v>44598</c:v>
                </c:pt>
                <c:pt idx="37">
                  <c:v>44599</c:v>
                </c:pt>
                <c:pt idx="38">
                  <c:v>44600</c:v>
                </c:pt>
                <c:pt idx="39">
                  <c:v>44601</c:v>
                </c:pt>
                <c:pt idx="40">
                  <c:v>44602</c:v>
                </c:pt>
                <c:pt idx="41">
                  <c:v>44603</c:v>
                </c:pt>
                <c:pt idx="42">
                  <c:v>44604</c:v>
                </c:pt>
                <c:pt idx="43">
                  <c:v>44605</c:v>
                </c:pt>
                <c:pt idx="44">
                  <c:v>44606</c:v>
                </c:pt>
                <c:pt idx="45">
                  <c:v>44607</c:v>
                </c:pt>
                <c:pt idx="46">
                  <c:v>44608</c:v>
                </c:pt>
                <c:pt idx="47">
                  <c:v>44609</c:v>
                </c:pt>
                <c:pt idx="48">
                  <c:v>44610</c:v>
                </c:pt>
                <c:pt idx="49">
                  <c:v>44611</c:v>
                </c:pt>
                <c:pt idx="50">
                  <c:v>44612</c:v>
                </c:pt>
                <c:pt idx="51">
                  <c:v>44613</c:v>
                </c:pt>
                <c:pt idx="52">
                  <c:v>44614</c:v>
                </c:pt>
                <c:pt idx="53">
                  <c:v>44615</c:v>
                </c:pt>
                <c:pt idx="54">
                  <c:v>44616</c:v>
                </c:pt>
                <c:pt idx="55">
                  <c:v>44617</c:v>
                </c:pt>
                <c:pt idx="56">
                  <c:v>44618</c:v>
                </c:pt>
                <c:pt idx="57">
                  <c:v>44619</c:v>
                </c:pt>
                <c:pt idx="58">
                  <c:v>44620</c:v>
                </c:pt>
                <c:pt idx="59">
                  <c:v>44621</c:v>
                </c:pt>
                <c:pt idx="60">
                  <c:v>44622</c:v>
                </c:pt>
                <c:pt idx="61">
                  <c:v>44623</c:v>
                </c:pt>
                <c:pt idx="62">
                  <c:v>44624</c:v>
                </c:pt>
                <c:pt idx="63">
                  <c:v>44625</c:v>
                </c:pt>
                <c:pt idx="64">
                  <c:v>44626</c:v>
                </c:pt>
                <c:pt idx="65">
                  <c:v>44627</c:v>
                </c:pt>
                <c:pt idx="66">
                  <c:v>44628</c:v>
                </c:pt>
                <c:pt idx="67">
                  <c:v>44629</c:v>
                </c:pt>
                <c:pt idx="68">
                  <c:v>44630</c:v>
                </c:pt>
                <c:pt idx="69">
                  <c:v>44631</c:v>
                </c:pt>
                <c:pt idx="70">
                  <c:v>44632</c:v>
                </c:pt>
                <c:pt idx="71">
                  <c:v>44633</c:v>
                </c:pt>
                <c:pt idx="72">
                  <c:v>44634</c:v>
                </c:pt>
                <c:pt idx="73">
                  <c:v>44635</c:v>
                </c:pt>
                <c:pt idx="74">
                  <c:v>44636</c:v>
                </c:pt>
                <c:pt idx="75">
                  <c:v>44637</c:v>
                </c:pt>
                <c:pt idx="76">
                  <c:v>44638</c:v>
                </c:pt>
                <c:pt idx="77">
                  <c:v>44639</c:v>
                </c:pt>
                <c:pt idx="78">
                  <c:v>44640</c:v>
                </c:pt>
                <c:pt idx="79">
                  <c:v>44641</c:v>
                </c:pt>
                <c:pt idx="80">
                  <c:v>44642</c:v>
                </c:pt>
                <c:pt idx="81">
                  <c:v>44643</c:v>
                </c:pt>
                <c:pt idx="82">
                  <c:v>44644</c:v>
                </c:pt>
                <c:pt idx="83">
                  <c:v>44645</c:v>
                </c:pt>
                <c:pt idx="84">
                  <c:v>44646</c:v>
                </c:pt>
                <c:pt idx="85">
                  <c:v>44647</c:v>
                </c:pt>
                <c:pt idx="86">
                  <c:v>44648</c:v>
                </c:pt>
                <c:pt idx="87">
                  <c:v>44649</c:v>
                </c:pt>
                <c:pt idx="88">
                  <c:v>44650</c:v>
                </c:pt>
                <c:pt idx="89">
                  <c:v>44651</c:v>
                </c:pt>
                <c:pt idx="90">
                  <c:v>44652</c:v>
                </c:pt>
                <c:pt idx="91">
                  <c:v>44653</c:v>
                </c:pt>
                <c:pt idx="92">
                  <c:v>44654</c:v>
                </c:pt>
                <c:pt idx="93">
                  <c:v>44655</c:v>
                </c:pt>
                <c:pt idx="94">
                  <c:v>44656</c:v>
                </c:pt>
                <c:pt idx="95">
                  <c:v>44657</c:v>
                </c:pt>
                <c:pt idx="96">
                  <c:v>44658</c:v>
                </c:pt>
                <c:pt idx="97">
                  <c:v>44659</c:v>
                </c:pt>
                <c:pt idx="98">
                  <c:v>44660</c:v>
                </c:pt>
                <c:pt idx="99">
                  <c:v>44661</c:v>
                </c:pt>
                <c:pt idx="100">
                  <c:v>44662</c:v>
                </c:pt>
                <c:pt idx="101">
                  <c:v>44663</c:v>
                </c:pt>
                <c:pt idx="102">
                  <c:v>44664</c:v>
                </c:pt>
                <c:pt idx="103">
                  <c:v>44665</c:v>
                </c:pt>
                <c:pt idx="104">
                  <c:v>44666</c:v>
                </c:pt>
                <c:pt idx="105">
                  <c:v>44667</c:v>
                </c:pt>
                <c:pt idx="106">
                  <c:v>44668</c:v>
                </c:pt>
                <c:pt idx="107">
                  <c:v>44669</c:v>
                </c:pt>
                <c:pt idx="108">
                  <c:v>44670</c:v>
                </c:pt>
                <c:pt idx="109">
                  <c:v>44671</c:v>
                </c:pt>
                <c:pt idx="110">
                  <c:v>44672</c:v>
                </c:pt>
                <c:pt idx="111">
                  <c:v>44673</c:v>
                </c:pt>
                <c:pt idx="112">
                  <c:v>44674</c:v>
                </c:pt>
                <c:pt idx="113">
                  <c:v>44675</c:v>
                </c:pt>
                <c:pt idx="114">
                  <c:v>44676</c:v>
                </c:pt>
                <c:pt idx="115">
                  <c:v>44677</c:v>
                </c:pt>
                <c:pt idx="116">
                  <c:v>44678</c:v>
                </c:pt>
                <c:pt idx="117">
                  <c:v>44679</c:v>
                </c:pt>
                <c:pt idx="118">
                  <c:v>44680</c:v>
                </c:pt>
                <c:pt idx="119">
                  <c:v>44681</c:v>
                </c:pt>
                <c:pt idx="120">
                  <c:v>44682</c:v>
                </c:pt>
                <c:pt idx="121">
                  <c:v>44683</c:v>
                </c:pt>
                <c:pt idx="122">
                  <c:v>44684</c:v>
                </c:pt>
                <c:pt idx="123">
                  <c:v>44685</c:v>
                </c:pt>
                <c:pt idx="124">
                  <c:v>44686</c:v>
                </c:pt>
                <c:pt idx="125">
                  <c:v>44687</c:v>
                </c:pt>
                <c:pt idx="126">
                  <c:v>44688</c:v>
                </c:pt>
                <c:pt idx="127">
                  <c:v>44689</c:v>
                </c:pt>
                <c:pt idx="128">
                  <c:v>44690</c:v>
                </c:pt>
                <c:pt idx="129">
                  <c:v>44691</c:v>
                </c:pt>
                <c:pt idx="130">
                  <c:v>44692</c:v>
                </c:pt>
                <c:pt idx="131">
                  <c:v>44693</c:v>
                </c:pt>
                <c:pt idx="132">
                  <c:v>44694</c:v>
                </c:pt>
                <c:pt idx="133">
                  <c:v>44695</c:v>
                </c:pt>
                <c:pt idx="134">
                  <c:v>44696</c:v>
                </c:pt>
                <c:pt idx="135">
                  <c:v>44697</c:v>
                </c:pt>
                <c:pt idx="136">
                  <c:v>44698</c:v>
                </c:pt>
                <c:pt idx="137">
                  <c:v>44699</c:v>
                </c:pt>
                <c:pt idx="138">
                  <c:v>44700</c:v>
                </c:pt>
                <c:pt idx="139">
                  <c:v>44701</c:v>
                </c:pt>
                <c:pt idx="140">
                  <c:v>44702</c:v>
                </c:pt>
                <c:pt idx="141">
                  <c:v>44703</c:v>
                </c:pt>
                <c:pt idx="142">
                  <c:v>44704</c:v>
                </c:pt>
                <c:pt idx="143">
                  <c:v>44705</c:v>
                </c:pt>
                <c:pt idx="144">
                  <c:v>44706</c:v>
                </c:pt>
                <c:pt idx="145">
                  <c:v>44707</c:v>
                </c:pt>
                <c:pt idx="146">
                  <c:v>44708</c:v>
                </c:pt>
                <c:pt idx="147">
                  <c:v>44709</c:v>
                </c:pt>
                <c:pt idx="148">
                  <c:v>44710</c:v>
                </c:pt>
                <c:pt idx="149">
                  <c:v>44711</c:v>
                </c:pt>
                <c:pt idx="150">
                  <c:v>44712</c:v>
                </c:pt>
                <c:pt idx="151">
                  <c:v>44713</c:v>
                </c:pt>
                <c:pt idx="152">
                  <c:v>44714</c:v>
                </c:pt>
                <c:pt idx="153">
                  <c:v>44715</c:v>
                </c:pt>
                <c:pt idx="154">
                  <c:v>44716</c:v>
                </c:pt>
                <c:pt idx="155">
                  <c:v>44717</c:v>
                </c:pt>
                <c:pt idx="156">
                  <c:v>44718</c:v>
                </c:pt>
                <c:pt idx="157">
                  <c:v>44719</c:v>
                </c:pt>
                <c:pt idx="158">
                  <c:v>44720</c:v>
                </c:pt>
                <c:pt idx="159">
                  <c:v>44721</c:v>
                </c:pt>
                <c:pt idx="160">
                  <c:v>44722</c:v>
                </c:pt>
                <c:pt idx="161">
                  <c:v>44723</c:v>
                </c:pt>
                <c:pt idx="162">
                  <c:v>44724</c:v>
                </c:pt>
                <c:pt idx="163">
                  <c:v>44725</c:v>
                </c:pt>
                <c:pt idx="164">
                  <c:v>44726</c:v>
                </c:pt>
                <c:pt idx="165">
                  <c:v>44727</c:v>
                </c:pt>
                <c:pt idx="166">
                  <c:v>44728</c:v>
                </c:pt>
                <c:pt idx="167">
                  <c:v>44729</c:v>
                </c:pt>
                <c:pt idx="168">
                  <c:v>44730</c:v>
                </c:pt>
                <c:pt idx="169">
                  <c:v>44731</c:v>
                </c:pt>
                <c:pt idx="170">
                  <c:v>44732</c:v>
                </c:pt>
                <c:pt idx="171">
                  <c:v>44733</c:v>
                </c:pt>
                <c:pt idx="172">
                  <c:v>44734</c:v>
                </c:pt>
                <c:pt idx="173">
                  <c:v>44735</c:v>
                </c:pt>
                <c:pt idx="174">
                  <c:v>44736</c:v>
                </c:pt>
                <c:pt idx="175">
                  <c:v>44737</c:v>
                </c:pt>
                <c:pt idx="176">
                  <c:v>44738</c:v>
                </c:pt>
                <c:pt idx="177">
                  <c:v>44739</c:v>
                </c:pt>
                <c:pt idx="178">
                  <c:v>44740</c:v>
                </c:pt>
                <c:pt idx="179">
                  <c:v>44741</c:v>
                </c:pt>
                <c:pt idx="180">
                  <c:v>44742</c:v>
                </c:pt>
                <c:pt idx="181">
                  <c:v>44743</c:v>
                </c:pt>
                <c:pt idx="182">
                  <c:v>44744</c:v>
                </c:pt>
                <c:pt idx="183">
                  <c:v>44745</c:v>
                </c:pt>
                <c:pt idx="184">
                  <c:v>44746</c:v>
                </c:pt>
                <c:pt idx="185">
                  <c:v>44747</c:v>
                </c:pt>
                <c:pt idx="186">
                  <c:v>44748</c:v>
                </c:pt>
                <c:pt idx="187">
                  <c:v>44749</c:v>
                </c:pt>
                <c:pt idx="188">
                  <c:v>44750</c:v>
                </c:pt>
                <c:pt idx="189">
                  <c:v>44751</c:v>
                </c:pt>
                <c:pt idx="190">
                  <c:v>44752</c:v>
                </c:pt>
                <c:pt idx="191">
                  <c:v>44753</c:v>
                </c:pt>
                <c:pt idx="192">
                  <c:v>44754</c:v>
                </c:pt>
                <c:pt idx="193">
                  <c:v>44755</c:v>
                </c:pt>
                <c:pt idx="194">
                  <c:v>44756</c:v>
                </c:pt>
                <c:pt idx="195">
                  <c:v>44757</c:v>
                </c:pt>
                <c:pt idx="196">
                  <c:v>44758</c:v>
                </c:pt>
                <c:pt idx="197">
                  <c:v>44759</c:v>
                </c:pt>
                <c:pt idx="198">
                  <c:v>44760</c:v>
                </c:pt>
                <c:pt idx="199">
                  <c:v>44761</c:v>
                </c:pt>
                <c:pt idx="200">
                  <c:v>44762</c:v>
                </c:pt>
                <c:pt idx="201">
                  <c:v>44763</c:v>
                </c:pt>
                <c:pt idx="202">
                  <c:v>44764</c:v>
                </c:pt>
                <c:pt idx="203">
                  <c:v>44765</c:v>
                </c:pt>
                <c:pt idx="204">
                  <c:v>44766</c:v>
                </c:pt>
                <c:pt idx="205">
                  <c:v>44767</c:v>
                </c:pt>
                <c:pt idx="206">
                  <c:v>44768</c:v>
                </c:pt>
                <c:pt idx="207">
                  <c:v>44769</c:v>
                </c:pt>
                <c:pt idx="208">
                  <c:v>44770</c:v>
                </c:pt>
                <c:pt idx="209">
                  <c:v>44771</c:v>
                </c:pt>
                <c:pt idx="210">
                  <c:v>44772</c:v>
                </c:pt>
                <c:pt idx="211">
                  <c:v>44773</c:v>
                </c:pt>
                <c:pt idx="212">
                  <c:v>44774</c:v>
                </c:pt>
                <c:pt idx="213">
                  <c:v>44775</c:v>
                </c:pt>
                <c:pt idx="214">
                  <c:v>44776</c:v>
                </c:pt>
                <c:pt idx="215">
                  <c:v>44777</c:v>
                </c:pt>
                <c:pt idx="216">
                  <c:v>44778</c:v>
                </c:pt>
                <c:pt idx="217">
                  <c:v>44779</c:v>
                </c:pt>
                <c:pt idx="218">
                  <c:v>44780</c:v>
                </c:pt>
                <c:pt idx="219">
                  <c:v>44781</c:v>
                </c:pt>
                <c:pt idx="220">
                  <c:v>44782</c:v>
                </c:pt>
                <c:pt idx="221">
                  <c:v>44783</c:v>
                </c:pt>
                <c:pt idx="222">
                  <c:v>44784</c:v>
                </c:pt>
                <c:pt idx="223">
                  <c:v>44785</c:v>
                </c:pt>
                <c:pt idx="224">
                  <c:v>44786</c:v>
                </c:pt>
                <c:pt idx="225">
                  <c:v>44787</c:v>
                </c:pt>
                <c:pt idx="226">
                  <c:v>44788</c:v>
                </c:pt>
                <c:pt idx="227">
                  <c:v>44789</c:v>
                </c:pt>
                <c:pt idx="228">
                  <c:v>44790</c:v>
                </c:pt>
                <c:pt idx="229">
                  <c:v>44791</c:v>
                </c:pt>
                <c:pt idx="230">
                  <c:v>44792</c:v>
                </c:pt>
                <c:pt idx="231">
                  <c:v>44793</c:v>
                </c:pt>
                <c:pt idx="232">
                  <c:v>44794</c:v>
                </c:pt>
                <c:pt idx="233">
                  <c:v>44795</c:v>
                </c:pt>
                <c:pt idx="234">
                  <c:v>44796</c:v>
                </c:pt>
                <c:pt idx="235">
                  <c:v>44797</c:v>
                </c:pt>
                <c:pt idx="236">
                  <c:v>44798</c:v>
                </c:pt>
                <c:pt idx="237">
                  <c:v>44799</c:v>
                </c:pt>
                <c:pt idx="238">
                  <c:v>44800</c:v>
                </c:pt>
                <c:pt idx="239">
                  <c:v>44801</c:v>
                </c:pt>
                <c:pt idx="240">
                  <c:v>44802</c:v>
                </c:pt>
                <c:pt idx="241">
                  <c:v>44803</c:v>
                </c:pt>
                <c:pt idx="242">
                  <c:v>44804</c:v>
                </c:pt>
                <c:pt idx="243">
                  <c:v>44805</c:v>
                </c:pt>
                <c:pt idx="244">
                  <c:v>44806</c:v>
                </c:pt>
                <c:pt idx="245">
                  <c:v>44807</c:v>
                </c:pt>
                <c:pt idx="246">
                  <c:v>44808</c:v>
                </c:pt>
                <c:pt idx="247">
                  <c:v>44809</c:v>
                </c:pt>
                <c:pt idx="248">
                  <c:v>44810</c:v>
                </c:pt>
                <c:pt idx="249">
                  <c:v>44811</c:v>
                </c:pt>
                <c:pt idx="250">
                  <c:v>44812</c:v>
                </c:pt>
                <c:pt idx="251">
                  <c:v>44813</c:v>
                </c:pt>
                <c:pt idx="252">
                  <c:v>44814</c:v>
                </c:pt>
                <c:pt idx="253">
                  <c:v>44815</c:v>
                </c:pt>
                <c:pt idx="254">
                  <c:v>44816</c:v>
                </c:pt>
                <c:pt idx="255">
                  <c:v>44817</c:v>
                </c:pt>
                <c:pt idx="256">
                  <c:v>44818</c:v>
                </c:pt>
                <c:pt idx="257">
                  <c:v>44819</c:v>
                </c:pt>
                <c:pt idx="258">
                  <c:v>44820</c:v>
                </c:pt>
                <c:pt idx="259">
                  <c:v>44821</c:v>
                </c:pt>
                <c:pt idx="260">
                  <c:v>44822</c:v>
                </c:pt>
                <c:pt idx="261">
                  <c:v>44823</c:v>
                </c:pt>
                <c:pt idx="262">
                  <c:v>44824</c:v>
                </c:pt>
                <c:pt idx="263">
                  <c:v>44825</c:v>
                </c:pt>
                <c:pt idx="264">
                  <c:v>44826</c:v>
                </c:pt>
                <c:pt idx="265">
                  <c:v>44827</c:v>
                </c:pt>
                <c:pt idx="266">
                  <c:v>44828</c:v>
                </c:pt>
                <c:pt idx="267">
                  <c:v>44829</c:v>
                </c:pt>
                <c:pt idx="268">
                  <c:v>44830</c:v>
                </c:pt>
                <c:pt idx="269">
                  <c:v>44831</c:v>
                </c:pt>
                <c:pt idx="270">
                  <c:v>44832</c:v>
                </c:pt>
                <c:pt idx="271">
                  <c:v>44833</c:v>
                </c:pt>
                <c:pt idx="272">
                  <c:v>44834</c:v>
                </c:pt>
                <c:pt idx="273">
                  <c:v>44835</c:v>
                </c:pt>
                <c:pt idx="274">
                  <c:v>44836</c:v>
                </c:pt>
                <c:pt idx="275">
                  <c:v>44837</c:v>
                </c:pt>
                <c:pt idx="276">
                  <c:v>44838</c:v>
                </c:pt>
                <c:pt idx="277">
                  <c:v>44839</c:v>
                </c:pt>
                <c:pt idx="278">
                  <c:v>44840</c:v>
                </c:pt>
                <c:pt idx="279">
                  <c:v>44841</c:v>
                </c:pt>
                <c:pt idx="280">
                  <c:v>44842</c:v>
                </c:pt>
                <c:pt idx="281">
                  <c:v>44843</c:v>
                </c:pt>
                <c:pt idx="282">
                  <c:v>44844</c:v>
                </c:pt>
                <c:pt idx="283">
                  <c:v>44845</c:v>
                </c:pt>
                <c:pt idx="284">
                  <c:v>44846</c:v>
                </c:pt>
                <c:pt idx="285">
                  <c:v>44847</c:v>
                </c:pt>
                <c:pt idx="286">
                  <c:v>44848</c:v>
                </c:pt>
                <c:pt idx="287">
                  <c:v>44849</c:v>
                </c:pt>
                <c:pt idx="288">
                  <c:v>44850</c:v>
                </c:pt>
                <c:pt idx="289">
                  <c:v>44851</c:v>
                </c:pt>
                <c:pt idx="290">
                  <c:v>44852</c:v>
                </c:pt>
                <c:pt idx="291">
                  <c:v>44853</c:v>
                </c:pt>
                <c:pt idx="292">
                  <c:v>44854</c:v>
                </c:pt>
                <c:pt idx="293">
                  <c:v>44855</c:v>
                </c:pt>
                <c:pt idx="294">
                  <c:v>44856</c:v>
                </c:pt>
                <c:pt idx="295">
                  <c:v>44857</c:v>
                </c:pt>
                <c:pt idx="296">
                  <c:v>44858</c:v>
                </c:pt>
                <c:pt idx="297">
                  <c:v>44859</c:v>
                </c:pt>
                <c:pt idx="298">
                  <c:v>44860</c:v>
                </c:pt>
                <c:pt idx="299">
                  <c:v>44861</c:v>
                </c:pt>
                <c:pt idx="300">
                  <c:v>44862</c:v>
                </c:pt>
                <c:pt idx="301">
                  <c:v>44863</c:v>
                </c:pt>
                <c:pt idx="302">
                  <c:v>44864</c:v>
                </c:pt>
                <c:pt idx="303">
                  <c:v>44865</c:v>
                </c:pt>
                <c:pt idx="304">
                  <c:v>44866</c:v>
                </c:pt>
                <c:pt idx="305">
                  <c:v>44867</c:v>
                </c:pt>
                <c:pt idx="306">
                  <c:v>44868</c:v>
                </c:pt>
                <c:pt idx="307">
                  <c:v>44869</c:v>
                </c:pt>
                <c:pt idx="308">
                  <c:v>44870</c:v>
                </c:pt>
                <c:pt idx="309">
                  <c:v>44871</c:v>
                </c:pt>
                <c:pt idx="310">
                  <c:v>44872</c:v>
                </c:pt>
                <c:pt idx="311">
                  <c:v>44873</c:v>
                </c:pt>
                <c:pt idx="312">
                  <c:v>44874</c:v>
                </c:pt>
                <c:pt idx="313">
                  <c:v>44875</c:v>
                </c:pt>
                <c:pt idx="314">
                  <c:v>44876</c:v>
                </c:pt>
                <c:pt idx="315">
                  <c:v>44877</c:v>
                </c:pt>
                <c:pt idx="316">
                  <c:v>44878</c:v>
                </c:pt>
                <c:pt idx="317">
                  <c:v>44879</c:v>
                </c:pt>
                <c:pt idx="318">
                  <c:v>44880</c:v>
                </c:pt>
                <c:pt idx="319">
                  <c:v>44881</c:v>
                </c:pt>
                <c:pt idx="320">
                  <c:v>44882</c:v>
                </c:pt>
                <c:pt idx="321">
                  <c:v>44883</c:v>
                </c:pt>
                <c:pt idx="322">
                  <c:v>44884</c:v>
                </c:pt>
                <c:pt idx="323">
                  <c:v>44885</c:v>
                </c:pt>
                <c:pt idx="324">
                  <c:v>44886</c:v>
                </c:pt>
                <c:pt idx="325">
                  <c:v>44887</c:v>
                </c:pt>
                <c:pt idx="326">
                  <c:v>44888</c:v>
                </c:pt>
                <c:pt idx="327">
                  <c:v>44889</c:v>
                </c:pt>
                <c:pt idx="328">
                  <c:v>44890</c:v>
                </c:pt>
                <c:pt idx="329">
                  <c:v>44891</c:v>
                </c:pt>
                <c:pt idx="330">
                  <c:v>44892</c:v>
                </c:pt>
                <c:pt idx="331">
                  <c:v>44893</c:v>
                </c:pt>
                <c:pt idx="332">
                  <c:v>44894</c:v>
                </c:pt>
                <c:pt idx="333">
                  <c:v>44895</c:v>
                </c:pt>
                <c:pt idx="334">
                  <c:v>44896</c:v>
                </c:pt>
                <c:pt idx="335">
                  <c:v>44897</c:v>
                </c:pt>
                <c:pt idx="336">
                  <c:v>44898</c:v>
                </c:pt>
                <c:pt idx="337">
                  <c:v>44899</c:v>
                </c:pt>
                <c:pt idx="338">
                  <c:v>44900</c:v>
                </c:pt>
                <c:pt idx="339">
                  <c:v>44901</c:v>
                </c:pt>
                <c:pt idx="340">
                  <c:v>44902</c:v>
                </c:pt>
                <c:pt idx="341">
                  <c:v>44903</c:v>
                </c:pt>
                <c:pt idx="342">
                  <c:v>44904</c:v>
                </c:pt>
                <c:pt idx="343">
                  <c:v>44905</c:v>
                </c:pt>
                <c:pt idx="344">
                  <c:v>44906</c:v>
                </c:pt>
                <c:pt idx="345">
                  <c:v>44907</c:v>
                </c:pt>
                <c:pt idx="346">
                  <c:v>44908</c:v>
                </c:pt>
                <c:pt idx="347">
                  <c:v>44909</c:v>
                </c:pt>
                <c:pt idx="348">
                  <c:v>44910</c:v>
                </c:pt>
                <c:pt idx="349">
                  <c:v>44911</c:v>
                </c:pt>
                <c:pt idx="350">
                  <c:v>44912</c:v>
                </c:pt>
                <c:pt idx="351">
                  <c:v>44913</c:v>
                </c:pt>
                <c:pt idx="352">
                  <c:v>44914</c:v>
                </c:pt>
                <c:pt idx="353">
                  <c:v>44915</c:v>
                </c:pt>
                <c:pt idx="354">
                  <c:v>44916</c:v>
                </c:pt>
                <c:pt idx="355">
                  <c:v>44917</c:v>
                </c:pt>
                <c:pt idx="356">
                  <c:v>44918</c:v>
                </c:pt>
                <c:pt idx="357">
                  <c:v>44919</c:v>
                </c:pt>
                <c:pt idx="358">
                  <c:v>44920</c:v>
                </c:pt>
                <c:pt idx="359">
                  <c:v>44921</c:v>
                </c:pt>
                <c:pt idx="360">
                  <c:v>44922</c:v>
                </c:pt>
                <c:pt idx="361">
                  <c:v>44923</c:v>
                </c:pt>
                <c:pt idx="362">
                  <c:v>44924</c:v>
                </c:pt>
                <c:pt idx="363">
                  <c:v>44925</c:v>
                </c:pt>
                <c:pt idx="364">
                  <c:v>44926</c:v>
                </c:pt>
                <c:pt idx="365">
                  <c:v>44927</c:v>
                </c:pt>
                <c:pt idx="366">
                  <c:v>44928</c:v>
                </c:pt>
                <c:pt idx="367">
                  <c:v>44929</c:v>
                </c:pt>
                <c:pt idx="368">
                  <c:v>44930</c:v>
                </c:pt>
                <c:pt idx="369">
                  <c:v>44931</c:v>
                </c:pt>
                <c:pt idx="370">
                  <c:v>44932</c:v>
                </c:pt>
              </c:numCache>
            </c:numRef>
          </c:cat>
          <c:val>
            <c:numRef>
              <c:f>'DA_ETF, TTF, NCG og GPL'!$F$5062:$F$5432</c:f>
              <c:numCache>
                <c:formatCode>0.00</c:formatCode>
                <c:ptCount val="371"/>
                <c:pt idx="0">
                  <c:v>70.257999999999996</c:v>
                </c:pt>
                <c:pt idx="1">
                  <c:v>70.257999999999996</c:v>
                </c:pt>
                <c:pt idx="2">
                  <c:v>70.257999999999996</c:v>
                </c:pt>
                <c:pt idx="3">
                  <c:v>71.471999999999994</c:v>
                </c:pt>
                <c:pt idx="4">
                  <c:v>90.885999999999996</c:v>
                </c:pt>
                <c:pt idx="5">
                  <c:v>92.447999999999993</c:v>
                </c:pt>
                <c:pt idx="6">
                  <c:v>94.286000000000001</c:v>
                </c:pt>
                <c:pt idx="7">
                  <c:v>90.373000000000005</c:v>
                </c:pt>
                <c:pt idx="8">
                  <c:v>90.373000000000005</c:v>
                </c:pt>
                <c:pt idx="9">
                  <c:v>90.52</c:v>
                </c:pt>
                <c:pt idx="10">
                  <c:v>87.61</c:v>
                </c:pt>
                <c:pt idx="11">
                  <c:v>81.603999999999999</c:v>
                </c:pt>
                <c:pt idx="12">
                  <c:v>77.512</c:v>
                </c:pt>
                <c:pt idx="13">
                  <c:v>77.697999999999993</c:v>
                </c:pt>
                <c:pt idx="14">
                  <c:v>89.108000000000004</c:v>
                </c:pt>
                <c:pt idx="15">
                  <c:v>89.108000000000004</c:v>
                </c:pt>
                <c:pt idx="16">
                  <c:v>89.048000000000002</c:v>
                </c:pt>
                <c:pt idx="17">
                  <c:v>79.644000000000005</c:v>
                </c:pt>
                <c:pt idx="18">
                  <c:v>77.619</c:v>
                </c:pt>
                <c:pt idx="19">
                  <c:v>74.106999999999999</c:v>
                </c:pt>
                <c:pt idx="20">
                  <c:v>73.884</c:v>
                </c:pt>
                <c:pt idx="21">
                  <c:v>78.441000000000003</c:v>
                </c:pt>
                <c:pt idx="22">
                  <c:v>78.441000000000003</c:v>
                </c:pt>
                <c:pt idx="23">
                  <c:v>78.61</c:v>
                </c:pt>
                <c:pt idx="24">
                  <c:v>90.405000000000001</c:v>
                </c:pt>
                <c:pt idx="25">
                  <c:v>92.655000000000001</c:v>
                </c:pt>
                <c:pt idx="26">
                  <c:v>91.174000000000007</c:v>
                </c:pt>
                <c:pt idx="27">
                  <c:v>91.864999999999995</c:v>
                </c:pt>
                <c:pt idx="28">
                  <c:v>92.155000000000001</c:v>
                </c:pt>
                <c:pt idx="29">
                  <c:v>92.155000000000001</c:v>
                </c:pt>
                <c:pt idx="30">
                  <c:v>92.296999999999997</c:v>
                </c:pt>
                <c:pt idx="31">
                  <c:v>85.718999999999994</c:v>
                </c:pt>
                <c:pt idx="32">
                  <c:v>76.165999999999997</c:v>
                </c:pt>
                <c:pt idx="33">
                  <c:v>77.418999999999997</c:v>
                </c:pt>
                <c:pt idx="34">
                  <c:v>78.287000000000006</c:v>
                </c:pt>
                <c:pt idx="35">
                  <c:v>81.460999999999999</c:v>
                </c:pt>
                <c:pt idx="36">
                  <c:v>81.460999999999999</c:v>
                </c:pt>
                <c:pt idx="37">
                  <c:v>81.563999999999993</c:v>
                </c:pt>
                <c:pt idx="38">
                  <c:v>78.006</c:v>
                </c:pt>
                <c:pt idx="39">
                  <c:v>78.861000000000004</c:v>
                </c:pt>
                <c:pt idx="40">
                  <c:v>75.349000000000004</c:v>
                </c:pt>
                <c:pt idx="41">
                  <c:v>73.841999999999999</c:v>
                </c:pt>
                <c:pt idx="42">
                  <c:v>74.813999999999993</c:v>
                </c:pt>
                <c:pt idx="43">
                  <c:v>74.813999999999993</c:v>
                </c:pt>
                <c:pt idx="44">
                  <c:v>74.852999999999994</c:v>
                </c:pt>
                <c:pt idx="45">
                  <c:v>80.759</c:v>
                </c:pt>
                <c:pt idx="46">
                  <c:v>72.382000000000005</c:v>
                </c:pt>
                <c:pt idx="47">
                  <c:v>69.057000000000002</c:v>
                </c:pt>
                <c:pt idx="48">
                  <c:v>72.992999999999995</c:v>
                </c:pt>
                <c:pt idx="49">
                  <c:v>72.213999999999999</c:v>
                </c:pt>
                <c:pt idx="50">
                  <c:v>72.213999999999999</c:v>
                </c:pt>
                <c:pt idx="51">
                  <c:v>72.259</c:v>
                </c:pt>
                <c:pt idx="52">
                  <c:v>72.873999999999995</c:v>
                </c:pt>
                <c:pt idx="53">
                  <c:v>78.822999999999993</c:v>
                </c:pt>
                <c:pt idx="54">
                  <c:v>86.224000000000004</c:v>
                </c:pt>
                <c:pt idx="55">
                  <c:v>125.042</c:v>
                </c:pt>
                <c:pt idx="56">
                  <c:v>98.37</c:v>
                </c:pt>
                <c:pt idx="57">
                  <c:v>98.37</c:v>
                </c:pt>
                <c:pt idx="58">
                  <c:v>99.004000000000005</c:v>
                </c:pt>
                <c:pt idx="59">
                  <c:v>104.97199999999999</c:v>
                </c:pt>
                <c:pt idx="60">
                  <c:v>117.401</c:v>
                </c:pt>
                <c:pt idx="61">
                  <c:v>166.14599999999999</c:v>
                </c:pt>
                <c:pt idx="62">
                  <c:v>163.46199999999999</c:v>
                </c:pt>
                <c:pt idx="63">
                  <c:v>187.76400000000001</c:v>
                </c:pt>
                <c:pt idx="64">
                  <c:v>187.76400000000001</c:v>
                </c:pt>
                <c:pt idx="65">
                  <c:v>188.78200000000001</c:v>
                </c:pt>
                <c:pt idx="66">
                  <c:v>246.15899999999999</c:v>
                </c:pt>
                <c:pt idx="67">
                  <c:v>212.86600000000001</c:v>
                </c:pt>
                <c:pt idx="68">
                  <c:v>165.066</c:v>
                </c:pt>
                <c:pt idx="69">
                  <c:v>135.61000000000001</c:v>
                </c:pt>
                <c:pt idx="70">
                  <c:v>124.529</c:v>
                </c:pt>
                <c:pt idx="71">
                  <c:v>124.529</c:v>
                </c:pt>
                <c:pt idx="72">
                  <c:v>126.67</c:v>
                </c:pt>
                <c:pt idx="73">
                  <c:v>115.59</c:v>
                </c:pt>
                <c:pt idx="74">
                  <c:v>116.73399999999999</c:v>
                </c:pt>
                <c:pt idx="75">
                  <c:v>106.254</c:v>
                </c:pt>
                <c:pt idx="76">
                  <c:v>105.116</c:v>
                </c:pt>
                <c:pt idx="77">
                  <c:v>100.768</c:v>
                </c:pt>
                <c:pt idx="78">
                  <c:v>100.768</c:v>
                </c:pt>
                <c:pt idx="79">
                  <c:v>101.568</c:v>
                </c:pt>
                <c:pt idx="80">
                  <c:v>96.245999999999995</c:v>
                </c:pt>
                <c:pt idx="81">
                  <c:v>95.929000000000002</c:v>
                </c:pt>
                <c:pt idx="82">
                  <c:v>109.79600000000001</c:v>
                </c:pt>
                <c:pt idx="83">
                  <c:v>113.712</c:v>
                </c:pt>
                <c:pt idx="84">
                  <c:v>100.94</c:v>
                </c:pt>
                <c:pt idx="85">
                  <c:v>100.94</c:v>
                </c:pt>
                <c:pt idx="86">
                  <c:v>102.288</c:v>
                </c:pt>
                <c:pt idx="87">
                  <c:v>102.018</c:v>
                </c:pt>
                <c:pt idx="88">
                  <c:v>110.312</c:v>
                </c:pt>
                <c:pt idx="89">
                  <c:v>119.688</c:v>
                </c:pt>
                <c:pt idx="90">
                  <c:v>120.087</c:v>
                </c:pt>
                <c:pt idx="91">
                  <c:v>118.43899999999999</c:v>
                </c:pt>
                <c:pt idx="92">
                  <c:v>118.43899999999999</c:v>
                </c:pt>
                <c:pt idx="93">
                  <c:v>118.43899999999999</c:v>
                </c:pt>
                <c:pt idx="94">
                  <c:v>110.23699999999999</c:v>
                </c:pt>
                <c:pt idx="95">
                  <c:v>108.562</c:v>
                </c:pt>
                <c:pt idx="96">
                  <c:v>107.988</c:v>
                </c:pt>
                <c:pt idx="97">
                  <c:v>104.657</c:v>
                </c:pt>
                <c:pt idx="98">
                  <c:v>106.503</c:v>
                </c:pt>
                <c:pt idx="99">
                  <c:v>106.503</c:v>
                </c:pt>
                <c:pt idx="100">
                  <c:v>106.682</c:v>
                </c:pt>
                <c:pt idx="101">
                  <c:v>102.209</c:v>
                </c:pt>
                <c:pt idx="102">
                  <c:v>103.15900000000001</c:v>
                </c:pt>
                <c:pt idx="103">
                  <c:v>104.55200000000001</c:v>
                </c:pt>
                <c:pt idx="104">
                  <c:v>96.174000000000007</c:v>
                </c:pt>
                <c:pt idx="105">
                  <c:v>96.174000000000007</c:v>
                </c:pt>
                <c:pt idx="106">
                  <c:v>96.174000000000007</c:v>
                </c:pt>
                <c:pt idx="107">
                  <c:v>96.174000000000007</c:v>
                </c:pt>
                <c:pt idx="108">
                  <c:v>98.147999999999996</c:v>
                </c:pt>
                <c:pt idx="109">
                  <c:v>93.114999999999995</c:v>
                </c:pt>
                <c:pt idx="110">
                  <c:v>95.319000000000003</c:v>
                </c:pt>
                <c:pt idx="111">
                  <c:v>97.072000000000003</c:v>
                </c:pt>
                <c:pt idx="112">
                  <c:v>94.956000000000003</c:v>
                </c:pt>
                <c:pt idx="113">
                  <c:v>95.733999999999995</c:v>
                </c:pt>
                <c:pt idx="114">
                  <c:v>96.427000000000007</c:v>
                </c:pt>
                <c:pt idx="115">
                  <c:v>95.13</c:v>
                </c:pt>
                <c:pt idx="116">
                  <c:v>107.706</c:v>
                </c:pt>
                <c:pt idx="117">
                  <c:v>101.654</c:v>
                </c:pt>
                <c:pt idx="118">
                  <c:v>100.25700000000001</c:v>
                </c:pt>
                <c:pt idx="119">
                  <c:v>100.25700000000001</c:v>
                </c:pt>
                <c:pt idx="120">
                  <c:v>100.25700000000001</c:v>
                </c:pt>
                <c:pt idx="121">
                  <c:v>100.593</c:v>
                </c:pt>
                <c:pt idx="122">
                  <c:v>98.792000000000002</c:v>
                </c:pt>
                <c:pt idx="123">
                  <c:v>102.996</c:v>
                </c:pt>
                <c:pt idx="124">
                  <c:v>101.398</c:v>
                </c:pt>
                <c:pt idx="125">
                  <c:v>94.239000000000004</c:v>
                </c:pt>
                <c:pt idx="126">
                  <c:v>94.239000000000004</c:v>
                </c:pt>
                <c:pt idx="127">
                  <c:v>94.606999999999999</c:v>
                </c:pt>
                <c:pt idx="128">
                  <c:v>88.688000000000002</c:v>
                </c:pt>
                <c:pt idx="129">
                  <c:v>84.165999999999997</c:v>
                </c:pt>
                <c:pt idx="130">
                  <c:v>84.567999999999998</c:v>
                </c:pt>
                <c:pt idx="131">
                  <c:v>95.975999999999999</c:v>
                </c:pt>
                <c:pt idx="132">
                  <c:v>90.894999999999996</c:v>
                </c:pt>
                <c:pt idx="133">
                  <c:v>90.894999999999996</c:v>
                </c:pt>
                <c:pt idx="134">
                  <c:v>91.733000000000004</c:v>
                </c:pt>
                <c:pt idx="135">
                  <c:v>92.52</c:v>
                </c:pt>
                <c:pt idx="136">
                  <c:v>92.968999999999994</c:v>
                </c:pt>
                <c:pt idx="137">
                  <c:v>93.563000000000002</c:v>
                </c:pt>
                <c:pt idx="138">
                  <c:v>90.325000000000003</c:v>
                </c:pt>
                <c:pt idx="139">
                  <c:v>85.769000000000005</c:v>
                </c:pt>
                <c:pt idx="140">
                  <c:v>85.769000000000005</c:v>
                </c:pt>
                <c:pt idx="141">
                  <c:v>86.400999999999996</c:v>
                </c:pt>
                <c:pt idx="142">
                  <c:v>80.238</c:v>
                </c:pt>
                <c:pt idx="143">
                  <c:v>80.135999999999996</c:v>
                </c:pt>
                <c:pt idx="144">
                  <c:v>80.522000000000006</c:v>
                </c:pt>
                <c:pt idx="145">
                  <c:v>81.683999999999997</c:v>
                </c:pt>
                <c:pt idx="146">
                  <c:v>81.846999999999994</c:v>
                </c:pt>
                <c:pt idx="147">
                  <c:v>81.846999999999994</c:v>
                </c:pt>
                <c:pt idx="148">
                  <c:v>82.578999999999994</c:v>
                </c:pt>
                <c:pt idx="149">
                  <c:v>87.108999999999995</c:v>
                </c:pt>
                <c:pt idx="150">
                  <c:v>90.418000000000006</c:v>
                </c:pt>
                <c:pt idx="151">
                  <c:v>80.817999999999998</c:v>
                </c:pt>
                <c:pt idx="152">
                  <c:v>80.817999999999998</c:v>
                </c:pt>
                <c:pt idx="153">
                  <c:v>80.817999999999998</c:v>
                </c:pt>
                <c:pt idx="154">
                  <c:v>80.817999999999998</c:v>
                </c:pt>
                <c:pt idx="155">
                  <c:v>80.902000000000001</c:v>
                </c:pt>
                <c:pt idx="156">
                  <c:v>80.902000000000001</c:v>
                </c:pt>
                <c:pt idx="157">
                  <c:v>79.63</c:v>
                </c:pt>
                <c:pt idx="158">
                  <c:v>78.257999999999996</c:v>
                </c:pt>
                <c:pt idx="159">
                  <c:v>77.132999999999996</c:v>
                </c:pt>
                <c:pt idx="160">
                  <c:v>83.697000000000003</c:v>
                </c:pt>
                <c:pt idx="161">
                  <c:v>80.343000000000004</c:v>
                </c:pt>
                <c:pt idx="162">
                  <c:v>80.343000000000004</c:v>
                </c:pt>
                <c:pt idx="163">
                  <c:v>81.058000000000007</c:v>
                </c:pt>
                <c:pt idx="164">
                  <c:v>81.186999999999998</c:v>
                </c:pt>
                <c:pt idx="165">
                  <c:v>91.789000000000001</c:v>
                </c:pt>
                <c:pt idx="166">
                  <c:v>107.55800000000001</c:v>
                </c:pt>
                <c:pt idx="167">
                  <c:v>132.137</c:v>
                </c:pt>
                <c:pt idx="168">
                  <c:v>119.34099999999999</c:v>
                </c:pt>
                <c:pt idx="169">
                  <c:v>119.34099999999999</c:v>
                </c:pt>
                <c:pt idx="170">
                  <c:v>119.04900000000001</c:v>
                </c:pt>
                <c:pt idx="171">
                  <c:v>120.68899999999999</c:v>
                </c:pt>
                <c:pt idx="172">
                  <c:v>122.97499999999999</c:v>
                </c:pt>
                <c:pt idx="173">
                  <c:v>126.852</c:v>
                </c:pt>
                <c:pt idx="174">
                  <c:v>131.28100000000001</c:v>
                </c:pt>
                <c:pt idx="175">
                  <c:v>126.571</c:v>
                </c:pt>
                <c:pt idx="176">
                  <c:v>127.571</c:v>
                </c:pt>
                <c:pt idx="177">
                  <c:v>127.88800000000001</c:v>
                </c:pt>
                <c:pt idx="178">
                  <c:v>130.852</c:v>
                </c:pt>
                <c:pt idx="179">
                  <c:v>129.00200000000001</c:v>
                </c:pt>
                <c:pt idx="180">
                  <c:v>138.66</c:v>
                </c:pt>
                <c:pt idx="181">
                  <c:v>146.58000000000001</c:v>
                </c:pt>
                <c:pt idx="182">
                  <c:v>145.97800000000001</c:v>
                </c:pt>
                <c:pt idx="183">
                  <c:v>145.97800000000001</c:v>
                </c:pt>
                <c:pt idx="184">
                  <c:v>146.273</c:v>
                </c:pt>
                <c:pt idx="185">
                  <c:v>162.19900000000001</c:v>
                </c:pt>
                <c:pt idx="186">
                  <c:v>169.727</c:v>
                </c:pt>
                <c:pt idx="187">
                  <c:v>165.66</c:v>
                </c:pt>
                <c:pt idx="188">
                  <c:v>183.73500000000001</c:v>
                </c:pt>
                <c:pt idx="189">
                  <c:v>177.17599999999999</c:v>
                </c:pt>
                <c:pt idx="190">
                  <c:v>177.17599999999999</c:v>
                </c:pt>
                <c:pt idx="191">
                  <c:v>177.94300000000001</c:v>
                </c:pt>
                <c:pt idx="192">
                  <c:v>169.126</c:v>
                </c:pt>
                <c:pt idx="193">
                  <c:v>173.44300000000001</c:v>
                </c:pt>
                <c:pt idx="194">
                  <c:v>181.88300000000001</c:v>
                </c:pt>
                <c:pt idx="195">
                  <c:v>176.32599999999999</c:v>
                </c:pt>
                <c:pt idx="196">
                  <c:v>161.61799999999999</c:v>
                </c:pt>
                <c:pt idx="197">
                  <c:v>161.61799999999999</c:v>
                </c:pt>
                <c:pt idx="198">
                  <c:v>162.08799999999999</c:v>
                </c:pt>
                <c:pt idx="199">
                  <c:v>158.31800000000001</c:v>
                </c:pt>
                <c:pt idx="200">
                  <c:v>157.39400000000001</c:v>
                </c:pt>
                <c:pt idx="201">
                  <c:v>156.19</c:v>
                </c:pt>
                <c:pt idx="202">
                  <c:v>150.642</c:v>
                </c:pt>
                <c:pt idx="203">
                  <c:v>160.83799999999999</c:v>
                </c:pt>
                <c:pt idx="204">
                  <c:v>160.83799999999999</c:v>
                </c:pt>
                <c:pt idx="205">
                  <c:v>161.417</c:v>
                </c:pt>
                <c:pt idx="206">
                  <c:v>170.05799999999999</c:v>
                </c:pt>
                <c:pt idx="207">
                  <c:v>197.399</c:v>
                </c:pt>
                <c:pt idx="208">
                  <c:v>210.12299999999999</c:v>
                </c:pt>
                <c:pt idx="209">
                  <c:v>203.923</c:v>
                </c:pt>
                <c:pt idx="210">
                  <c:v>192.58799999999999</c:v>
                </c:pt>
                <c:pt idx="211">
                  <c:v>192.58799999999999</c:v>
                </c:pt>
                <c:pt idx="212">
                  <c:v>193.25700000000001</c:v>
                </c:pt>
                <c:pt idx="213">
                  <c:v>200.114</c:v>
                </c:pt>
                <c:pt idx="214">
                  <c:v>204.85300000000001</c:v>
                </c:pt>
                <c:pt idx="215">
                  <c:v>201.19200000000001</c:v>
                </c:pt>
                <c:pt idx="216">
                  <c:v>196.44200000000001</c:v>
                </c:pt>
                <c:pt idx="217">
                  <c:v>194.98</c:v>
                </c:pt>
                <c:pt idx="218">
                  <c:v>194.98</c:v>
                </c:pt>
                <c:pt idx="219">
                  <c:v>194.911</c:v>
                </c:pt>
                <c:pt idx="220">
                  <c:v>193.96</c:v>
                </c:pt>
                <c:pt idx="221">
                  <c:v>189.84299999999999</c:v>
                </c:pt>
                <c:pt idx="222">
                  <c:v>202.578</c:v>
                </c:pt>
                <c:pt idx="223">
                  <c:v>209.733</c:v>
                </c:pt>
                <c:pt idx="224">
                  <c:v>203.041</c:v>
                </c:pt>
                <c:pt idx="225">
                  <c:v>203.041</c:v>
                </c:pt>
                <c:pt idx="226">
                  <c:v>203.01</c:v>
                </c:pt>
                <c:pt idx="227">
                  <c:v>213.268</c:v>
                </c:pt>
                <c:pt idx="228">
                  <c:v>234.91900000000001</c:v>
                </c:pt>
                <c:pt idx="229">
                  <c:v>230.53700000000001</c:v>
                </c:pt>
                <c:pt idx="230">
                  <c:v>235.124</c:v>
                </c:pt>
                <c:pt idx="231">
                  <c:v>243.25899999999999</c:v>
                </c:pt>
                <c:pt idx="232">
                  <c:v>243.25899999999999</c:v>
                </c:pt>
                <c:pt idx="233">
                  <c:v>244.13900000000001</c:v>
                </c:pt>
                <c:pt idx="234">
                  <c:v>281.495</c:v>
                </c:pt>
                <c:pt idx="235">
                  <c:v>269.35000000000002</c:v>
                </c:pt>
                <c:pt idx="236">
                  <c:v>285.99200000000002</c:v>
                </c:pt>
                <c:pt idx="237">
                  <c:v>311.83</c:v>
                </c:pt>
                <c:pt idx="238">
                  <c:v>312.54500000000002</c:v>
                </c:pt>
                <c:pt idx="239">
                  <c:v>312.54500000000002</c:v>
                </c:pt>
                <c:pt idx="240">
                  <c:v>312.54500000000002</c:v>
                </c:pt>
                <c:pt idx="241">
                  <c:v>314.22000000000003</c:v>
                </c:pt>
                <c:pt idx="242">
                  <c:v>260.88900000000001</c:v>
                </c:pt>
                <c:pt idx="243">
                  <c:v>243.1</c:v>
                </c:pt>
                <c:pt idx="244">
                  <c:v>228.696</c:v>
                </c:pt>
                <c:pt idx="245">
                  <c:v>192.33199999999999</c:v>
                </c:pt>
                <c:pt idx="246">
                  <c:v>192.33199999999999</c:v>
                </c:pt>
                <c:pt idx="247">
                  <c:v>192.33199999999999</c:v>
                </c:pt>
                <c:pt idx="248">
                  <c:v>193.71</c:v>
                </c:pt>
                <c:pt idx="249">
                  <c:v>231.81899999999999</c:v>
                </c:pt>
                <c:pt idx="250">
                  <c:v>214.40799999999999</c:v>
                </c:pt>
                <c:pt idx="251">
                  <c:v>214.571</c:v>
                </c:pt>
                <c:pt idx="252">
                  <c:v>199.29499999999999</c:v>
                </c:pt>
                <c:pt idx="253">
                  <c:v>199.29499999999999</c:v>
                </c:pt>
                <c:pt idx="254">
                  <c:v>193.804</c:v>
                </c:pt>
                <c:pt idx="255">
                  <c:v>186.5</c:v>
                </c:pt>
                <c:pt idx="256">
                  <c:v>189.352</c:v>
                </c:pt>
                <c:pt idx="257">
                  <c:v>210.62899999999999</c:v>
                </c:pt>
                <c:pt idx="258">
                  <c:v>213.10300000000001</c:v>
                </c:pt>
                <c:pt idx="259">
                  <c:v>169.50299999999999</c:v>
                </c:pt>
                <c:pt idx="260">
                  <c:v>169.50299999999999</c:v>
                </c:pt>
                <c:pt idx="261">
                  <c:v>169.07400000000001</c:v>
                </c:pt>
                <c:pt idx="262">
                  <c:v>164.82300000000001</c:v>
                </c:pt>
                <c:pt idx="263">
                  <c:v>170.30500000000001</c:v>
                </c:pt>
                <c:pt idx="264">
                  <c:v>183.74199999999999</c:v>
                </c:pt>
                <c:pt idx="265">
                  <c:v>174.90100000000001</c:v>
                </c:pt>
                <c:pt idx="266">
                  <c:v>166.72499999999999</c:v>
                </c:pt>
                <c:pt idx="267">
                  <c:v>166.72499999999999</c:v>
                </c:pt>
                <c:pt idx="268">
                  <c:v>168.50899999999999</c:v>
                </c:pt>
                <c:pt idx="269">
                  <c:v>166.161</c:v>
                </c:pt>
                <c:pt idx="270">
                  <c:v>189.55699999999999</c:v>
                </c:pt>
                <c:pt idx="271">
                  <c:v>200.114</c:v>
                </c:pt>
                <c:pt idx="272">
                  <c:v>183.64400000000001</c:v>
                </c:pt>
                <c:pt idx="273">
                  <c:v>163.31700000000001</c:v>
                </c:pt>
                <c:pt idx="274">
                  <c:v>163.31700000000001</c:v>
                </c:pt>
                <c:pt idx="275">
                  <c:v>163.02000000000001</c:v>
                </c:pt>
                <c:pt idx="276">
                  <c:v>138.33699999999999</c:v>
                </c:pt>
                <c:pt idx="277">
                  <c:v>103.54900000000001</c:v>
                </c:pt>
                <c:pt idx="278">
                  <c:v>88.433999999999997</c:v>
                </c:pt>
                <c:pt idx="279">
                  <c:v>119.355</c:v>
                </c:pt>
                <c:pt idx="280">
                  <c:v>112.532</c:v>
                </c:pt>
                <c:pt idx="281">
                  <c:v>112.532</c:v>
                </c:pt>
                <c:pt idx="282">
                  <c:v>114.889</c:v>
                </c:pt>
                <c:pt idx="283">
                  <c:v>103.078</c:v>
                </c:pt>
                <c:pt idx="284">
                  <c:v>103.887</c:v>
                </c:pt>
                <c:pt idx="285">
                  <c:v>103.087</c:v>
                </c:pt>
                <c:pt idx="286">
                  <c:v>96.820999999999998</c:v>
                </c:pt>
                <c:pt idx="287">
                  <c:v>66.382000000000005</c:v>
                </c:pt>
                <c:pt idx="288">
                  <c:v>66.382000000000005</c:v>
                </c:pt>
                <c:pt idx="289">
                  <c:v>69.222999999999999</c:v>
                </c:pt>
                <c:pt idx="290">
                  <c:v>60.091999999999999</c:v>
                </c:pt>
                <c:pt idx="291">
                  <c:v>59.551000000000002</c:v>
                </c:pt>
                <c:pt idx="292">
                  <c:v>68.700999999999993</c:v>
                </c:pt>
                <c:pt idx="293">
                  <c:v>62.034999999999997</c:v>
                </c:pt>
                <c:pt idx="294">
                  <c:v>43.863</c:v>
                </c:pt>
                <c:pt idx="295">
                  <c:v>43.863</c:v>
                </c:pt>
                <c:pt idx="296">
                  <c:v>45.883000000000003</c:v>
                </c:pt>
                <c:pt idx="297">
                  <c:v>29.716999999999999</c:v>
                </c:pt>
                <c:pt idx="298">
                  <c:v>37.698</c:v>
                </c:pt>
                <c:pt idx="299">
                  <c:v>45.557000000000002</c:v>
                </c:pt>
                <c:pt idx="300">
                  <c:v>32.884</c:v>
                </c:pt>
                <c:pt idx="301">
                  <c:v>29.376000000000001</c:v>
                </c:pt>
                <c:pt idx="302">
                  <c:v>29.376000000000001</c:v>
                </c:pt>
                <c:pt idx="303">
                  <c:v>32.972000000000001</c:v>
                </c:pt>
                <c:pt idx="304">
                  <c:v>37.375999999999998</c:v>
                </c:pt>
                <c:pt idx="305">
                  <c:v>27.163</c:v>
                </c:pt>
                <c:pt idx="306">
                  <c:v>44.384</c:v>
                </c:pt>
                <c:pt idx="307">
                  <c:v>73.593000000000004</c:v>
                </c:pt>
                <c:pt idx="308">
                  <c:v>56.27</c:v>
                </c:pt>
                <c:pt idx="309">
                  <c:v>56.27</c:v>
                </c:pt>
                <c:pt idx="310">
                  <c:v>58.551000000000002</c:v>
                </c:pt>
                <c:pt idx="311">
                  <c:v>57.378</c:v>
                </c:pt>
                <c:pt idx="312">
                  <c:v>83.846999999999994</c:v>
                </c:pt>
                <c:pt idx="313">
                  <c:v>91.078000000000003</c:v>
                </c:pt>
                <c:pt idx="314">
                  <c:v>82.9</c:v>
                </c:pt>
                <c:pt idx="315">
                  <c:v>67.185000000000002</c:v>
                </c:pt>
                <c:pt idx="316">
                  <c:v>67.185000000000002</c:v>
                </c:pt>
                <c:pt idx="317">
                  <c:v>73.17</c:v>
                </c:pt>
                <c:pt idx="318">
                  <c:v>104.27</c:v>
                </c:pt>
                <c:pt idx="319">
                  <c:v>117.768</c:v>
                </c:pt>
                <c:pt idx="320">
                  <c:v>106.839</c:v>
                </c:pt>
                <c:pt idx="321">
                  <c:v>102.81699999999999</c:v>
                </c:pt>
                <c:pt idx="322">
                  <c:v>108.044</c:v>
                </c:pt>
                <c:pt idx="323">
                  <c:v>108.044</c:v>
                </c:pt>
                <c:pt idx="324">
                  <c:v>109.20699999999999</c:v>
                </c:pt>
                <c:pt idx="325">
                  <c:v>114.47799999999999</c:v>
                </c:pt>
                <c:pt idx="326">
                  <c:v>115.32899999999999</c:v>
                </c:pt>
                <c:pt idx="327">
                  <c:v>124.848</c:v>
                </c:pt>
                <c:pt idx="328">
                  <c:v>121.907</c:v>
                </c:pt>
                <c:pt idx="329">
                  <c:v>120.96899999999999</c:v>
                </c:pt>
                <c:pt idx="330">
                  <c:v>120.96899999999999</c:v>
                </c:pt>
                <c:pt idx="331">
                  <c:v>122.598</c:v>
                </c:pt>
                <c:pt idx="332">
                  <c:v>123.099</c:v>
                </c:pt>
                <c:pt idx="333">
                  <c:v>132.04499999999999</c:v>
                </c:pt>
                <c:pt idx="334">
                  <c:v>143.40299999999999</c:v>
                </c:pt>
                <c:pt idx="335">
                  <c:v>144.86099999999999</c:v>
                </c:pt>
                <c:pt idx="336">
                  <c:v>132.97200000000001</c:v>
                </c:pt>
                <c:pt idx="337">
                  <c:v>132.97200000000001</c:v>
                </c:pt>
                <c:pt idx="338">
                  <c:v>133.72399999999999</c:v>
                </c:pt>
                <c:pt idx="339">
                  <c:v>136.11000000000001</c:v>
                </c:pt>
                <c:pt idx="340">
                  <c:v>137.9</c:v>
                </c:pt>
                <c:pt idx="341">
                  <c:v>147.27799999999999</c:v>
                </c:pt>
                <c:pt idx="342">
                  <c:v>147.078</c:v>
                </c:pt>
                <c:pt idx="343">
                  <c:v>140.00299999999999</c:v>
                </c:pt>
                <c:pt idx="344">
                  <c:v>140.00299999999999</c:v>
                </c:pt>
                <c:pt idx="345">
                  <c:v>141.005</c:v>
                </c:pt>
                <c:pt idx="346">
                  <c:v>137.59399999999999</c:v>
                </c:pt>
                <c:pt idx="347">
                  <c:v>139.565</c:v>
                </c:pt>
                <c:pt idx="348">
                  <c:v>132.79400000000001</c:v>
                </c:pt>
                <c:pt idx="349">
                  <c:v>135.435</c:v>
                </c:pt>
                <c:pt idx="350">
                  <c:v>120.85599999999999</c:v>
                </c:pt>
                <c:pt idx="351">
                  <c:v>120.85599999999999</c:v>
                </c:pt>
                <c:pt idx="352">
                  <c:v>120.867</c:v>
                </c:pt>
                <c:pt idx="353">
                  <c:v>107.245</c:v>
                </c:pt>
                <c:pt idx="354">
                  <c:v>104.851</c:v>
                </c:pt>
                <c:pt idx="355">
                  <c:v>96.573999999999998</c:v>
                </c:pt>
                <c:pt idx="356">
                  <c:v>90.492999999999995</c:v>
                </c:pt>
                <c:pt idx="357">
                  <c:v>82.516000000000005</c:v>
                </c:pt>
                <c:pt idx="358">
                  <c:v>82.516000000000005</c:v>
                </c:pt>
                <c:pt idx="359">
                  <c:v>82.516000000000005</c:v>
                </c:pt>
                <c:pt idx="360">
                  <c:v>82.516000000000005</c:v>
                </c:pt>
                <c:pt idx="361">
                  <c:v>83.033000000000001</c:v>
                </c:pt>
                <c:pt idx="362">
                  <c:v>76.667000000000002</c:v>
                </c:pt>
                <c:pt idx="363">
                  <c:v>80.41</c:v>
                </c:pt>
                <c:pt idx="364">
                  <c:v>80.41</c:v>
                </c:pt>
                <c:pt idx="365">
                  <c:v>80.41</c:v>
                </c:pt>
                <c:pt idx="366">
                  <c:v>80.41</c:v>
                </c:pt>
                <c:pt idx="367">
                  <c:v>68.296999999999997</c:v>
                </c:pt>
                <c:pt idx="368">
                  <c:v>62.451000000000001</c:v>
                </c:pt>
                <c:pt idx="369">
                  <c:v>66.355000000000004</c:v>
                </c:pt>
                <c:pt idx="370">
                  <c:v>66.3550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6FA-4BAD-969C-87EDB41DD380}"/>
            </c:ext>
          </c:extLst>
        </c:ser>
        <c:ser>
          <c:idx val="5"/>
          <c:order val="3"/>
          <c:tx>
            <c:v>THE</c:v>
          </c:tx>
          <c:spPr>
            <a:ln w="12700">
              <a:solidFill>
                <a:schemeClr val="accent6"/>
              </a:solidFill>
            </a:ln>
          </c:spPr>
          <c:marker>
            <c:symbol val="none"/>
          </c:marker>
          <c:cat>
            <c:numRef>
              <c:f>'DA_ETF, TTF, NCG og GPL'!$D$5062:$D$5432</c:f>
              <c:numCache>
                <c:formatCode>m/d/yyyy</c:formatCode>
                <c:ptCount val="371"/>
                <c:pt idx="0">
                  <c:v>44562</c:v>
                </c:pt>
                <c:pt idx="1">
                  <c:v>44563</c:v>
                </c:pt>
                <c:pt idx="2">
                  <c:v>44564</c:v>
                </c:pt>
                <c:pt idx="3">
                  <c:v>44565</c:v>
                </c:pt>
                <c:pt idx="4">
                  <c:v>44566</c:v>
                </c:pt>
                <c:pt idx="5">
                  <c:v>44567</c:v>
                </c:pt>
                <c:pt idx="6">
                  <c:v>44568</c:v>
                </c:pt>
                <c:pt idx="7">
                  <c:v>44569</c:v>
                </c:pt>
                <c:pt idx="8">
                  <c:v>44570</c:v>
                </c:pt>
                <c:pt idx="9">
                  <c:v>44571</c:v>
                </c:pt>
                <c:pt idx="10">
                  <c:v>44572</c:v>
                </c:pt>
                <c:pt idx="11">
                  <c:v>44573</c:v>
                </c:pt>
                <c:pt idx="12">
                  <c:v>44574</c:v>
                </c:pt>
                <c:pt idx="13">
                  <c:v>44575</c:v>
                </c:pt>
                <c:pt idx="14">
                  <c:v>44576</c:v>
                </c:pt>
                <c:pt idx="15">
                  <c:v>44577</c:v>
                </c:pt>
                <c:pt idx="16">
                  <c:v>44578</c:v>
                </c:pt>
                <c:pt idx="17">
                  <c:v>44579</c:v>
                </c:pt>
                <c:pt idx="18">
                  <c:v>44580</c:v>
                </c:pt>
                <c:pt idx="19">
                  <c:v>44581</c:v>
                </c:pt>
                <c:pt idx="20">
                  <c:v>44582</c:v>
                </c:pt>
                <c:pt idx="21">
                  <c:v>44583</c:v>
                </c:pt>
                <c:pt idx="22">
                  <c:v>44584</c:v>
                </c:pt>
                <c:pt idx="23">
                  <c:v>44585</c:v>
                </c:pt>
                <c:pt idx="24">
                  <c:v>44586</c:v>
                </c:pt>
                <c:pt idx="25">
                  <c:v>44587</c:v>
                </c:pt>
                <c:pt idx="26">
                  <c:v>44588</c:v>
                </c:pt>
                <c:pt idx="27">
                  <c:v>44589</c:v>
                </c:pt>
                <c:pt idx="28">
                  <c:v>44590</c:v>
                </c:pt>
                <c:pt idx="29">
                  <c:v>44591</c:v>
                </c:pt>
                <c:pt idx="30">
                  <c:v>44592</c:v>
                </c:pt>
                <c:pt idx="31">
                  <c:v>44593</c:v>
                </c:pt>
                <c:pt idx="32">
                  <c:v>44594</c:v>
                </c:pt>
                <c:pt idx="33">
                  <c:v>44595</c:v>
                </c:pt>
                <c:pt idx="34">
                  <c:v>44596</c:v>
                </c:pt>
                <c:pt idx="35">
                  <c:v>44597</c:v>
                </c:pt>
                <c:pt idx="36">
                  <c:v>44598</c:v>
                </c:pt>
                <c:pt idx="37">
                  <c:v>44599</c:v>
                </c:pt>
                <c:pt idx="38">
                  <c:v>44600</c:v>
                </c:pt>
                <c:pt idx="39">
                  <c:v>44601</c:v>
                </c:pt>
                <c:pt idx="40">
                  <c:v>44602</c:v>
                </c:pt>
                <c:pt idx="41">
                  <c:v>44603</c:v>
                </c:pt>
                <c:pt idx="42">
                  <c:v>44604</c:v>
                </c:pt>
                <c:pt idx="43">
                  <c:v>44605</c:v>
                </c:pt>
                <c:pt idx="44">
                  <c:v>44606</c:v>
                </c:pt>
                <c:pt idx="45">
                  <c:v>44607</c:v>
                </c:pt>
                <c:pt idx="46">
                  <c:v>44608</c:v>
                </c:pt>
                <c:pt idx="47">
                  <c:v>44609</c:v>
                </c:pt>
                <c:pt idx="48">
                  <c:v>44610</c:v>
                </c:pt>
                <c:pt idx="49">
                  <c:v>44611</c:v>
                </c:pt>
                <c:pt idx="50">
                  <c:v>44612</c:v>
                </c:pt>
                <c:pt idx="51">
                  <c:v>44613</c:v>
                </c:pt>
                <c:pt idx="52">
                  <c:v>44614</c:v>
                </c:pt>
                <c:pt idx="53">
                  <c:v>44615</c:v>
                </c:pt>
                <c:pt idx="54">
                  <c:v>44616</c:v>
                </c:pt>
                <c:pt idx="55">
                  <c:v>44617</c:v>
                </c:pt>
                <c:pt idx="56">
                  <c:v>44618</c:v>
                </c:pt>
                <c:pt idx="57">
                  <c:v>44619</c:v>
                </c:pt>
                <c:pt idx="58">
                  <c:v>44620</c:v>
                </c:pt>
                <c:pt idx="59">
                  <c:v>44621</c:v>
                </c:pt>
                <c:pt idx="60">
                  <c:v>44622</c:v>
                </c:pt>
                <c:pt idx="61">
                  <c:v>44623</c:v>
                </c:pt>
                <c:pt idx="62">
                  <c:v>44624</c:v>
                </c:pt>
                <c:pt idx="63">
                  <c:v>44625</c:v>
                </c:pt>
                <c:pt idx="64">
                  <c:v>44626</c:v>
                </c:pt>
                <c:pt idx="65">
                  <c:v>44627</c:v>
                </c:pt>
                <c:pt idx="66">
                  <c:v>44628</c:v>
                </c:pt>
                <c:pt idx="67">
                  <c:v>44629</c:v>
                </c:pt>
                <c:pt idx="68">
                  <c:v>44630</c:v>
                </c:pt>
                <c:pt idx="69">
                  <c:v>44631</c:v>
                </c:pt>
                <c:pt idx="70">
                  <c:v>44632</c:v>
                </c:pt>
                <c:pt idx="71">
                  <c:v>44633</c:v>
                </c:pt>
                <c:pt idx="72">
                  <c:v>44634</c:v>
                </c:pt>
                <c:pt idx="73">
                  <c:v>44635</c:v>
                </c:pt>
                <c:pt idx="74">
                  <c:v>44636</c:v>
                </c:pt>
                <c:pt idx="75">
                  <c:v>44637</c:v>
                </c:pt>
                <c:pt idx="76">
                  <c:v>44638</c:v>
                </c:pt>
                <c:pt idx="77">
                  <c:v>44639</c:v>
                </c:pt>
                <c:pt idx="78">
                  <c:v>44640</c:v>
                </c:pt>
                <c:pt idx="79">
                  <c:v>44641</c:v>
                </c:pt>
                <c:pt idx="80">
                  <c:v>44642</c:v>
                </c:pt>
                <c:pt idx="81">
                  <c:v>44643</c:v>
                </c:pt>
                <c:pt idx="82">
                  <c:v>44644</c:v>
                </c:pt>
                <c:pt idx="83">
                  <c:v>44645</c:v>
                </c:pt>
                <c:pt idx="84">
                  <c:v>44646</c:v>
                </c:pt>
                <c:pt idx="85">
                  <c:v>44647</c:v>
                </c:pt>
                <c:pt idx="86">
                  <c:v>44648</c:v>
                </c:pt>
                <c:pt idx="87">
                  <c:v>44649</c:v>
                </c:pt>
                <c:pt idx="88">
                  <c:v>44650</c:v>
                </c:pt>
                <c:pt idx="89">
                  <c:v>44651</c:v>
                </c:pt>
                <c:pt idx="90">
                  <c:v>44652</c:v>
                </c:pt>
                <c:pt idx="91">
                  <c:v>44653</c:v>
                </c:pt>
                <c:pt idx="92">
                  <c:v>44654</c:v>
                </c:pt>
                <c:pt idx="93">
                  <c:v>44655</c:v>
                </c:pt>
                <c:pt idx="94">
                  <c:v>44656</c:v>
                </c:pt>
                <c:pt idx="95">
                  <c:v>44657</c:v>
                </c:pt>
                <c:pt idx="96">
                  <c:v>44658</c:v>
                </c:pt>
                <c:pt idx="97">
                  <c:v>44659</c:v>
                </c:pt>
                <c:pt idx="98">
                  <c:v>44660</c:v>
                </c:pt>
                <c:pt idx="99">
                  <c:v>44661</c:v>
                </c:pt>
                <c:pt idx="100">
                  <c:v>44662</c:v>
                </c:pt>
                <c:pt idx="101">
                  <c:v>44663</c:v>
                </c:pt>
                <c:pt idx="102">
                  <c:v>44664</c:v>
                </c:pt>
                <c:pt idx="103">
                  <c:v>44665</c:v>
                </c:pt>
                <c:pt idx="104">
                  <c:v>44666</c:v>
                </c:pt>
                <c:pt idx="105">
                  <c:v>44667</c:v>
                </c:pt>
                <c:pt idx="106">
                  <c:v>44668</c:v>
                </c:pt>
                <c:pt idx="107">
                  <c:v>44669</c:v>
                </c:pt>
                <c:pt idx="108">
                  <c:v>44670</c:v>
                </c:pt>
                <c:pt idx="109">
                  <c:v>44671</c:v>
                </c:pt>
                <c:pt idx="110">
                  <c:v>44672</c:v>
                </c:pt>
                <c:pt idx="111">
                  <c:v>44673</c:v>
                </c:pt>
                <c:pt idx="112">
                  <c:v>44674</c:v>
                </c:pt>
                <c:pt idx="113">
                  <c:v>44675</c:v>
                </c:pt>
                <c:pt idx="114">
                  <c:v>44676</c:v>
                </c:pt>
                <c:pt idx="115">
                  <c:v>44677</c:v>
                </c:pt>
                <c:pt idx="116">
                  <c:v>44678</c:v>
                </c:pt>
                <c:pt idx="117">
                  <c:v>44679</c:v>
                </c:pt>
                <c:pt idx="118">
                  <c:v>44680</c:v>
                </c:pt>
                <c:pt idx="119">
                  <c:v>44681</c:v>
                </c:pt>
                <c:pt idx="120">
                  <c:v>44682</c:v>
                </c:pt>
                <c:pt idx="121">
                  <c:v>44683</c:v>
                </c:pt>
                <c:pt idx="122">
                  <c:v>44684</c:v>
                </c:pt>
                <c:pt idx="123">
                  <c:v>44685</c:v>
                </c:pt>
                <c:pt idx="124">
                  <c:v>44686</c:v>
                </c:pt>
                <c:pt idx="125">
                  <c:v>44687</c:v>
                </c:pt>
                <c:pt idx="126">
                  <c:v>44688</c:v>
                </c:pt>
                <c:pt idx="127">
                  <c:v>44689</c:v>
                </c:pt>
                <c:pt idx="128">
                  <c:v>44690</c:v>
                </c:pt>
                <c:pt idx="129">
                  <c:v>44691</c:v>
                </c:pt>
                <c:pt idx="130">
                  <c:v>44692</c:v>
                </c:pt>
                <c:pt idx="131">
                  <c:v>44693</c:v>
                </c:pt>
                <c:pt idx="132">
                  <c:v>44694</c:v>
                </c:pt>
                <c:pt idx="133">
                  <c:v>44695</c:v>
                </c:pt>
                <c:pt idx="134">
                  <c:v>44696</c:v>
                </c:pt>
                <c:pt idx="135">
                  <c:v>44697</c:v>
                </c:pt>
                <c:pt idx="136">
                  <c:v>44698</c:v>
                </c:pt>
                <c:pt idx="137">
                  <c:v>44699</c:v>
                </c:pt>
                <c:pt idx="138">
                  <c:v>44700</c:v>
                </c:pt>
                <c:pt idx="139">
                  <c:v>44701</c:v>
                </c:pt>
                <c:pt idx="140">
                  <c:v>44702</c:v>
                </c:pt>
                <c:pt idx="141">
                  <c:v>44703</c:v>
                </c:pt>
                <c:pt idx="142">
                  <c:v>44704</c:v>
                </c:pt>
                <c:pt idx="143">
                  <c:v>44705</c:v>
                </c:pt>
                <c:pt idx="144">
                  <c:v>44706</c:v>
                </c:pt>
                <c:pt idx="145">
                  <c:v>44707</c:v>
                </c:pt>
                <c:pt idx="146">
                  <c:v>44708</c:v>
                </c:pt>
                <c:pt idx="147">
                  <c:v>44709</c:v>
                </c:pt>
                <c:pt idx="148">
                  <c:v>44710</c:v>
                </c:pt>
                <c:pt idx="149">
                  <c:v>44711</c:v>
                </c:pt>
                <c:pt idx="150">
                  <c:v>44712</c:v>
                </c:pt>
                <c:pt idx="151">
                  <c:v>44713</c:v>
                </c:pt>
                <c:pt idx="152">
                  <c:v>44714</c:v>
                </c:pt>
                <c:pt idx="153">
                  <c:v>44715</c:v>
                </c:pt>
                <c:pt idx="154">
                  <c:v>44716</c:v>
                </c:pt>
                <c:pt idx="155">
                  <c:v>44717</c:v>
                </c:pt>
                <c:pt idx="156">
                  <c:v>44718</c:v>
                </c:pt>
                <c:pt idx="157">
                  <c:v>44719</c:v>
                </c:pt>
                <c:pt idx="158">
                  <c:v>44720</c:v>
                </c:pt>
                <c:pt idx="159">
                  <c:v>44721</c:v>
                </c:pt>
                <c:pt idx="160">
                  <c:v>44722</c:v>
                </c:pt>
                <c:pt idx="161">
                  <c:v>44723</c:v>
                </c:pt>
                <c:pt idx="162">
                  <c:v>44724</c:v>
                </c:pt>
                <c:pt idx="163">
                  <c:v>44725</c:v>
                </c:pt>
                <c:pt idx="164">
                  <c:v>44726</c:v>
                </c:pt>
                <c:pt idx="165">
                  <c:v>44727</c:v>
                </c:pt>
                <c:pt idx="166">
                  <c:v>44728</c:v>
                </c:pt>
                <c:pt idx="167">
                  <c:v>44729</c:v>
                </c:pt>
                <c:pt idx="168">
                  <c:v>44730</c:v>
                </c:pt>
                <c:pt idx="169">
                  <c:v>44731</c:v>
                </c:pt>
                <c:pt idx="170">
                  <c:v>44732</c:v>
                </c:pt>
                <c:pt idx="171">
                  <c:v>44733</c:v>
                </c:pt>
                <c:pt idx="172">
                  <c:v>44734</c:v>
                </c:pt>
                <c:pt idx="173">
                  <c:v>44735</c:v>
                </c:pt>
                <c:pt idx="174">
                  <c:v>44736</c:v>
                </c:pt>
                <c:pt idx="175">
                  <c:v>44737</c:v>
                </c:pt>
                <c:pt idx="176">
                  <c:v>44738</c:v>
                </c:pt>
                <c:pt idx="177">
                  <c:v>44739</c:v>
                </c:pt>
                <c:pt idx="178">
                  <c:v>44740</c:v>
                </c:pt>
                <c:pt idx="179">
                  <c:v>44741</c:v>
                </c:pt>
                <c:pt idx="180">
                  <c:v>44742</c:v>
                </c:pt>
                <c:pt idx="181">
                  <c:v>44743</c:v>
                </c:pt>
                <c:pt idx="182">
                  <c:v>44744</c:v>
                </c:pt>
                <c:pt idx="183">
                  <c:v>44745</c:v>
                </c:pt>
                <c:pt idx="184">
                  <c:v>44746</c:v>
                </c:pt>
                <c:pt idx="185">
                  <c:v>44747</c:v>
                </c:pt>
                <c:pt idx="186">
                  <c:v>44748</c:v>
                </c:pt>
                <c:pt idx="187">
                  <c:v>44749</c:v>
                </c:pt>
                <c:pt idx="188">
                  <c:v>44750</c:v>
                </c:pt>
                <c:pt idx="189">
                  <c:v>44751</c:v>
                </c:pt>
                <c:pt idx="190">
                  <c:v>44752</c:v>
                </c:pt>
                <c:pt idx="191">
                  <c:v>44753</c:v>
                </c:pt>
                <c:pt idx="192">
                  <c:v>44754</c:v>
                </c:pt>
                <c:pt idx="193">
                  <c:v>44755</c:v>
                </c:pt>
                <c:pt idx="194">
                  <c:v>44756</c:v>
                </c:pt>
                <c:pt idx="195">
                  <c:v>44757</c:v>
                </c:pt>
                <c:pt idx="196">
                  <c:v>44758</c:v>
                </c:pt>
                <c:pt idx="197">
                  <c:v>44759</c:v>
                </c:pt>
                <c:pt idx="198">
                  <c:v>44760</c:v>
                </c:pt>
                <c:pt idx="199">
                  <c:v>44761</c:v>
                </c:pt>
                <c:pt idx="200">
                  <c:v>44762</c:v>
                </c:pt>
                <c:pt idx="201">
                  <c:v>44763</c:v>
                </c:pt>
                <c:pt idx="202">
                  <c:v>44764</c:v>
                </c:pt>
                <c:pt idx="203">
                  <c:v>44765</c:v>
                </c:pt>
                <c:pt idx="204">
                  <c:v>44766</c:v>
                </c:pt>
                <c:pt idx="205">
                  <c:v>44767</c:v>
                </c:pt>
                <c:pt idx="206">
                  <c:v>44768</c:v>
                </c:pt>
                <c:pt idx="207">
                  <c:v>44769</c:v>
                </c:pt>
                <c:pt idx="208">
                  <c:v>44770</c:v>
                </c:pt>
                <c:pt idx="209">
                  <c:v>44771</c:v>
                </c:pt>
                <c:pt idx="210">
                  <c:v>44772</c:v>
                </c:pt>
                <c:pt idx="211">
                  <c:v>44773</c:v>
                </c:pt>
                <c:pt idx="212">
                  <c:v>44774</c:v>
                </c:pt>
                <c:pt idx="213">
                  <c:v>44775</c:v>
                </c:pt>
                <c:pt idx="214">
                  <c:v>44776</c:v>
                </c:pt>
                <c:pt idx="215">
                  <c:v>44777</c:v>
                </c:pt>
                <c:pt idx="216">
                  <c:v>44778</c:v>
                </c:pt>
                <c:pt idx="217">
                  <c:v>44779</c:v>
                </c:pt>
                <c:pt idx="218">
                  <c:v>44780</c:v>
                </c:pt>
                <c:pt idx="219">
                  <c:v>44781</c:v>
                </c:pt>
                <c:pt idx="220">
                  <c:v>44782</c:v>
                </c:pt>
                <c:pt idx="221">
                  <c:v>44783</c:v>
                </c:pt>
                <c:pt idx="222">
                  <c:v>44784</c:v>
                </c:pt>
                <c:pt idx="223">
                  <c:v>44785</c:v>
                </c:pt>
                <c:pt idx="224">
                  <c:v>44786</c:v>
                </c:pt>
                <c:pt idx="225">
                  <c:v>44787</c:v>
                </c:pt>
                <c:pt idx="226">
                  <c:v>44788</c:v>
                </c:pt>
                <c:pt idx="227">
                  <c:v>44789</c:v>
                </c:pt>
                <c:pt idx="228">
                  <c:v>44790</c:v>
                </c:pt>
                <c:pt idx="229">
                  <c:v>44791</c:v>
                </c:pt>
                <c:pt idx="230">
                  <c:v>44792</c:v>
                </c:pt>
                <c:pt idx="231">
                  <c:v>44793</c:v>
                </c:pt>
                <c:pt idx="232">
                  <c:v>44794</c:v>
                </c:pt>
                <c:pt idx="233">
                  <c:v>44795</c:v>
                </c:pt>
                <c:pt idx="234">
                  <c:v>44796</c:v>
                </c:pt>
                <c:pt idx="235">
                  <c:v>44797</c:v>
                </c:pt>
                <c:pt idx="236">
                  <c:v>44798</c:v>
                </c:pt>
                <c:pt idx="237">
                  <c:v>44799</c:v>
                </c:pt>
                <c:pt idx="238">
                  <c:v>44800</c:v>
                </c:pt>
                <c:pt idx="239">
                  <c:v>44801</c:v>
                </c:pt>
                <c:pt idx="240">
                  <c:v>44802</c:v>
                </c:pt>
                <c:pt idx="241">
                  <c:v>44803</c:v>
                </c:pt>
                <c:pt idx="242">
                  <c:v>44804</c:v>
                </c:pt>
                <c:pt idx="243">
                  <c:v>44805</c:v>
                </c:pt>
                <c:pt idx="244">
                  <c:v>44806</c:v>
                </c:pt>
                <c:pt idx="245">
                  <c:v>44807</c:v>
                </c:pt>
                <c:pt idx="246">
                  <c:v>44808</c:v>
                </c:pt>
                <c:pt idx="247">
                  <c:v>44809</c:v>
                </c:pt>
                <c:pt idx="248">
                  <c:v>44810</c:v>
                </c:pt>
                <c:pt idx="249">
                  <c:v>44811</c:v>
                </c:pt>
                <c:pt idx="250">
                  <c:v>44812</c:v>
                </c:pt>
                <c:pt idx="251">
                  <c:v>44813</c:v>
                </c:pt>
                <c:pt idx="252">
                  <c:v>44814</c:v>
                </c:pt>
                <c:pt idx="253">
                  <c:v>44815</c:v>
                </c:pt>
                <c:pt idx="254">
                  <c:v>44816</c:v>
                </c:pt>
                <c:pt idx="255">
                  <c:v>44817</c:v>
                </c:pt>
                <c:pt idx="256">
                  <c:v>44818</c:v>
                </c:pt>
                <c:pt idx="257">
                  <c:v>44819</c:v>
                </c:pt>
                <c:pt idx="258">
                  <c:v>44820</c:v>
                </c:pt>
                <c:pt idx="259">
                  <c:v>44821</c:v>
                </c:pt>
                <c:pt idx="260">
                  <c:v>44822</c:v>
                </c:pt>
                <c:pt idx="261">
                  <c:v>44823</c:v>
                </c:pt>
                <c:pt idx="262">
                  <c:v>44824</c:v>
                </c:pt>
                <c:pt idx="263">
                  <c:v>44825</c:v>
                </c:pt>
                <c:pt idx="264">
                  <c:v>44826</c:v>
                </c:pt>
                <c:pt idx="265">
                  <c:v>44827</c:v>
                </c:pt>
                <c:pt idx="266">
                  <c:v>44828</c:v>
                </c:pt>
                <c:pt idx="267">
                  <c:v>44829</c:v>
                </c:pt>
                <c:pt idx="268">
                  <c:v>44830</c:v>
                </c:pt>
                <c:pt idx="269">
                  <c:v>44831</c:v>
                </c:pt>
                <c:pt idx="270">
                  <c:v>44832</c:v>
                </c:pt>
                <c:pt idx="271">
                  <c:v>44833</c:v>
                </c:pt>
                <c:pt idx="272">
                  <c:v>44834</c:v>
                </c:pt>
                <c:pt idx="273">
                  <c:v>44835</c:v>
                </c:pt>
                <c:pt idx="274">
                  <c:v>44836</c:v>
                </c:pt>
                <c:pt idx="275">
                  <c:v>44837</c:v>
                </c:pt>
                <c:pt idx="276">
                  <c:v>44838</c:v>
                </c:pt>
                <c:pt idx="277">
                  <c:v>44839</c:v>
                </c:pt>
                <c:pt idx="278">
                  <c:v>44840</c:v>
                </c:pt>
                <c:pt idx="279">
                  <c:v>44841</c:v>
                </c:pt>
                <c:pt idx="280">
                  <c:v>44842</c:v>
                </c:pt>
                <c:pt idx="281">
                  <c:v>44843</c:v>
                </c:pt>
                <c:pt idx="282">
                  <c:v>44844</c:v>
                </c:pt>
                <c:pt idx="283">
                  <c:v>44845</c:v>
                </c:pt>
                <c:pt idx="284">
                  <c:v>44846</c:v>
                </c:pt>
                <c:pt idx="285">
                  <c:v>44847</c:v>
                </c:pt>
                <c:pt idx="286">
                  <c:v>44848</c:v>
                </c:pt>
                <c:pt idx="287">
                  <c:v>44849</c:v>
                </c:pt>
                <c:pt idx="288">
                  <c:v>44850</c:v>
                </c:pt>
                <c:pt idx="289">
                  <c:v>44851</c:v>
                </c:pt>
                <c:pt idx="290">
                  <c:v>44852</c:v>
                </c:pt>
                <c:pt idx="291">
                  <c:v>44853</c:v>
                </c:pt>
                <c:pt idx="292">
                  <c:v>44854</c:v>
                </c:pt>
                <c:pt idx="293">
                  <c:v>44855</c:v>
                </c:pt>
                <c:pt idx="294">
                  <c:v>44856</c:v>
                </c:pt>
                <c:pt idx="295">
                  <c:v>44857</c:v>
                </c:pt>
                <c:pt idx="296">
                  <c:v>44858</c:v>
                </c:pt>
                <c:pt idx="297">
                  <c:v>44859</c:v>
                </c:pt>
                <c:pt idx="298">
                  <c:v>44860</c:v>
                </c:pt>
                <c:pt idx="299">
                  <c:v>44861</c:v>
                </c:pt>
                <c:pt idx="300">
                  <c:v>44862</c:v>
                </c:pt>
                <c:pt idx="301">
                  <c:v>44863</c:v>
                </c:pt>
                <c:pt idx="302">
                  <c:v>44864</c:v>
                </c:pt>
                <c:pt idx="303">
                  <c:v>44865</c:v>
                </c:pt>
                <c:pt idx="304">
                  <c:v>44866</c:v>
                </c:pt>
                <c:pt idx="305">
                  <c:v>44867</c:v>
                </c:pt>
                <c:pt idx="306">
                  <c:v>44868</c:v>
                </c:pt>
                <c:pt idx="307">
                  <c:v>44869</c:v>
                </c:pt>
                <c:pt idx="308">
                  <c:v>44870</c:v>
                </c:pt>
                <c:pt idx="309">
                  <c:v>44871</c:v>
                </c:pt>
                <c:pt idx="310">
                  <c:v>44872</c:v>
                </c:pt>
                <c:pt idx="311">
                  <c:v>44873</c:v>
                </c:pt>
                <c:pt idx="312">
                  <c:v>44874</c:v>
                </c:pt>
                <c:pt idx="313">
                  <c:v>44875</c:v>
                </c:pt>
                <c:pt idx="314">
                  <c:v>44876</c:v>
                </c:pt>
                <c:pt idx="315">
                  <c:v>44877</c:v>
                </c:pt>
                <c:pt idx="316">
                  <c:v>44878</c:v>
                </c:pt>
                <c:pt idx="317">
                  <c:v>44879</c:v>
                </c:pt>
                <c:pt idx="318">
                  <c:v>44880</c:v>
                </c:pt>
                <c:pt idx="319">
                  <c:v>44881</c:v>
                </c:pt>
                <c:pt idx="320">
                  <c:v>44882</c:v>
                </c:pt>
                <c:pt idx="321">
                  <c:v>44883</c:v>
                </c:pt>
                <c:pt idx="322">
                  <c:v>44884</c:v>
                </c:pt>
                <c:pt idx="323">
                  <c:v>44885</c:v>
                </c:pt>
                <c:pt idx="324">
                  <c:v>44886</c:v>
                </c:pt>
                <c:pt idx="325">
                  <c:v>44887</c:v>
                </c:pt>
                <c:pt idx="326">
                  <c:v>44888</c:v>
                </c:pt>
                <c:pt idx="327">
                  <c:v>44889</c:v>
                </c:pt>
                <c:pt idx="328">
                  <c:v>44890</c:v>
                </c:pt>
                <c:pt idx="329">
                  <c:v>44891</c:v>
                </c:pt>
                <c:pt idx="330">
                  <c:v>44892</c:v>
                </c:pt>
                <c:pt idx="331">
                  <c:v>44893</c:v>
                </c:pt>
                <c:pt idx="332">
                  <c:v>44894</c:v>
                </c:pt>
                <c:pt idx="333">
                  <c:v>44895</c:v>
                </c:pt>
                <c:pt idx="334">
                  <c:v>44896</c:v>
                </c:pt>
                <c:pt idx="335">
                  <c:v>44897</c:v>
                </c:pt>
                <c:pt idx="336">
                  <c:v>44898</c:v>
                </c:pt>
                <c:pt idx="337">
                  <c:v>44899</c:v>
                </c:pt>
                <c:pt idx="338">
                  <c:v>44900</c:v>
                </c:pt>
                <c:pt idx="339">
                  <c:v>44901</c:v>
                </c:pt>
                <c:pt idx="340">
                  <c:v>44902</c:v>
                </c:pt>
                <c:pt idx="341">
                  <c:v>44903</c:v>
                </c:pt>
                <c:pt idx="342">
                  <c:v>44904</c:v>
                </c:pt>
                <c:pt idx="343">
                  <c:v>44905</c:v>
                </c:pt>
                <c:pt idx="344">
                  <c:v>44906</c:v>
                </c:pt>
                <c:pt idx="345">
                  <c:v>44907</c:v>
                </c:pt>
                <c:pt idx="346">
                  <c:v>44908</c:v>
                </c:pt>
                <c:pt idx="347">
                  <c:v>44909</c:v>
                </c:pt>
                <c:pt idx="348">
                  <c:v>44910</c:v>
                </c:pt>
                <c:pt idx="349">
                  <c:v>44911</c:v>
                </c:pt>
                <c:pt idx="350">
                  <c:v>44912</c:v>
                </c:pt>
                <c:pt idx="351">
                  <c:v>44913</c:v>
                </c:pt>
                <c:pt idx="352">
                  <c:v>44914</c:v>
                </c:pt>
                <c:pt idx="353">
                  <c:v>44915</c:v>
                </c:pt>
                <c:pt idx="354">
                  <c:v>44916</c:v>
                </c:pt>
                <c:pt idx="355">
                  <c:v>44917</c:v>
                </c:pt>
                <c:pt idx="356">
                  <c:v>44918</c:v>
                </c:pt>
                <c:pt idx="357">
                  <c:v>44919</c:v>
                </c:pt>
                <c:pt idx="358">
                  <c:v>44920</c:v>
                </c:pt>
                <c:pt idx="359">
                  <c:v>44921</c:v>
                </c:pt>
                <c:pt idx="360">
                  <c:v>44922</c:v>
                </c:pt>
                <c:pt idx="361">
                  <c:v>44923</c:v>
                </c:pt>
                <c:pt idx="362">
                  <c:v>44924</c:v>
                </c:pt>
                <c:pt idx="363">
                  <c:v>44925</c:v>
                </c:pt>
                <c:pt idx="364">
                  <c:v>44926</c:v>
                </c:pt>
                <c:pt idx="365">
                  <c:v>44927</c:v>
                </c:pt>
                <c:pt idx="366">
                  <c:v>44928</c:v>
                </c:pt>
                <c:pt idx="367">
                  <c:v>44929</c:v>
                </c:pt>
                <c:pt idx="368">
                  <c:v>44930</c:v>
                </c:pt>
                <c:pt idx="369">
                  <c:v>44931</c:v>
                </c:pt>
                <c:pt idx="370">
                  <c:v>44932</c:v>
                </c:pt>
              </c:numCache>
            </c:numRef>
          </c:cat>
          <c:val>
            <c:numRef>
              <c:f>'DA_ETF, TTF, NCG og GPL'!$G$5062:$G$5432</c:f>
              <c:numCache>
                <c:formatCode>0.00</c:formatCode>
                <c:ptCount val="371"/>
                <c:pt idx="0">
                  <c:v>70.807000000000002</c:v>
                </c:pt>
                <c:pt idx="1">
                  <c:v>70.807000000000002</c:v>
                </c:pt>
                <c:pt idx="2">
                  <c:v>70.807000000000002</c:v>
                </c:pt>
                <c:pt idx="3">
                  <c:v>71.981999999999999</c:v>
                </c:pt>
                <c:pt idx="4">
                  <c:v>91.337999999999994</c:v>
                </c:pt>
                <c:pt idx="5">
                  <c:v>92.597999999999999</c:v>
                </c:pt>
                <c:pt idx="6">
                  <c:v>94.548000000000002</c:v>
                </c:pt>
                <c:pt idx="7">
                  <c:v>90.885999999999996</c:v>
                </c:pt>
                <c:pt idx="8">
                  <c:v>90.885999999999996</c:v>
                </c:pt>
                <c:pt idx="9">
                  <c:v>91.43</c:v>
                </c:pt>
                <c:pt idx="10">
                  <c:v>88.498000000000005</c:v>
                </c:pt>
                <c:pt idx="11">
                  <c:v>82.674999999999997</c:v>
                </c:pt>
                <c:pt idx="12">
                  <c:v>79.105000000000004</c:v>
                </c:pt>
                <c:pt idx="13">
                  <c:v>79.105000000000004</c:v>
                </c:pt>
                <c:pt idx="14">
                  <c:v>89.823999999999998</c:v>
                </c:pt>
                <c:pt idx="15">
                  <c:v>89.823999999999998</c:v>
                </c:pt>
                <c:pt idx="16">
                  <c:v>90.021000000000001</c:v>
                </c:pt>
                <c:pt idx="17">
                  <c:v>80.637</c:v>
                </c:pt>
                <c:pt idx="18">
                  <c:v>78.242000000000004</c:v>
                </c:pt>
                <c:pt idx="19">
                  <c:v>74.748000000000005</c:v>
                </c:pt>
                <c:pt idx="20">
                  <c:v>74.400000000000006</c:v>
                </c:pt>
                <c:pt idx="21">
                  <c:v>79.12</c:v>
                </c:pt>
                <c:pt idx="22">
                  <c:v>79.12</c:v>
                </c:pt>
                <c:pt idx="23">
                  <c:v>79.421999999999997</c:v>
                </c:pt>
                <c:pt idx="24">
                  <c:v>91.751999999999995</c:v>
                </c:pt>
                <c:pt idx="25">
                  <c:v>93.456999999999994</c:v>
                </c:pt>
                <c:pt idx="26">
                  <c:v>91.861000000000004</c:v>
                </c:pt>
                <c:pt idx="27">
                  <c:v>92.468999999999994</c:v>
                </c:pt>
                <c:pt idx="28">
                  <c:v>92.725999999999999</c:v>
                </c:pt>
                <c:pt idx="29">
                  <c:v>92.725999999999999</c:v>
                </c:pt>
                <c:pt idx="30">
                  <c:v>92.831000000000003</c:v>
                </c:pt>
                <c:pt idx="31">
                  <c:v>86.424999999999997</c:v>
                </c:pt>
                <c:pt idx="32">
                  <c:v>76.483999999999995</c:v>
                </c:pt>
                <c:pt idx="33">
                  <c:v>77.927999999999997</c:v>
                </c:pt>
                <c:pt idx="34">
                  <c:v>78.694000000000003</c:v>
                </c:pt>
                <c:pt idx="35">
                  <c:v>82.063999999999993</c:v>
                </c:pt>
                <c:pt idx="36">
                  <c:v>82.063999999999993</c:v>
                </c:pt>
                <c:pt idx="37">
                  <c:v>82.234999999999999</c:v>
                </c:pt>
                <c:pt idx="38">
                  <c:v>78.596000000000004</c:v>
                </c:pt>
                <c:pt idx="39">
                  <c:v>79.450999999999993</c:v>
                </c:pt>
                <c:pt idx="40">
                  <c:v>75.915000000000006</c:v>
                </c:pt>
                <c:pt idx="41">
                  <c:v>74.39</c:v>
                </c:pt>
                <c:pt idx="42">
                  <c:v>75.533000000000001</c:v>
                </c:pt>
                <c:pt idx="43">
                  <c:v>75.533000000000001</c:v>
                </c:pt>
                <c:pt idx="44">
                  <c:v>75.554000000000002</c:v>
                </c:pt>
                <c:pt idx="45">
                  <c:v>81.19</c:v>
                </c:pt>
                <c:pt idx="46">
                  <c:v>72.742000000000004</c:v>
                </c:pt>
                <c:pt idx="47">
                  <c:v>69.370999999999995</c:v>
                </c:pt>
                <c:pt idx="48">
                  <c:v>73.102999999999994</c:v>
                </c:pt>
                <c:pt idx="49">
                  <c:v>72.302000000000007</c:v>
                </c:pt>
                <c:pt idx="50">
                  <c:v>72.302000000000007</c:v>
                </c:pt>
                <c:pt idx="51">
                  <c:v>72.542000000000002</c:v>
                </c:pt>
                <c:pt idx="52">
                  <c:v>73.224999999999994</c:v>
                </c:pt>
                <c:pt idx="53">
                  <c:v>79.432000000000002</c:v>
                </c:pt>
                <c:pt idx="54">
                  <c:v>87.042000000000002</c:v>
                </c:pt>
                <c:pt idx="55">
                  <c:v>125.967</c:v>
                </c:pt>
                <c:pt idx="56">
                  <c:v>97.272999999999996</c:v>
                </c:pt>
                <c:pt idx="57">
                  <c:v>97.272999999999996</c:v>
                </c:pt>
                <c:pt idx="58">
                  <c:v>98.02</c:v>
                </c:pt>
                <c:pt idx="59">
                  <c:v>104.73399999999999</c:v>
                </c:pt>
                <c:pt idx="60">
                  <c:v>117.791</c:v>
                </c:pt>
                <c:pt idx="61">
                  <c:v>166.24600000000001</c:v>
                </c:pt>
                <c:pt idx="62">
                  <c:v>164.459</c:v>
                </c:pt>
                <c:pt idx="63">
                  <c:v>188.30500000000001</c:v>
                </c:pt>
                <c:pt idx="64">
                  <c:v>188.30500000000001</c:v>
                </c:pt>
                <c:pt idx="65">
                  <c:v>189.47399999999999</c:v>
                </c:pt>
                <c:pt idx="66">
                  <c:v>246.94200000000001</c:v>
                </c:pt>
                <c:pt idx="67">
                  <c:v>212.93</c:v>
                </c:pt>
                <c:pt idx="68">
                  <c:v>163.49299999999999</c:v>
                </c:pt>
                <c:pt idx="69">
                  <c:v>133.52799999999999</c:v>
                </c:pt>
                <c:pt idx="70">
                  <c:v>125.259</c:v>
                </c:pt>
                <c:pt idx="71">
                  <c:v>125.259</c:v>
                </c:pt>
                <c:pt idx="72">
                  <c:v>127.709</c:v>
                </c:pt>
                <c:pt idx="73">
                  <c:v>114.935</c:v>
                </c:pt>
                <c:pt idx="74">
                  <c:v>116.426</c:v>
                </c:pt>
                <c:pt idx="75">
                  <c:v>106.087</c:v>
                </c:pt>
                <c:pt idx="76">
                  <c:v>105.083</c:v>
                </c:pt>
                <c:pt idx="77">
                  <c:v>101.04600000000001</c:v>
                </c:pt>
                <c:pt idx="78">
                  <c:v>101.04600000000001</c:v>
                </c:pt>
                <c:pt idx="79">
                  <c:v>101.48699999999999</c:v>
                </c:pt>
                <c:pt idx="80">
                  <c:v>96.215999999999994</c:v>
                </c:pt>
                <c:pt idx="81">
                  <c:v>96.188000000000002</c:v>
                </c:pt>
                <c:pt idx="82">
                  <c:v>109.395</c:v>
                </c:pt>
                <c:pt idx="83">
                  <c:v>114.125</c:v>
                </c:pt>
                <c:pt idx="84">
                  <c:v>100.98099999999999</c:v>
                </c:pt>
                <c:pt idx="85">
                  <c:v>100.98099999999999</c:v>
                </c:pt>
                <c:pt idx="86">
                  <c:v>101.827</c:v>
                </c:pt>
                <c:pt idx="87">
                  <c:v>101.95699999999999</c:v>
                </c:pt>
                <c:pt idx="88">
                  <c:v>110.03</c:v>
                </c:pt>
                <c:pt idx="89">
                  <c:v>119.84399999999999</c:v>
                </c:pt>
                <c:pt idx="90">
                  <c:v>121.255</c:v>
                </c:pt>
                <c:pt idx="91">
                  <c:v>120.241</c:v>
                </c:pt>
                <c:pt idx="92">
                  <c:v>120.241</c:v>
                </c:pt>
                <c:pt idx="93">
                  <c:v>120.346</c:v>
                </c:pt>
                <c:pt idx="94">
                  <c:v>111.258</c:v>
                </c:pt>
                <c:pt idx="95">
                  <c:v>109.154</c:v>
                </c:pt>
                <c:pt idx="96">
                  <c:v>108.819</c:v>
                </c:pt>
                <c:pt idx="97">
                  <c:v>105.453</c:v>
                </c:pt>
                <c:pt idx="98">
                  <c:v>107.069</c:v>
                </c:pt>
                <c:pt idx="99">
                  <c:v>107.069</c:v>
                </c:pt>
                <c:pt idx="100">
                  <c:v>107.325</c:v>
                </c:pt>
                <c:pt idx="101">
                  <c:v>102.816</c:v>
                </c:pt>
                <c:pt idx="102">
                  <c:v>103.685</c:v>
                </c:pt>
                <c:pt idx="103">
                  <c:v>104.715</c:v>
                </c:pt>
                <c:pt idx="104">
                  <c:v>97.33</c:v>
                </c:pt>
                <c:pt idx="105">
                  <c:v>97.33</c:v>
                </c:pt>
                <c:pt idx="106">
                  <c:v>97.33</c:v>
                </c:pt>
                <c:pt idx="107">
                  <c:v>97.33</c:v>
                </c:pt>
                <c:pt idx="108">
                  <c:v>98.46</c:v>
                </c:pt>
                <c:pt idx="109">
                  <c:v>93.519000000000005</c:v>
                </c:pt>
                <c:pt idx="110">
                  <c:v>96.082999999999998</c:v>
                </c:pt>
                <c:pt idx="111">
                  <c:v>97.471000000000004</c:v>
                </c:pt>
                <c:pt idx="112">
                  <c:v>95.486000000000004</c:v>
                </c:pt>
                <c:pt idx="113">
                  <c:v>96.421999999999997</c:v>
                </c:pt>
                <c:pt idx="114">
                  <c:v>96.891999999999996</c:v>
                </c:pt>
                <c:pt idx="115">
                  <c:v>94.688999999999993</c:v>
                </c:pt>
                <c:pt idx="116">
                  <c:v>108.398</c:v>
                </c:pt>
                <c:pt idx="117">
                  <c:v>101.985</c:v>
                </c:pt>
                <c:pt idx="118">
                  <c:v>100.434</c:v>
                </c:pt>
                <c:pt idx="119">
                  <c:v>100.434</c:v>
                </c:pt>
                <c:pt idx="120">
                  <c:v>100.434</c:v>
                </c:pt>
                <c:pt idx="121">
                  <c:v>100.813</c:v>
                </c:pt>
                <c:pt idx="122">
                  <c:v>98.744</c:v>
                </c:pt>
                <c:pt idx="123">
                  <c:v>103.21</c:v>
                </c:pt>
                <c:pt idx="124">
                  <c:v>101.49</c:v>
                </c:pt>
                <c:pt idx="125">
                  <c:v>93.875</c:v>
                </c:pt>
                <c:pt idx="126">
                  <c:v>93.875</c:v>
                </c:pt>
                <c:pt idx="127">
                  <c:v>94.918000000000006</c:v>
                </c:pt>
                <c:pt idx="128">
                  <c:v>88</c:v>
                </c:pt>
                <c:pt idx="129">
                  <c:v>84.058000000000007</c:v>
                </c:pt>
                <c:pt idx="130">
                  <c:v>84.575000000000003</c:v>
                </c:pt>
                <c:pt idx="131">
                  <c:v>96.188000000000002</c:v>
                </c:pt>
                <c:pt idx="132">
                  <c:v>91.051000000000002</c:v>
                </c:pt>
                <c:pt idx="133">
                  <c:v>91.051000000000002</c:v>
                </c:pt>
                <c:pt idx="134">
                  <c:v>91.894000000000005</c:v>
                </c:pt>
                <c:pt idx="135">
                  <c:v>92.623999999999995</c:v>
                </c:pt>
                <c:pt idx="136">
                  <c:v>92.99</c:v>
                </c:pt>
                <c:pt idx="137">
                  <c:v>93.894000000000005</c:v>
                </c:pt>
                <c:pt idx="138">
                  <c:v>90.38</c:v>
                </c:pt>
                <c:pt idx="139">
                  <c:v>85.861999999999995</c:v>
                </c:pt>
                <c:pt idx="140">
                  <c:v>85.861999999999995</c:v>
                </c:pt>
                <c:pt idx="141">
                  <c:v>86.503</c:v>
                </c:pt>
                <c:pt idx="142">
                  <c:v>80.55</c:v>
                </c:pt>
                <c:pt idx="143">
                  <c:v>80.478999999999999</c:v>
                </c:pt>
                <c:pt idx="144">
                  <c:v>80.546000000000006</c:v>
                </c:pt>
                <c:pt idx="145">
                  <c:v>81.599999999999994</c:v>
                </c:pt>
                <c:pt idx="146">
                  <c:v>81.798000000000002</c:v>
                </c:pt>
                <c:pt idx="147">
                  <c:v>81.798000000000002</c:v>
                </c:pt>
                <c:pt idx="148">
                  <c:v>82.59</c:v>
                </c:pt>
                <c:pt idx="149">
                  <c:v>87.14</c:v>
                </c:pt>
                <c:pt idx="150">
                  <c:v>90.343999999999994</c:v>
                </c:pt>
                <c:pt idx="151">
                  <c:v>80.802999999999997</c:v>
                </c:pt>
                <c:pt idx="152">
                  <c:v>80.802999999999997</c:v>
                </c:pt>
                <c:pt idx="153">
                  <c:v>80.802999999999997</c:v>
                </c:pt>
                <c:pt idx="154">
                  <c:v>80.802999999999997</c:v>
                </c:pt>
                <c:pt idx="155">
                  <c:v>80.739000000000004</c:v>
                </c:pt>
                <c:pt idx="156">
                  <c:v>80.739000000000004</c:v>
                </c:pt>
                <c:pt idx="157">
                  <c:v>79.768000000000001</c:v>
                </c:pt>
                <c:pt idx="158">
                  <c:v>78.361000000000004</c:v>
                </c:pt>
                <c:pt idx="159">
                  <c:v>77.287999999999997</c:v>
                </c:pt>
                <c:pt idx="160">
                  <c:v>83.933999999999997</c:v>
                </c:pt>
                <c:pt idx="161">
                  <c:v>83.933999999999997</c:v>
                </c:pt>
                <c:pt idx="162">
                  <c:v>80.453000000000003</c:v>
                </c:pt>
                <c:pt idx="163">
                  <c:v>81.221999999999994</c:v>
                </c:pt>
                <c:pt idx="164">
                  <c:v>81.409000000000006</c:v>
                </c:pt>
                <c:pt idx="165">
                  <c:v>91.498999999999995</c:v>
                </c:pt>
                <c:pt idx="166">
                  <c:v>106.569</c:v>
                </c:pt>
                <c:pt idx="167">
                  <c:v>106.569</c:v>
                </c:pt>
                <c:pt idx="168">
                  <c:v>117.61199999999999</c:v>
                </c:pt>
                <c:pt idx="169">
                  <c:v>117.61199999999999</c:v>
                </c:pt>
                <c:pt idx="170">
                  <c:v>118.70399999999999</c:v>
                </c:pt>
                <c:pt idx="171">
                  <c:v>118.70399999999999</c:v>
                </c:pt>
                <c:pt idx="172">
                  <c:v>118.70399999999999</c:v>
                </c:pt>
                <c:pt idx="173">
                  <c:v>127.129</c:v>
                </c:pt>
                <c:pt idx="174">
                  <c:v>132.001</c:v>
                </c:pt>
                <c:pt idx="175">
                  <c:v>132.001</c:v>
                </c:pt>
                <c:pt idx="176">
                  <c:v>132.001</c:v>
                </c:pt>
                <c:pt idx="177">
                  <c:v>128.124</c:v>
                </c:pt>
                <c:pt idx="178">
                  <c:v>131.202</c:v>
                </c:pt>
                <c:pt idx="179">
                  <c:v>129.346</c:v>
                </c:pt>
                <c:pt idx="180">
                  <c:v>138.88999999999999</c:v>
                </c:pt>
                <c:pt idx="181">
                  <c:v>147.26300000000001</c:v>
                </c:pt>
                <c:pt idx="182">
                  <c:v>146.233</c:v>
                </c:pt>
                <c:pt idx="183">
                  <c:v>146.233</c:v>
                </c:pt>
                <c:pt idx="184">
                  <c:v>146.61699999999999</c:v>
                </c:pt>
                <c:pt idx="185">
                  <c:v>146.61699999999999</c:v>
                </c:pt>
                <c:pt idx="186">
                  <c:v>162.411</c:v>
                </c:pt>
                <c:pt idx="187">
                  <c:v>166.69</c:v>
                </c:pt>
                <c:pt idx="188">
                  <c:v>166.69</c:v>
                </c:pt>
                <c:pt idx="189">
                  <c:v>177.32599999999999</c:v>
                </c:pt>
                <c:pt idx="190">
                  <c:v>177.32599999999999</c:v>
                </c:pt>
                <c:pt idx="191">
                  <c:v>178.56899999999999</c:v>
                </c:pt>
                <c:pt idx="192">
                  <c:v>169.88399999999999</c:v>
                </c:pt>
                <c:pt idx="193">
                  <c:v>173.90799999999999</c:v>
                </c:pt>
                <c:pt idx="194">
                  <c:v>182.35599999999999</c:v>
                </c:pt>
                <c:pt idx="195">
                  <c:v>176.31399999999999</c:v>
                </c:pt>
                <c:pt idx="196">
                  <c:v>177.31399999999999</c:v>
                </c:pt>
                <c:pt idx="197">
                  <c:v>178.31399999999999</c:v>
                </c:pt>
                <c:pt idx="198">
                  <c:v>161.95099999999999</c:v>
                </c:pt>
                <c:pt idx="199">
                  <c:v>162.95099999999999</c:v>
                </c:pt>
                <c:pt idx="200">
                  <c:v>163.95099999999999</c:v>
                </c:pt>
                <c:pt idx="201">
                  <c:v>156.78100000000001</c:v>
                </c:pt>
                <c:pt idx="202">
                  <c:v>151.333</c:v>
                </c:pt>
                <c:pt idx="203">
                  <c:v>161.078</c:v>
                </c:pt>
                <c:pt idx="204">
                  <c:v>162.078</c:v>
                </c:pt>
                <c:pt idx="205">
                  <c:v>161.864</c:v>
                </c:pt>
                <c:pt idx="206">
                  <c:v>162.864</c:v>
                </c:pt>
                <c:pt idx="207">
                  <c:v>196.61500000000001</c:v>
                </c:pt>
                <c:pt idx="208">
                  <c:v>211.113</c:v>
                </c:pt>
                <c:pt idx="209">
                  <c:v>205.351</c:v>
                </c:pt>
                <c:pt idx="210">
                  <c:v>193.50399999999999</c:v>
                </c:pt>
                <c:pt idx="211">
                  <c:v>193.50399999999999</c:v>
                </c:pt>
                <c:pt idx="212">
                  <c:v>193.846</c:v>
                </c:pt>
                <c:pt idx="213">
                  <c:v>194.846</c:v>
                </c:pt>
                <c:pt idx="214">
                  <c:v>205.316</c:v>
                </c:pt>
                <c:pt idx="215">
                  <c:v>202.24</c:v>
                </c:pt>
                <c:pt idx="216">
                  <c:v>196.40600000000001</c:v>
                </c:pt>
                <c:pt idx="217">
                  <c:v>196.13300000000001</c:v>
                </c:pt>
                <c:pt idx="218">
                  <c:v>197.13300000000001</c:v>
                </c:pt>
                <c:pt idx="219">
                  <c:v>198.13300000000001</c:v>
                </c:pt>
                <c:pt idx="220">
                  <c:v>199.13300000000001</c:v>
                </c:pt>
                <c:pt idx="221">
                  <c:v>200.13300000000001</c:v>
                </c:pt>
                <c:pt idx="222">
                  <c:v>202.46700000000001</c:v>
                </c:pt>
                <c:pt idx="223">
                  <c:v>210.88499999999999</c:v>
                </c:pt>
                <c:pt idx="224">
                  <c:v>203.648</c:v>
                </c:pt>
                <c:pt idx="225">
                  <c:v>204.648</c:v>
                </c:pt>
                <c:pt idx="226">
                  <c:v>203.63900000000001</c:v>
                </c:pt>
                <c:pt idx="227">
                  <c:v>212.846</c:v>
                </c:pt>
                <c:pt idx="228">
                  <c:v>235.643</c:v>
                </c:pt>
                <c:pt idx="229">
                  <c:v>231.38499999999999</c:v>
                </c:pt>
                <c:pt idx="230">
                  <c:v>234.53700000000001</c:v>
                </c:pt>
                <c:pt idx="231">
                  <c:v>243.84100000000001</c:v>
                </c:pt>
                <c:pt idx="232">
                  <c:v>244.84100000000001</c:v>
                </c:pt>
                <c:pt idx="233">
                  <c:v>244.68</c:v>
                </c:pt>
                <c:pt idx="234">
                  <c:v>282.30900000000003</c:v>
                </c:pt>
                <c:pt idx="235">
                  <c:v>282.30900000000003</c:v>
                </c:pt>
                <c:pt idx="236">
                  <c:v>272.21199999999999</c:v>
                </c:pt>
                <c:pt idx="237">
                  <c:v>283.49200000000002</c:v>
                </c:pt>
                <c:pt idx="238">
                  <c:v>312.15600000000001</c:v>
                </c:pt>
                <c:pt idx="239">
                  <c:v>312.137</c:v>
                </c:pt>
                <c:pt idx="240">
                  <c:v>312.137</c:v>
                </c:pt>
                <c:pt idx="241">
                  <c:v>313.553</c:v>
                </c:pt>
                <c:pt idx="242">
                  <c:v>262.71100000000001</c:v>
                </c:pt>
                <c:pt idx="243">
                  <c:v>244.32499999999999</c:v>
                </c:pt>
                <c:pt idx="244">
                  <c:v>229.11699999999999</c:v>
                </c:pt>
                <c:pt idx="245">
                  <c:v>194.61</c:v>
                </c:pt>
                <c:pt idx="246">
                  <c:v>194.61</c:v>
                </c:pt>
                <c:pt idx="247">
                  <c:v>194.04</c:v>
                </c:pt>
                <c:pt idx="248">
                  <c:v>233.34700000000001</c:v>
                </c:pt>
                <c:pt idx="249">
                  <c:v>212.006</c:v>
                </c:pt>
                <c:pt idx="250">
                  <c:v>215.547</c:v>
                </c:pt>
                <c:pt idx="251">
                  <c:v>198.33199999999999</c:v>
                </c:pt>
                <c:pt idx="252">
                  <c:v>193.91</c:v>
                </c:pt>
                <c:pt idx="253">
                  <c:v>194.45</c:v>
                </c:pt>
                <c:pt idx="254">
                  <c:v>194.45</c:v>
                </c:pt>
                <c:pt idx="255">
                  <c:v>186.64400000000001</c:v>
                </c:pt>
                <c:pt idx="256">
                  <c:v>189.042</c:v>
                </c:pt>
                <c:pt idx="257">
                  <c:v>210.517</c:v>
                </c:pt>
                <c:pt idx="258">
                  <c:v>212.864</c:v>
                </c:pt>
                <c:pt idx="259">
                  <c:v>170.953</c:v>
                </c:pt>
                <c:pt idx="260">
                  <c:v>171.00800000000001</c:v>
                </c:pt>
                <c:pt idx="261">
                  <c:v>171.00800000000001</c:v>
                </c:pt>
                <c:pt idx="262">
                  <c:v>164.88900000000001</c:v>
                </c:pt>
                <c:pt idx="263">
                  <c:v>170.398</c:v>
                </c:pt>
                <c:pt idx="264">
                  <c:v>185.602</c:v>
                </c:pt>
                <c:pt idx="265">
                  <c:v>175.82900000000001</c:v>
                </c:pt>
                <c:pt idx="266">
                  <c:v>167.86600000000001</c:v>
                </c:pt>
                <c:pt idx="267">
                  <c:v>167.86600000000001</c:v>
                </c:pt>
                <c:pt idx="268">
                  <c:v>169.68899999999999</c:v>
                </c:pt>
                <c:pt idx="269">
                  <c:v>166.09299999999999</c:v>
                </c:pt>
                <c:pt idx="270">
                  <c:v>189.56200000000001</c:v>
                </c:pt>
                <c:pt idx="271">
                  <c:v>200.99100000000001</c:v>
                </c:pt>
                <c:pt idx="272">
                  <c:v>184.858</c:v>
                </c:pt>
                <c:pt idx="273">
                  <c:v>164.578</c:v>
                </c:pt>
                <c:pt idx="274">
                  <c:v>164.578</c:v>
                </c:pt>
                <c:pt idx="275">
                  <c:v>164.09700000000001</c:v>
                </c:pt>
                <c:pt idx="276">
                  <c:v>140.88200000000001</c:v>
                </c:pt>
                <c:pt idx="277">
                  <c:v>107.251</c:v>
                </c:pt>
                <c:pt idx="278">
                  <c:v>91.861999999999995</c:v>
                </c:pt>
                <c:pt idx="279">
                  <c:v>122.21</c:v>
                </c:pt>
                <c:pt idx="280">
                  <c:v>117.65600000000001</c:v>
                </c:pt>
                <c:pt idx="281">
                  <c:v>117.65600000000001</c:v>
                </c:pt>
                <c:pt idx="282">
                  <c:v>119.32299999999999</c:v>
                </c:pt>
                <c:pt idx="283">
                  <c:v>105.449</c:v>
                </c:pt>
                <c:pt idx="284">
                  <c:v>106.85299999999999</c:v>
                </c:pt>
                <c:pt idx="285">
                  <c:v>105.416</c:v>
                </c:pt>
                <c:pt idx="286">
                  <c:v>98.388999999999996</c:v>
                </c:pt>
                <c:pt idx="287">
                  <c:v>70.555999999999997</c:v>
                </c:pt>
                <c:pt idx="288">
                  <c:v>70.555999999999997</c:v>
                </c:pt>
                <c:pt idx="289">
                  <c:v>72.295000000000002</c:v>
                </c:pt>
                <c:pt idx="290">
                  <c:v>62.112000000000002</c:v>
                </c:pt>
                <c:pt idx="291">
                  <c:v>60.722000000000001</c:v>
                </c:pt>
                <c:pt idx="292">
                  <c:v>70.451999999999998</c:v>
                </c:pt>
                <c:pt idx="293">
                  <c:v>63.773000000000003</c:v>
                </c:pt>
                <c:pt idx="294">
                  <c:v>46.188000000000002</c:v>
                </c:pt>
                <c:pt idx="295">
                  <c:v>46.188000000000002</c:v>
                </c:pt>
                <c:pt idx="296">
                  <c:v>48.243000000000002</c:v>
                </c:pt>
                <c:pt idx="297">
                  <c:v>32.475999999999999</c:v>
                </c:pt>
                <c:pt idx="298">
                  <c:v>39.904000000000003</c:v>
                </c:pt>
                <c:pt idx="299">
                  <c:v>49.656999999999996</c:v>
                </c:pt>
                <c:pt idx="300">
                  <c:v>37.634999999999998</c:v>
                </c:pt>
                <c:pt idx="301">
                  <c:v>31.835000000000001</c:v>
                </c:pt>
                <c:pt idx="302">
                  <c:v>35.011000000000003</c:v>
                </c:pt>
                <c:pt idx="303">
                  <c:v>35.011000000000003</c:v>
                </c:pt>
                <c:pt idx="304">
                  <c:v>39.241</c:v>
                </c:pt>
                <c:pt idx="305">
                  <c:v>29.463000000000001</c:v>
                </c:pt>
                <c:pt idx="306">
                  <c:v>44.914999999999999</c:v>
                </c:pt>
                <c:pt idx="307">
                  <c:v>76.072000000000003</c:v>
                </c:pt>
                <c:pt idx="308">
                  <c:v>57.646999999999998</c:v>
                </c:pt>
                <c:pt idx="309">
                  <c:v>57.646999999999998</c:v>
                </c:pt>
                <c:pt idx="310">
                  <c:v>60.249000000000002</c:v>
                </c:pt>
                <c:pt idx="311">
                  <c:v>58.408000000000001</c:v>
                </c:pt>
                <c:pt idx="312">
                  <c:v>84.444000000000003</c:v>
                </c:pt>
                <c:pt idx="313">
                  <c:v>93.986999999999995</c:v>
                </c:pt>
                <c:pt idx="314">
                  <c:v>85.323999999999998</c:v>
                </c:pt>
                <c:pt idx="315">
                  <c:v>69.844999999999999</c:v>
                </c:pt>
                <c:pt idx="316">
                  <c:v>69.844999999999999</c:v>
                </c:pt>
                <c:pt idx="317">
                  <c:v>75.350999999999999</c:v>
                </c:pt>
                <c:pt idx="318">
                  <c:v>104.726</c:v>
                </c:pt>
                <c:pt idx="319">
                  <c:v>118.51300000000001</c:v>
                </c:pt>
                <c:pt idx="320">
                  <c:v>108.676</c:v>
                </c:pt>
                <c:pt idx="321">
                  <c:v>102.749</c:v>
                </c:pt>
                <c:pt idx="322">
                  <c:v>108.688</c:v>
                </c:pt>
                <c:pt idx="323">
                  <c:v>108.688</c:v>
                </c:pt>
                <c:pt idx="324">
                  <c:v>109.754</c:v>
                </c:pt>
                <c:pt idx="325">
                  <c:v>115.413</c:v>
                </c:pt>
                <c:pt idx="326">
                  <c:v>116.07899999999999</c:v>
                </c:pt>
                <c:pt idx="327">
                  <c:v>125.364</c:v>
                </c:pt>
                <c:pt idx="328">
                  <c:v>122.855</c:v>
                </c:pt>
                <c:pt idx="329">
                  <c:v>121.46</c:v>
                </c:pt>
                <c:pt idx="330">
                  <c:v>121.46</c:v>
                </c:pt>
                <c:pt idx="331">
                  <c:v>123.29</c:v>
                </c:pt>
                <c:pt idx="332">
                  <c:v>123.66800000000001</c:v>
                </c:pt>
                <c:pt idx="333">
                  <c:v>132.70699999999999</c:v>
                </c:pt>
                <c:pt idx="334">
                  <c:v>143.95500000000001</c:v>
                </c:pt>
                <c:pt idx="335">
                  <c:v>145.22300000000001</c:v>
                </c:pt>
                <c:pt idx="336">
                  <c:v>133.08600000000001</c:v>
                </c:pt>
                <c:pt idx="337">
                  <c:v>133.08600000000001</c:v>
                </c:pt>
                <c:pt idx="338">
                  <c:v>134.07900000000001</c:v>
                </c:pt>
                <c:pt idx="339">
                  <c:v>136.70599999999999</c:v>
                </c:pt>
                <c:pt idx="340">
                  <c:v>138.43</c:v>
                </c:pt>
                <c:pt idx="341">
                  <c:v>147.54499999999999</c:v>
                </c:pt>
                <c:pt idx="342">
                  <c:v>147.68199999999999</c:v>
                </c:pt>
                <c:pt idx="343">
                  <c:v>139.917</c:v>
                </c:pt>
                <c:pt idx="344">
                  <c:v>139.917</c:v>
                </c:pt>
                <c:pt idx="345">
                  <c:v>141.226</c:v>
                </c:pt>
                <c:pt idx="346">
                  <c:v>138.10400000000001</c:v>
                </c:pt>
                <c:pt idx="347">
                  <c:v>139.911</c:v>
                </c:pt>
                <c:pt idx="348">
                  <c:v>133.02600000000001</c:v>
                </c:pt>
                <c:pt idx="349">
                  <c:v>135.863</c:v>
                </c:pt>
                <c:pt idx="350">
                  <c:v>121.90300000000001</c:v>
                </c:pt>
                <c:pt idx="351">
                  <c:v>121.90300000000001</c:v>
                </c:pt>
                <c:pt idx="352">
                  <c:v>121.81</c:v>
                </c:pt>
                <c:pt idx="353">
                  <c:v>107.67700000000001</c:v>
                </c:pt>
                <c:pt idx="354">
                  <c:v>105.14400000000001</c:v>
                </c:pt>
                <c:pt idx="355">
                  <c:v>97.091999999999999</c:v>
                </c:pt>
                <c:pt idx="356">
                  <c:v>90.978999999999999</c:v>
                </c:pt>
                <c:pt idx="357">
                  <c:v>82.686000000000007</c:v>
                </c:pt>
                <c:pt idx="358">
                  <c:v>82.686000000000007</c:v>
                </c:pt>
                <c:pt idx="359">
                  <c:v>82.686000000000007</c:v>
                </c:pt>
                <c:pt idx="360">
                  <c:v>82.686000000000007</c:v>
                </c:pt>
                <c:pt idx="361">
                  <c:v>83.301000000000002</c:v>
                </c:pt>
                <c:pt idx="362">
                  <c:v>77.09</c:v>
                </c:pt>
                <c:pt idx="363">
                  <c:v>81.045000000000002</c:v>
                </c:pt>
                <c:pt idx="364">
                  <c:v>81.045000000000002</c:v>
                </c:pt>
                <c:pt idx="365">
                  <c:v>81.045000000000002</c:v>
                </c:pt>
                <c:pt idx="366">
                  <c:v>81.045000000000002</c:v>
                </c:pt>
                <c:pt idx="367">
                  <c:v>81.045000000000002</c:v>
                </c:pt>
                <c:pt idx="368">
                  <c:v>68.881</c:v>
                </c:pt>
                <c:pt idx="369">
                  <c:v>63.113999999999997</c:v>
                </c:pt>
                <c:pt idx="370">
                  <c:v>67.036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6FA-4BAD-969C-87EDB41DD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1992192"/>
        <c:axId val="41993728"/>
        <c:extLst>
          <c:ext xmlns:c15="http://schemas.microsoft.com/office/drawing/2012/chart" uri="{02D57815-91ED-43cb-92C2-25804820EDAC}">
            <c15:filteredLineSeries>
              <c15:ser>
                <c:idx val="6"/>
                <c:order val="4"/>
                <c:tx>
                  <c:v>NCG</c:v>
                </c:tx>
                <c:spPr>
                  <a:ln w="12700">
                    <a:solidFill>
                      <a:schemeClr val="accent1">
                        <a:lumMod val="40000"/>
                        <a:lumOff val="60000"/>
                      </a:schemeClr>
                    </a:solidFill>
                  </a:ln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DA_ETF, TTF, NCG og GPL'!$D$5062:$D$5432</c15:sqref>
                        </c15:formulaRef>
                      </c:ext>
                    </c:extLst>
                    <c:numCache>
                      <c:formatCode>m/d/yyyy</c:formatCode>
                      <c:ptCount val="371"/>
                      <c:pt idx="0">
                        <c:v>44562</c:v>
                      </c:pt>
                      <c:pt idx="1">
                        <c:v>44563</c:v>
                      </c:pt>
                      <c:pt idx="2">
                        <c:v>44564</c:v>
                      </c:pt>
                      <c:pt idx="3">
                        <c:v>44565</c:v>
                      </c:pt>
                      <c:pt idx="4">
                        <c:v>44566</c:v>
                      </c:pt>
                      <c:pt idx="5">
                        <c:v>44567</c:v>
                      </c:pt>
                      <c:pt idx="6">
                        <c:v>44568</c:v>
                      </c:pt>
                      <c:pt idx="7">
                        <c:v>44569</c:v>
                      </c:pt>
                      <c:pt idx="8">
                        <c:v>44570</c:v>
                      </c:pt>
                      <c:pt idx="9">
                        <c:v>44571</c:v>
                      </c:pt>
                      <c:pt idx="10">
                        <c:v>44572</c:v>
                      </c:pt>
                      <c:pt idx="11">
                        <c:v>44573</c:v>
                      </c:pt>
                      <c:pt idx="12">
                        <c:v>44574</c:v>
                      </c:pt>
                      <c:pt idx="13">
                        <c:v>44575</c:v>
                      </c:pt>
                      <c:pt idx="14">
                        <c:v>44576</c:v>
                      </c:pt>
                      <c:pt idx="15">
                        <c:v>44577</c:v>
                      </c:pt>
                      <c:pt idx="16">
                        <c:v>44578</c:v>
                      </c:pt>
                      <c:pt idx="17">
                        <c:v>44579</c:v>
                      </c:pt>
                      <c:pt idx="18">
                        <c:v>44580</c:v>
                      </c:pt>
                      <c:pt idx="19">
                        <c:v>44581</c:v>
                      </c:pt>
                      <c:pt idx="20">
                        <c:v>44582</c:v>
                      </c:pt>
                      <c:pt idx="21">
                        <c:v>44583</c:v>
                      </c:pt>
                      <c:pt idx="22">
                        <c:v>44584</c:v>
                      </c:pt>
                      <c:pt idx="23">
                        <c:v>44585</c:v>
                      </c:pt>
                      <c:pt idx="24">
                        <c:v>44586</c:v>
                      </c:pt>
                      <c:pt idx="25">
                        <c:v>44587</c:v>
                      </c:pt>
                      <c:pt idx="26">
                        <c:v>44588</c:v>
                      </c:pt>
                      <c:pt idx="27">
                        <c:v>44589</c:v>
                      </c:pt>
                      <c:pt idx="28">
                        <c:v>44590</c:v>
                      </c:pt>
                      <c:pt idx="29">
                        <c:v>44591</c:v>
                      </c:pt>
                      <c:pt idx="30">
                        <c:v>44592</c:v>
                      </c:pt>
                      <c:pt idx="31">
                        <c:v>44593</c:v>
                      </c:pt>
                      <c:pt idx="32">
                        <c:v>44594</c:v>
                      </c:pt>
                      <c:pt idx="33">
                        <c:v>44595</c:v>
                      </c:pt>
                      <c:pt idx="34">
                        <c:v>44596</c:v>
                      </c:pt>
                      <c:pt idx="35">
                        <c:v>44597</c:v>
                      </c:pt>
                      <c:pt idx="36">
                        <c:v>44598</c:v>
                      </c:pt>
                      <c:pt idx="37">
                        <c:v>44599</c:v>
                      </c:pt>
                      <c:pt idx="38">
                        <c:v>44600</c:v>
                      </c:pt>
                      <c:pt idx="39">
                        <c:v>44601</c:v>
                      </c:pt>
                      <c:pt idx="40">
                        <c:v>44602</c:v>
                      </c:pt>
                      <c:pt idx="41">
                        <c:v>44603</c:v>
                      </c:pt>
                      <c:pt idx="42">
                        <c:v>44604</c:v>
                      </c:pt>
                      <c:pt idx="43">
                        <c:v>44605</c:v>
                      </c:pt>
                      <c:pt idx="44">
                        <c:v>44606</c:v>
                      </c:pt>
                      <c:pt idx="45">
                        <c:v>44607</c:v>
                      </c:pt>
                      <c:pt idx="46">
                        <c:v>44608</c:v>
                      </c:pt>
                      <c:pt idx="47">
                        <c:v>44609</c:v>
                      </c:pt>
                      <c:pt idx="48">
                        <c:v>44610</c:v>
                      </c:pt>
                      <c:pt idx="49">
                        <c:v>44611</c:v>
                      </c:pt>
                      <c:pt idx="50">
                        <c:v>44612</c:v>
                      </c:pt>
                      <c:pt idx="51">
                        <c:v>44613</c:v>
                      </c:pt>
                      <c:pt idx="52">
                        <c:v>44614</c:v>
                      </c:pt>
                      <c:pt idx="53">
                        <c:v>44615</c:v>
                      </c:pt>
                      <c:pt idx="54">
                        <c:v>44616</c:v>
                      </c:pt>
                      <c:pt idx="55">
                        <c:v>44617</c:v>
                      </c:pt>
                      <c:pt idx="56">
                        <c:v>44618</c:v>
                      </c:pt>
                      <c:pt idx="57">
                        <c:v>44619</c:v>
                      </c:pt>
                      <c:pt idx="58">
                        <c:v>44620</c:v>
                      </c:pt>
                      <c:pt idx="59">
                        <c:v>44621</c:v>
                      </c:pt>
                      <c:pt idx="60">
                        <c:v>44622</c:v>
                      </c:pt>
                      <c:pt idx="61">
                        <c:v>44623</c:v>
                      </c:pt>
                      <c:pt idx="62">
                        <c:v>44624</c:v>
                      </c:pt>
                      <c:pt idx="63">
                        <c:v>44625</c:v>
                      </c:pt>
                      <c:pt idx="64">
                        <c:v>44626</c:v>
                      </c:pt>
                      <c:pt idx="65">
                        <c:v>44627</c:v>
                      </c:pt>
                      <c:pt idx="66">
                        <c:v>44628</c:v>
                      </c:pt>
                      <c:pt idx="67">
                        <c:v>44629</c:v>
                      </c:pt>
                      <c:pt idx="68">
                        <c:v>44630</c:v>
                      </c:pt>
                      <c:pt idx="69">
                        <c:v>44631</c:v>
                      </c:pt>
                      <c:pt idx="70">
                        <c:v>44632</c:v>
                      </c:pt>
                      <c:pt idx="71">
                        <c:v>44633</c:v>
                      </c:pt>
                      <c:pt idx="72">
                        <c:v>44634</c:v>
                      </c:pt>
                      <c:pt idx="73">
                        <c:v>44635</c:v>
                      </c:pt>
                      <c:pt idx="74">
                        <c:v>44636</c:v>
                      </c:pt>
                      <c:pt idx="75">
                        <c:v>44637</c:v>
                      </c:pt>
                      <c:pt idx="76">
                        <c:v>44638</c:v>
                      </c:pt>
                      <c:pt idx="77">
                        <c:v>44639</c:v>
                      </c:pt>
                      <c:pt idx="78">
                        <c:v>44640</c:v>
                      </c:pt>
                      <c:pt idx="79">
                        <c:v>44641</c:v>
                      </c:pt>
                      <c:pt idx="80">
                        <c:v>44642</c:v>
                      </c:pt>
                      <c:pt idx="81">
                        <c:v>44643</c:v>
                      </c:pt>
                      <c:pt idx="82">
                        <c:v>44644</c:v>
                      </c:pt>
                      <c:pt idx="83">
                        <c:v>44645</c:v>
                      </c:pt>
                      <c:pt idx="84">
                        <c:v>44646</c:v>
                      </c:pt>
                      <c:pt idx="85">
                        <c:v>44647</c:v>
                      </c:pt>
                      <c:pt idx="86">
                        <c:v>44648</c:v>
                      </c:pt>
                      <c:pt idx="87">
                        <c:v>44649</c:v>
                      </c:pt>
                      <c:pt idx="88">
                        <c:v>44650</c:v>
                      </c:pt>
                      <c:pt idx="89">
                        <c:v>44651</c:v>
                      </c:pt>
                      <c:pt idx="90">
                        <c:v>44652</c:v>
                      </c:pt>
                      <c:pt idx="91">
                        <c:v>44653</c:v>
                      </c:pt>
                      <c:pt idx="92">
                        <c:v>44654</c:v>
                      </c:pt>
                      <c:pt idx="93">
                        <c:v>44655</c:v>
                      </c:pt>
                      <c:pt idx="94">
                        <c:v>44656</c:v>
                      </c:pt>
                      <c:pt idx="95">
                        <c:v>44657</c:v>
                      </c:pt>
                      <c:pt idx="96">
                        <c:v>44658</c:v>
                      </c:pt>
                      <c:pt idx="97">
                        <c:v>44659</c:v>
                      </c:pt>
                      <c:pt idx="98">
                        <c:v>44660</c:v>
                      </c:pt>
                      <c:pt idx="99">
                        <c:v>44661</c:v>
                      </c:pt>
                      <c:pt idx="100">
                        <c:v>44662</c:v>
                      </c:pt>
                      <c:pt idx="101">
                        <c:v>44663</c:v>
                      </c:pt>
                      <c:pt idx="102">
                        <c:v>44664</c:v>
                      </c:pt>
                      <c:pt idx="103">
                        <c:v>44665</c:v>
                      </c:pt>
                      <c:pt idx="104">
                        <c:v>44666</c:v>
                      </c:pt>
                      <c:pt idx="105">
                        <c:v>44667</c:v>
                      </c:pt>
                      <c:pt idx="106">
                        <c:v>44668</c:v>
                      </c:pt>
                      <c:pt idx="107">
                        <c:v>44669</c:v>
                      </c:pt>
                      <c:pt idx="108">
                        <c:v>44670</c:v>
                      </c:pt>
                      <c:pt idx="109">
                        <c:v>44671</c:v>
                      </c:pt>
                      <c:pt idx="110">
                        <c:v>44672</c:v>
                      </c:pt>
                      <c:pt idx="111">
                        <c:v>44673</c:v>
                      </c:pt>
                      <c:pt idx="112">
                        <c:v>44674</c:v>
                      </c:pt>
                      <c:pt idx="113">
                        <c:v>44675</c:v>
                      </c:pt>
                      <c:pt idx="114">
                        <c:v>44676</c:v>
                      </c:pt>
                      <c:pt idx="115">
                        <c:v>44677</c:v>
                      </c:pt>
                      <c:pt idx="116">
                        <c:v>44678</c:v>
                      </c:pt>
                      <c:pt idx="117">
                        <c:v>44679</c:v>
                      </c:pt>
                      <c:pt idx="118">
                        <c:v>44680</c:v>
                      </c:pt>
                      <c:pt idx="119">
                        <c:v>44681</c:v>
                      </c:pt>
                      <c:pt idx="120">
                        <c:v>44682</c:v>
                      </c:pt>
                      <c:pt idx="121">
                        <c:v>44683</c:v>
                      </c:pt>
                      <c:pt idx="122">
                        <c:v>44684</c:v>
                      </c:pt>
                      <c:pt idx="123">
                        <c:v>44685</c:v>
                      </c:pt>
                      <c:pt idx="124">
                        <c:v>44686</c:v>
                      </c:pt>
                      <c:pt idx="125">
                        <c:v>44687</c:v>
                      </c:pt>
                      <c:pt idx="126">
                        <c:v>44688</c:v>
                      </c:pt>
                      <c:pt idx="127">
                        <c:v>44689</c:v>
                      </c:pt>
                      <c:pt idx="128">
                        <c:v>44690</c:v>
                      </c:pt>
                      <c:pt idx="129">
                        <c:v>44691</c:v>
                      </c:pt>
                      <c:pt idx="130">
                        <c:v>44692</c:v>
                      </c:pt>
                      <c:pt idx="131">
                        <c:v>44693</c:v>
                      </c:pt>
                      <c:pt idx="132">
                        <c:v>44694</c:v>
                      </c:pt>
                      <c:pt idx="133">
                        <c:v>44695</c:v>
                      </c:pt>
                      <c:pt idx="134">
                        <c:v>44696</c:v>
                      </c:pt>
                      <c:pt idx="135">
                        <c:v>44697</c:v>
                      </c:pt>
                      <c:pt idx="136">
                        <c:v>44698</c:v>
                      </c:pt>
                      <c:pt idx="137">
                        <c:v>44699</c:v>
                      </c:pt>
                      <c:pt idx="138">
                        <c:v>44700</c:v>
                      </c:pt>
                      <c:pt idx="139">
                        <c:v>44701</c:v>
                      </c:pt>
                      <c:pt idx="140">
                        <c:v>44702</c:v>
                      </c:pt>
                      <c:pt idx="141">
                        <c:v>44703</c:v>
                      </c:pt>
                      <c:pt idx="142">
                        <c:v>44704</c:v>
                      </c:pt>
                      <c:pt idx="143">
                        <c:v>44705</c:v>
                      </c:pt>
                      <c:pt idx="144">
                        <c:v>44706</c:v>
                      </c:pt>
                      <c:pt idx="145">
                        <c:v>44707</c:v>
                      </c:pt>
                      <c:pt idx="146">
                        <c:v>44708</c:v>
                      </c:pt>
                      <c:pt idx="147">
                        <c:v>44709</c:v>
                      </c:pt>
                      <c:pt idx="148">
                        <c:v>44710</c:v>
                      </c:pt>
                      <c:pt idx="149">
                        <c:v>44711</c:v>
                      </c:pt>
                      <c:pt idx="150">
                        <c:v>44712</c:v>
                      </c:pt>
                      <c:pt idx="151">
                        <c:v>44713</c:v>
                      </c:pt>
                      <c:pt idx="152">
                        <c:v>44714</c:v>
                      </c:pt>
                      <c:pt idx="153">
                        <c:v>44715</c:v>
                      </c:pt>
                      <c:pt idx="154">
                        <c:v>44716</c:v>
                      </c:pt>
                      <c:pt idx="155">
                        <c:v>44717</c:v>
                      </c:pt>
                      <c:pt idx="156">
                        <c:v>44718</c:v>
                      </c:pt>
                      <c:pt idx="157">
                        <c:v>44719</c:v>
                      </c:pt>
                      <c:pt idx="158">
                        <c:v>44720</c:v>
                      </c:pt>
                      <c:pt idx="159">
                        <c:v>44721</c:v>
                      </c:pt>
                      <c:pt idx="160">
                        <c:v>44722</c:v>
                      </c:pt>
                      <c:pt idx="161">
                        <c:v>44723</c:v>
                      </c:pt>
                      <c:pt idx="162">
                        <c:v>44724</c:v>
                      </c:pt>
                      <c:pt idx="163">
                        <c:v>44725</c:v>
                      </c:pt>
                      <c:pt idx="164">
                        <c:v>44726</c:v>
                      </c:pt>
                      <c:pt idx="165">
                        <c:v>44727</c:v>
                      </c:pt>
                      <c:pt idx="166">
                        <c:v>44728</c:v>
                      </c:pt>
                      <c:pt idx="167">
                        <c:v>44729</c:v>
                      </c:pt>
                      <c:pt idx="168">
                        <c:v>44730</c:v>
                      </c:pt>
                      <c:pt idx="169">
                        <c:v>44731</c:v>
                      </c:pt>
                      <c:pt idx="170">
                        <c:v>44732</c:v>
                      </c:pt>
                      <c:pt idx="171">
                        <c:v>44733</c:v>
                      </c:pt>
                      <c:pt idx="172">
                        <c:v>44734</c:v>
                      </c:pt>
                      <c:pt idx="173">
                        <c:v>44735</c:v>
                      </c:pt>
                      <c:pt idx="174">
                        <c:v>44736</c:v>
                      </c:pt>
                      <c:pt idx="175">
                        <c:v>44737</c:v>
                      </c:pt>
                      <c:pt idx="176">
                        <c:v>44738</c:v>
                      </c:pt>
                      <c:pt idx="177">
                        <c:v>44739</c:v>
                      </c:pt>
                      <c:pt idx="178">
                        <c:v>44740</c:v>
                      </c:pt>
                      <c:pt idx="179">
                        <c:v>44741</c:v>
                      </c:pt>
                      <c:pt idx="180">
                        <c:v>44742</c:v>
                      </c:pt>
                      <c:pt idx="181">
                        <c:v>44743</c:v>
                      </c:pt>
                      <c:pt idx="182">
                        <c:v>44744</c:v>
                      </c:pt>
                      <c:pt idx="183">
                        <c:v>44745</c:v>
                      </c:pt>
                      <c:pt idx="184">
                        <c:v>44746</c:v>
                      </c:pt>
                      <c:pt idx="185">
                        <c:v>44747</c:v>
                      </c:pt>
                      <c:pt idx="186">
                        <c:v>44748</c:v>
                      </c:pt>
                      <c:pt idx="187">
                        <c:v>44749</c:v>
                      </c:pt>
                      <c:pt idx="188">
                        <c:v>44750</c:v>
                      </c:pt>
                      <c:pt idx="189">
                        <c:v>44751</c:v>
                      </c:pt>
                      <c:pt idx="190">
                        <c:v>44752</c:v>
                      </c:pt>
                      <c:pt idx="191">
                        <c:v>44753</c:v>
                      </c:pt>
                      <c:pt idx="192">
                        <c:v>44754</c:v>
                      </c:pt>
                      <c:pt idx="193">
                        <c:v>44755</c:v>
                      </c:pt>
                      <c:pt idx="194">
                        <c:v>44756</c:v>
                      </c:pt>
                      <c:pt idx="195">
                        <c:v>44757</c:v>
                      </c:pt>
                      <c:pt idx="196">
                        <c:v>44758</c:v>
                      </c:pt>
                      <c:pt idx="197">
                        <c:v>44759</c:v>
                      </c:pt>
                      <c:pt idx="198">
                        <c:v>44760</c:v>
                      </c:pt>
                      <c:pt idx="199">
                        <c:v>44761</c:v>
                      </c:pt>
                      <c:pt idx="200">
                        <c:v>44762</c:v>
                      </c:pt>
                      <c:pt idx="201">
                        <c:v>44763</c:v>
                      </c:pt>
                      <c:pt idx="202">
                        <c:v>44764</c:v>
                      </c:pt>
                      <c:pt idx="203">
                        <c:v>44765</c:v>
                      </c:pt>
                      <c:pt idx="204">
                        <c:v>44766</c:v>
                      </c:pt>
                      <c:pt idx="205">
                        <c:v>44767</c:v>
                      </c:pt>
                      <c:pt idx="206">
                        <c:v>44768</c:v>
                      </c:pt>
                      <c:pt idx="207">
                        <c:v>44769</c:v>
                      </c:pt>
                      <c:pt idx="208">
                        <c:v>44770</c:v>
                      </c:pt>
                      <c:pt idx="209">
                        <c:v>44771</c:v>
                      </c:pt>
                      <c:pt idx="210">
                        <c:v>44772</c:v>
                      </c:pt>
                      <c:pt idx="211">
                        <c:v>44773</c:v>
                      </c:pt>
                      <c:pt idx="212">
                        <c:v>44774</c:v>
                      </c:pt>
                      <c:pt idx="213">
                        <c:v>44775</c:v>
                      </c:pt>
                      <c:pt idx="214">
                        <c:v>44776</c:v>
                      </c:pt>
                      <c:pt idx="215">
                        <c:v>44777</c:v>
                      </c:pt>
                      <c:pt idx="216">
                        <c:v>44778</c:v>
                      </c:pt>
                      <c:pt idx="217">
                        <c:v>44779</c:v>
                      </c:pt>
                      <c:pt idx="218">
                        <c:v>44780</c:v>
                      </c:pt>
                      <c:pt idx="219">
                        <c:v>44781</c:v>
                      </c:pt>
                      <c:pt idx="220">
                        <c:v>44782</c:v>
                      </c:pt>
                      <c:pt idx="221">
                        <c:v>44783</c:v>
                      </c:pt>
                      <c:pt idx="222">
                        <c:v>44784</c:v>
                      </c:pt>
                      <c:pt idx="223">
                        <c:v>44785</c:v>
                      </c:pt>
                      <c:pt idx="224">
                        <c:v>44786</c:v>
                      </c:pt>
                      <c:pt idx="225">
                        <c:v>44787</c:v>
                      </c:pt>
                      <c:pt idx="226">
                        <c:v>44788</c:v>
                      </c:pt>
                      <c:pt idx="227">
                        <c:v>44789</c:v>
                      </c:pt>
                      <c:pt idx="228">
                        <c:v>44790</c:v>
                      </c:pt>
                      <c:pt idx="229">
                        <c:v>44791</c:v>
                      </c:pt>
                      <c:pt idx="230">
                        <c:v>44792</c:v>
                      </c:pt>
                      <c:pt idx="231">
                        <c:v>44793</c:v>
                      </c:pt>
                      <c:pt idx="232">
                        <c:v>44794</c:v>
                      </c:pt>
                      <c:pt idx="233">
                        <c:v>44795</c:v>
                      </c:pt>
                      <c:pt idx="234">
                        <c:v>44796</c:v>
                      </c:pt>
                      <c:pt idx="235">
                        <c:v>44797</c:v>
                      </c:pt>
                      <c:pt idx="236">
                        <c:v>44798</c:v>
                      </c:pt>
                      <c:pt idx="237">
                        <c:v>44799</c:v>
                      </c:pt>
                      <c:pt idx="238">
                        <c:v>44800</c:v>
                      </c:pt>
                      <c:pt idx="239">
                        <c:v>44801</c:v>
                      </c:pt>
                      <c:pt idx="240">
                        <c:v>44802</c:v>
                      </c:pt>
                      <c:pt idx="241">
                        <c:v>44803</c:v>
                      </c:pt>
                      <c:pt idx="242">
                        <c:v>44804</c:v>
                      </c:pt>
                      <c:pt idx="243">
                        <c:v>44805</c:v>
                      </c:pt>
                      <c:pt idx="244">
                        <c:v>44806</c:v>
                      </c:pt>
                      <c:pt idx="245">
                        <c:v>44807</c:v>
                      </c:pt>
                      <c:pt idx="246">
                        <c:v>44808</c:v>
                      </c:pt>
                      <c:pt idx="247">
                        <c:v>44809</c:v>
                      </c:pt>
                      <c:pt idx="248">
                        <c:v>44810</c:v>
                      </c:pt>
                      <c:pt idx="249">
                        <c:v>44811</c:v>
                      </c:pt>
                      <c:pt idx="250">
                        <c:v>44812</c:v>
                      </c:pt>
                      <c:pt idx="251">
                        <c:v>44813</c:v>
                      </c:pt>
                      <c:pt idx="252">
                        <c:v>44814</c:v>
                      </c:pt>
                      <c:pt idx="253">
                        <c:v>44815</c:v>
                      </c:pt>
                      <c:pt idx="254">
                        <c:v>44816</c:v>
                      </c:pt>
                      <c:pt idx="255">
                        <c:v>44817</c:v>
                      </c:pt>
                      <c:pt idx="256">
                        <c:v>44818</c:v>
                      </c:pt>
                      <c:pt idx="257">
                        <c:v>44819</c:v>
                      </c:pt>
                      <c:pt idx="258">
                        <c:v>44820</c:v>
                      </c:pt>
                      <c:pt idx="259">
                        <c:v>44821</c:v>
                      </c:pt>
                      <c:pt idx="260">
                        <c:v>44822</c:v>
                      </c:pt>
                      <c:pt idx="261">
                        <c:v>44823</c:v>
                      </c:pt>
                      <c:pt idx="262">
                        <c:v>44824</c:v>
                      </c:pt>
                      <c:pt idx="263">
                        <c:v>44825</c:v>
                      </c:pt>
                      <c:pt idx="264">
                        <c:v>44826</c:v>
                      </c:pt>
                      <c:pt idx="265">
                        <c:v>44827</c:v>
                      </c:pt>
                      <c:pt idx="266">
                        <c:v>44828</c:v>
                      </c:pt>
                      <c:pt idx="267">
                        <c:v>44829</c:v>
                      </c:pt>
                      <c:pt idx="268">
                        <c:v>44830</c:v>
                      </c:pt>
                      <c:pt idx="269">
                        <c:v>44831</c:v>
                      </c:pt>
                      <c:pt idx="270">
                        <c:v>44832</c:v>
                      </c:pt>
                      <c:pt idx="271">
                        <c:v>44833</c:v>
                      </c:pt>
                      <c:pt idx="272">
                        <c:v>44834</c:v>
                      </c:pt>
                      <c:pt idx="273">
                        <c:v>44835</c:v>
                      </c:pt>
                      <c:pt idx="274">
                        <c:v>44836</c:v>
                      </c:pt>
                      <c:pt idx="275">
                        <c:v>44837</c:v>
                      </c:pt>
                      <c:pt idx="276">
                        <c:v>44838</c:v>
                      </c:pt>
                      <c:pt idx="277">
                        <c:v>44839</c:v>
                      </c:pt>
                      <c:pt idx="278">
                        <c:v>44840</c:v>
                      </c:pt>
                      <c:pt idx="279">
                        <c:v>44841</c:v>
                      </c:pt>
                      <c:pt idx="280">
                        <c:v>44842</c:v>
                      </c:pt>
                      <c:pt idx="281">
                        <c:v>44843</c:v>
                      </c:pt>
                      <c:pt idx="282">
                        <c:v>44844</c:v>
                      </c:pt>
                      <c:pt idx="283">
                        <c:v>44845</c:v>
                      </c:pt>
                      <c:pt idx="284">
                        <c:v>44846</c:v>
                      </c:pt>
                      <c:pt idx="285">
                        <c:v>44847</c:v>
                      </c:pt>
                      <c:pt idx="286">
                        <c:v>44848</c:v>
                      </c:pt>
                      <c:pt idx="287">
                        <c:v>44849</c:v>
                      </c:pt>
                      <c:pt idx="288">
                        <c:v>44850</c:v>
                      </c:pt>
                      <c:pt idx="289">
                        <c:v>44851</c:v>
                      </c:pt>
                      <c:pt idx="290">
                        <c:v>44852</c:v>
                      </c:pt>
                      <c:pt idx="291">
                        <c:v>44853</c:v>
                      </c:pt>
                      <c:pt idx="292">
                        <c:v>44854</c:v>
                      </c:pt>
                      <c:pt idx="293">
                        <c:v>44855</c:v>
                      </c:pt>
                      <c:pt idx="294">
                        <c:v>44856</c:v>
                      </c:pt>
                      <c:pt idx="295">
                        <c:v>44857</c:v>
                      </c:pt>
                      <c:pt idx="296">
                        <c:v>44858</c:v>
                      </c:pt>
                      <c:pt idx="297">
                        <c:v>44859</c:v>
                      </c:pt>
                      <c:pt idx="298">
                        <c:v>44860</c:v>
                      </c:pt>
                      <c:pt idx="299">
                        <c:v>44861</c:v>
                      </c:pt>
                      <c:pt idx="300">
                        <c:v>44862</c:v>
                      </c:pt>
                      <c:pt idx="301">
                        <c:v>44863</c:v>
                      </c:pt>
                      <c:pt idx="302">
                        <c:v>44864</c:v>
                      </c:pt>
                      <c:pt idx="303">
                        <c:v>44865</c:v>
                      </c:pt>
                      <c:pt idx="304">
                        <c:v>44866</c:v>
                      </c:pt>
                      <c:pt idx="305">
                        <c:v>44867</c:v>
                      </c:pt>
                      <c:pt idx="306">
                        <c:v>44868</c:v>
                      </c:pt>
                      <c:pt idx="307">
                        <c:v>44869</c:v>
                      </c:pt>
                      <c:pt idx="308">
                        <c:v>44870</c:v>
                      </c:pt>
                      <c:pt idx="309">
                        <c:v>44871</c:v>
                      </c:pt>
                      <c:pt idx="310">
                        <c:v>44872</c:v>
                      </c:pt>
                      <c:pt idx="311">
                        <c:v>44873</c:v>
                      </c:pt>
                      <c:pt idx="312">
                        <c:v>44874</c:v>
                      </c:pt>
                      <c:pt idx="313">
                        <c:v>44875</c:v>
                      </c:pt>
                      <c:pt idx="314">
                        <c:v>44876</c:v>
                      </c:pt>
                      <c:pt idx="315">
                        <c:v>44877</c:v>
                      </c:pt>
                      <c:pt idx="316">
                        <c:v>44878</c:v>
                      </c:pt>
                      <c:pt idx="317">
                        <c:v>44879</c:v>
                      </c:pt>
                      <c:pt idx="318">
                        <c:v>44880</c:v>
                      </c:pt>
                      <c:pt idx="319">
                        <c:v>44881</c:v>
                      </c:pt>
                      <c:pt idx="320">
                        <c:v>44882</c:v>
                      </c:pt>
                      <c:pt idx="321">
                        <c:v>44883</c:v>
                      </c:pt>
                      <c:pt idx="322">
                        <c:v>44884</c:v>
                      </c:pt>
                      <c:pt idx="323">
                        <c:v>44885</c:v>
                      </c:pt>
                      <c:pt idx="324">
                        <c:v>44886</c:v>
                      </c:pt>
                      <c:pt idx="325">
                        <c:v>44887</c:v>
                      </c:pt>
                      <c:pt idx="326">
                        <c:v>44888</c:v>
                      </c:pt>
                      <c:pt idx="327">
                        <c:v>44889</c:v>
                      </c:pt>
                      <c:pt idx="328">
                        <c:v>44890</c:v>
                      </c:pt>
                      <c:pt idx="329">
                        <c:v>44891</c:v>
                      </c:pt>
                      <c:pt idx="330">
                        <c:v>44892</c:v>
                      </c:pt>
                      <c:pt idx="331">
                        <c:v>44893</c:v>
                      </c:pt>
                      <c:pt idx="332">
                        <c:v>44894</c:v>
                      </c:pt>
                      <c:pt idx="333">
                        <c:v>44895</c:v>
                      </c:pt>
                      <c:pt idx="334">
                        <c:v>44896</c:v>
                      </c:pt>
                      <c:pt idx="335">
                        <c:v>44897</c:v>
                      </c:pt>
                      <c:pt idx="336">
                        <c:v>44898</c:v>
                      </c:pt>
                      <c:pt idx="337">
                        <c:v>44899</c:v>
                      </c:pt>
                      <c:pt idx="338">
                        <c:v>44900</c:v>
                      </c:pt>
                      <c:pt idx="339">
                        <c:v>44901</c:v>
                      </c:pt>
                      <c:pt idx="340">
                        <c:v>44902</c:v>
                      </c:pt>
                      <c:pt idx="341">
                        <c:v>44903</c:v>
                      </c:pt>
                      <c:pt idx="342">
                        <c:v>44904</c:v>
                      </c:pt>
                      <c:pt idx="343">
                        <c:v>44905</c:v>
                      </c:pt>
                      <c:pt idx="344">
                        <c:v>44906</c:v>
                      </c:pt>
                      <c:pt idx="345">
                        <c:v>44907</c:v>
                      </c:pt>
                      <c:pt idx="346">
                        <c:v>44908</c:v>
                      </c:pt>
                      <c:pt idx="347">
                        <c:v>44909</c:v>
                      </c:pt>
                      <c:pt idx="348">
                        <c:v>44910</c:v>
                      </c:pt>
                      <c:pt idx="349">
                        <c:v>44911</c:v>
                      </c:pt>
                      <c:pt idx="350">
                        <c:v>44912</c:v>
                      </c:pt>
                      <c:pt idx="351">
                        <c:v>44913</c:v>
                      </c:pt>
                      <c:pt idx="352">
                        <c:v>44914</c:v>
                      </c:pt>
                      <c:pt idx="353">
                        <c:v>44915</c:v>
                      </c:pt>
                      <c:pt idx="354">
                        <c:v>44916</c:v>
                      </c:pt>
                      <c:pt idx="355">
                        <c:v>44917</c:v>
                      </c:pt>
                      <c:pt idx="356">
                        <c:v>44918</c:v>
                      </c:pt>
                      <c:pt idx="357">
                        <c:v>44919</c:v>
                      </c:pt>
                      <c:pt idx="358">
                        <c:v>44920</c:v>
                      </c:pt>
                      <c:pt idx="359">
                        <c:v>44921</c:v>
                      </c:pt>
                      <c:pt idx="360">
                        <c:v>44922</c:v>
                      </c:pt>
                      <c:pt idx="361">
                        <c:v>44923</c:v>
                      </c:pt>
                      <c:pt idx="362">
                        <c:v>44924</c:v>
                      </c:pt>
                      <c:pt idx="363">
                        <c:v>44925</c:v>
                      </c:pt>
                      <c:pt idx="364">
                        <c:v>44926</c:v>
                      </c:pt>
                      <c:pt idx="365">
                        <c:v>44927</c:v>
                      </c:pt>
                      <c:pt idx="366">
                        <c:v>44928</c:v>
                      </c:pt>
                      <c:pt idx="367">
                        <c:v>44929</c:v>
                      </c:pt>
                      <c:pt idx="368">
                        <c:v>44930</c:v>
                      </c:pt>
                      <c:pt idx="369">
                        <c:v>44931</c:v>
                      </c:pt>
                      <c:pt idx="370">
                        <c:v>44932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DA_ETF, TTF, NCG og GPL'!$H$4697:$H$5217</c15:sqref>
                        </c15:formulaRef>
                      </c:ext>
                    </c:extLst>
                    <c:numCache>
                      <c:formatCode>0.00</c:formatCode>
                      <c:ptCount val="521"/>
                      <c:pt idx="0">
                        <c:v>18.463000000000001</c:v>
                      </c:pt>
                      <c:pt idx="1">
                        <c:v>18.463000000000001</c:v>
                      </c:pt>
                      <c:pt idx="2">
                        <c:v>18.463000000000001</c:v>
                      </c:pt>
                      <c:pt idx="3">
                        <c:v>18.561</c:v>
                      </c:pt>
                      <c:pt idx="4">
                        <c:v>19.529</c:v>
                      </c:pt>
                      <c:pt idx="5">
                        <c:v>18.016999999999999</c:v>
                      </c:pt>
                      <c:pt idx="6">
                        <c:v>17.398</c:v>
                      </c:pt>
                      <c:pt idx="7">
                        <c:v>18.492999999999999</c:v>
                      </c:pt>
                      <c:pt idx="8">
                        <c:v>19.72</c:v>
                      </c:pt>
                      <c:pt idx="9">
                        <c:v>19.72</c:v>
                      </c:pt>
                      <c:pt idx="10">
                        <c:v>19.824000000000002</c:v>
                      </c:pt>
                      <c:pt idx="11">
                        <c:v>21.263999999999999</c:v>
                      </c:pt>
                      <c:pt idx="12">
                        <c:v>25.024000000000001</c:v>
                      </c:pt>
                      <c:pt idx="13">
                        <c:v>21.641999999999999</c:v>
                      </c:pt>
                      <c:pt idx="14">
                        <c:v>20.376000000000001</c:v>
                      </c:pt>
                      <c:pt idx="15">
                        <c:v>19.765000000000001</c:v>
                      </c:pt>
                      <c:pt idx="16">
                        <c:v>19.765000000000001</c:v>
                      </c:pt>
                      <c:pt idx="17">
                        <c:v>19.809999999999999</c:v>
                      </c:pt>
                      <c:pt idx="18">
                        <c:v>18.901</c:v>
                      </c:pt>
                      <c:pt idx="19">
                        <c:v>19.673999999999999</c:v>
                      </c:pt>
                      <c:pt idx="20">
                        <c:v>19.975000000000001</c:v>
                      </c:pt>
                      <c:pt idx="21">
                        <c:v>19.39</c:v>
                      </c:pt>
                      <c:pt idx="22">
                        <c:v>20.367999999999999</c:v>
                      </c:pt>
                      <c:pt idx="23">
                        <c:v>20.367999999999999</c:v>
                      </c:pt>
                      <c:pt idx="24">
                        <c:v>20.568000000000001</c:v>
                      </c:pt>
                      <c:pt idx="25">
                        <c:v>20.058</c:v>
                      </c:pt>
                      <c:pt idx="26">
                        <c:v>19.010000000000002</c:v>
                      </c:pt>
                      <c:pt idx="27">
                        <c:v>18.913</c:v>
                      </c:pt>
                      <c:pt idx="28">
                        <c:v>19.968</c:v>
                      </c:pt>
                      <c:pt idx="29">
                        <c:v>20.100999999999999</c:v>
                      </c:pt>
                      <c:pt idx="30">
                        <c:v>20.286000000000001</c:v>
                      </c:pt>
                      <c:pt idx="31">
                        <c:v>18.111999999999998</c:v>
                      </c:pt>
                      <c:pt idx="32">
                        <c:v>18.064</c:v>
                      </c:pt>
                      <c:pt idx="33">
                        <c:v>17.388999999999999</c:v>
                      </c:pt>
                      <c:pt idx="34">
                        <c:v>17.866</c:v>
                      </c:pt>
                      <c:pt idx="35">
                        <c:v>18.332999999999998</c:v>
                      </c:pt>
                      <c:pt idx="36">
                        <c:v>18.332999999999998</c:v>
                      </c:pt>
                      <c:pt idx="37">
                        <c:v>18.675999999999998</c:v>
                      </c:pt>
                      <c:pt idx="38">
                        <c:v>20.794</c:v>
                      </c:pt>
                      <c:pt idx="39">
                        <c:v>19.978000000000002</c:v>
                      </c:pt>
                      <c:pt idx="40">
                        <c:v>20.001999999999999</c:v>
                      </c:pt>
                      <c:pt idx="41">
                        <c:v>18.484999999999999</c:v>
                      </c:pt>
                      <c:pt idx="42">
                        <c:v>18.221</c:v>
                      </c:pt>
                      <c:pt idx="43">
                        <c:v>18.221</c:v>
                      </c:pt>
                      <c:pt idx="44">
                        <c:v>18.257000000000001</c:v>
                      </c:pt>
                      <c:pt idx="45">
                        <c:v>17.460999999999999</c:v>
                      </c:pt>
                      <c:pt idx="46">
                        <c:v>17.105</c:v>
                      </c:pt>
                      <c:pt idx="47">
                        <c:v>17.109000000000002</c:v>
                      </c:pt>
                      <c:pt idx="48">
                        <c:v>17.109000000000002</c:v>
                      </c:pt>
                      <c:pt idx="49">
                        <c:v>16.655999999999999</c:v>
                      </c:pt>
                      <c:pt idx="50">
                        <c:v>16.655999999999999</c:v>
                      </c:pt>
                      <c:pt idx="51">
                        <c:v>16.736999999999998</c:v>
                      </c:pt>
                      <c:pt idx="52">
                        <c:v>16.027000000000001</c:v>
                      </c:pt>
                      <c:pt idx="53">
                        <c:v>16.106000000000002</c:v>
                      </c:pt>
                      <c:pt idx="54">
                        <c:v>16.13</c:v>
                      </c:pt>
                      <c:pt idx="55">
                        <c:v>16.209</c:v>
                      </c:pt>
                      <c:pt idx="56">
                        <c:v>15.994</c:v>
                      </c:pt>
                      <c:pt idx="57">
                        <c:v>15.994</c:v>
                      </c:pt>
                      <c:pt idx="58">
                        <c:v>16.146999999999998</c:v>
                      </c:pt>
                      <c:pt idx="59">
                        <c:v>16.638999999999999</c:v>
                      </c:pt>
                      <c:pt idx="60">
                        <c:v>16.54</c:v>
                      </c:pt>
                      <c:pt idx="61">
                        <c:v>16.239999999999998</c:v>
                      </c:pt>
                      <c:pt idx="62">
                        <c:v>16.567</c:v>
                      </c:pt>
                      <c:pt idx="63">
                        <c:v>16.963999999999999</c:v>
                      </c:pt>
                      <c:pt idx="64">
                        <c:v>16.963999999999999</c:v>
                      </c:pt>
                      <c:pt idx="65">
                        <c:v>17.059000000000001</c:v>
                      </c:pt>
                      <c:pt idx="66">
                        <c:v>17.266999999999999</c:v>
                      </c:pt>
                      <c:pt idx="67">
                        <c:v>17.63</c:v>
                      </c:pt>
                      <c:pt idx="68">
                        <c:v>18.093</c:v>
                      </c:pt>
                      <c:pt idx="69">
                        <c:v>18.32</c:v>
                      </c:pt>
                      <c:pt idx="70">
                        <c:v>18.64</c:v>
                      </c:pt>
                      <c:pt idx="71">
                        <c:v>18.64</c:v>
                      </c:pt>
                      <c:pt idx="72">
                        <c:v>18.797999999999998</c:v>
                      </c:pt>
                      <c:pt idx="73">
                        <c:v>18.975999999999999</c:v>
                      </c:pt>
                      <c:pt idx="74">
                        <c:v>18.225999999999999</c:v>
                      </c:pt>
                      <c:pt idx="75">
                        <c:v>18.425000000000001</c:v>
                      </c:pt>
                      <c:pt idx="76">
                        <c:v>18.745000000000001</c:v>
                      </c:pt>
                      <c:pt idx="77">
                        <c:v>18.052</c:v>
                      </c:pt>
                      <c:pt idx="78">
                        <c:v>18.052</c:v>
                      </c:pt>
                      <c:pt idx="79">
                        <c:v>18.13</c:v>
                      </c:pt>
                      <c:pt idx="80">
                        <c:v>18.446000000000002</c:v>
                      </c:pt>
                      <c:pt idx="81">
                        <c:v>18.599</c:v>
                      </c:pt>
                      <c:pt idx="82">
                        <c:v>18.905999999999999</c:v>
                      </c:pt>
                      <c:pt idx="83">
                        <c:v>18.658999999999999</c:v>
                      </c:pt>
                      <c:pt idx="84">
                        <c:v>18.658999999999999</c:v>
                      </c:pt>
                      <c:pt idx="85">
                        <c:v>18.785</c:v>
                      </c:pt>
                      <c:pt idx="86">
                        <c:v>18.785</c:v>
                      </c:pt>
                      <c:pt idx="87">
                        <c:v>18.809999999999999</c:v>
                      </c:pt>
                      <c:pt idx="88">
                        <c:v>18.504999999999999</c:v>
                      </c:pt>
                      <c:pt idx="89">
                        <c:v>18.669</c:v>
                      </c:pt>
                      <c:pt idx="90">
                        <c:v>19.247</c:v>
                      </c:pt>
                      <c:pt idx="91">
                        <c:v>19.574999999999999</c:v>
                      </c:pt>
                      <c:pt idx="92">
                        <c:v>19.574999999999999</c:v>
                      </c:pt>
                      <c:pt idx="93">
                        <c:v>19.574999999999999</c:v>
                      </c:pt>
                      <c:pt idx="94">
                        <c:v>19.574999999999999</c:v>
                      </c:pt>
                      <c:pt idx="95">
                        <c:v>19.719000000000001</c:v>
                      </c:pt>
                      <c:pt idx="96">
                        <c:v>20.6</c:v>
                      </c:pt>
                      <c:pt idx="97">
                        <c:v>20.536000000000001</c:v>
                      </c:pt>
                      <c:pt idx="98">
                        <c:v>20.158999999999999</c:v>
                      </c:pt>
                      <c:pt idx="99">
                        <c:v>19.661999999999999</c:v>
                      </c:pt>
                      <c:pt idx="100">
                        <c:v>19.661999999999999</c:v>
                      </c:pt>
                      <c:pt idx="101">
                        <c:v>19.927</c:v>
                      </c:pt>
                      <c:pt idx="102">
                        <c:v>20.709</c:v>
                      </c:pt>
                      <c:pt idx="103">
                        <c:v>20.885999999999999</c:v>
                      </c:pt>
                      <c:pt idx="104">
                        <c:v>20.798999999999999</c:v>
                      </c:pt>
                      <c:pt idx="105">
                        <c:v>21.206</c:v>
                      </c:pt>
                      <c:pt idx="106">
                        <c:v>21.477</c:v>
                      </c:pt>
                      <c:pt idx="107">
                        <c:v>21.477</c:v>
                      </c:pt>
                      <c:pt idx="108">
                        <c:v>21.529</c:v>
                      </c:pt>
                      <c:pt idx="109">
                        <c:v>21.783999999999999</c:v>
                      </c:pt>
                      <c:pt idx="110">
                        <c:v>21.585000000000001</c:v>
                      </c:pt>
                      <c:pt idx="111">
                        <c:v>21.59</c:v>
                      </c:pt>
                      <c:pt idx="112">
                        <c:v>21.94</c:v>
                      </c:pt>
                      <c:pt idx="113">
                        <c:v>20.559000000000001</c:v>
                      </c:pt>
                      <c:pt idx="114">
                        <c:v>20.559000000000001</c:v>
                      </c:pt>
                      <c:pt idx="115">
                        <c:v>20.741</c:v>
                      </c:pt>
                      <c:pt idx="116">
                        <c:v>20.838000000000001</c:v>
                      </c:pt>
                      <c:pt idx="117">
                        <c:v>21.576000000000001</c:v>
                      </c:pt>
                      <c:pt idx="118">
                        <c:v>22.11</c:v>
                      </c:pt>
                      <c:pt idx="119">
                        <c:v>22.512</c:v>
                      </c:pt>
                      <c:pt idx="120">
                        <c:v>23.474</c:v>
                      </c:pt>
                      <c:pt idx="121">
                        <c:v>23.474</c:v>
                      </c:pt>
                      <c:pt idx="122">
                        <c:v>23.474</c:v>
                      </c:pt>
                      <c:pt idx="123">
                        <c:v>23.475000000000001</c:v>
                      </c:pt>
                      <c:pt idx="124">
                        <c:v>24.248000000000001</c:v>
                      </c:pt>
                      <c:pt idx="125">
                        <c:v>24.521999999999998</c:v>
                      </c:pt>
                      <c:pt idx="126">
                        <c:v>25.472000000000001</c:v>
                      </c:pt>
                      <c:pt idx="127">
                        <c:v>24.312999999999999</c:v>
                      </c:pt>
                      <c:pt idx="128">
                        <c:v>24.312999999999999</c:v>
                      </c:pt>
                      <c:pt idx="129">
                        <c:v>24.31</c:v>
                      </c:pt>
                      <c:pt idx="130">
                        <c:v>25.382999999999999</c:v>
                      </c:pt>
                      <c:pt idx="131">
                        <c:v>25.803999999999998</c:v>
                      </c:pt>
                      <c:pt idx="132">
                        <c:v>26.609000000000002</c:v>
                      </c:pt>
                      <c:pt idx="133">
                        <c:v>25.995000000000001</c:v>
                      </c:pt>
                      <c:pt idx="134">
                        <c:v>27.007999999999999</c:v>
                      </c:pt>
                      <c:pt idx="135">
                        <c:v>27.007999999999999</c:v>
                      </c:pt>
                      <c:pt idx="136">
                        <c:v>27.077999999999999</c:v>
                      </c:pt>
                      <c:pt idx="137">
                        <c:v>26.558</c:v>
                      </c:pt>
                      <c:pt idx="138">
                        <c:v>25.428999999999998</c:v>
                      </c:pt>
                      <c:pt idx="139">
                        <c:v>23.128</c:v>
                      </c:pt>
                      <c:pt idx="140">
                        <c:v>24.225999999999999</c:v>
                      </c:pt>
                      <c:pt idx="141">
                        <c:v>25.030999999999999</c:v>
                      </c:pt>
                      <c:pt idx="142">
                        <c:v>25.030999999999999</c:v>
                      </c:pt>
                      <c:pt idx="143">
                        <c:v>25.05</c:v>
                      </c:pt>
                      <c:pt idx="144">
                        <c:v>24.835000000000001</c:v>
                      </c:pt>
                      <c:pt idx="145">
                        <c:v>25.992999999999999</c:v>
                      </c:pt>
                      <c:pt idx="146">
                        <c:v>26.852</c:v>
                      </c:pt>
                      <c:pt idx="147">
                        <c:v>25.786000000000001</c:v>
                      </c:pt>
                      <c:pt idx="148">
                        <c:v>25.076000000000001</c:v>
                      </c:pt>
                      <c:pt idx="149">
                        <c:v>25.076000000000001</c:v>
                      </c:pt>
                      <c:pt idx="150">
                        <c:v>25.076000000000001</c:v>
                      </c:pt>
                      <c:pt idx="151">
                        <c:v>25.039000000000001</c:v>
                      </c:pt>
                      <c:pt idx="152">
                        <c:v>26</c:v>
                      </c:pt>
                      <c:pt idx="153">
                        <c:v>25.628</c:v>
                      </c:pt>
                      <c:pt idx="154">
                        <c:v>25.86</c:v>
                      </c:pt>
                      <c:pt idx="155">
                        <c:v>25.733000000000001</c:v>
                      </c:pt>
                      <c:pt idx="156">
                        <c:v>25.733000000000001</c:v>
                      </c:pt>
                      <c:pt idx="157">
                        <c:v>25.832000000000001</c:v>
                      </c:pt>
                      <c:pt idx="158">
                        <c:v>26.54</c:v>
                      </c:pt>
                      <c:pt idx="159">
                        <c:v>27.824999999999999</c:v>
                      </c:pt>
                      <c:pt idx="160">
                        <c:v>28.302</c:v>
                      </c:pt>
                      <c:pt idx="161">
                        <c:v>28.428000000000001</c:v>
                      </c:pt>
                      <c:pt idx="162">
                        <c:v>27.972999999999999</c:v>
                      </c:pt>
                      <c:pt idx="163">
                        <c:v>27.972999999999999</c:v>
                      </c:pt>
                      <c:pt idx="164">
                        <c:v>28.015999999999998</c:v>
                      </c:pt>
                      <c:pt idx="165">
                        <c:v>29.109000000000002</c:v>
                      </c:pt>
                      <c:pt idx="166">
                        <c:v>28.2</c:v>
                      </c:pt>
                      <c:pt idx="167">
                        <c:v>28.201000000000001</c:v>
                      </c:pt>
                      <c:pt idx="168">
                        <c:v>28.202000000000002</c:v>
                      </c:pt>
                      <c:pt idx="169">
                        <c:v>29.003</c:v>
                      </c:pt>
                      <c:pt idx="170">
                        <c:v>29.003</c:v>
                      </c:pt>
                      <c:pt idx="171">
                        <c:v>29.053000000000001</c:v>
                      </c:pt>
                      <c:pt idx="172">
                        <c:v>29.966999999999999</c:v>
                      </c:pt>
                      <c:pt idx="173">
                        <c:v>30.48</c:v>
                      </c:pt>
                      <c:pt idx="174">
                        <c:v>31.329000000000001</c:v>
                      </c:pt>
                      <c:pt idx="175">
                        <c:v>31.690999999999999</c:v>
                      </c:pt>
                      <c:pt idx="176">
                        <c:v>31.925999999999998</c:v>
                      </c:pt>
                      <c:pt idx="177">
                        <c:v>31.925999999999998</c:v>
                      </c:pt>
                      <c:pt idx="178">
                        <c:v>31.93</c:v>
                      </c:pt>
                      <c:pt idx="179">
                        <c:v>32.000999999999998</c:v>
                      </c:pt>
                      <c:pt idx="180">
                        <c:v>33.229999999999997</c:v>
                      </c:pt>
                      <c:pt idx="181">
                        <c:v>34.588000000000001</c:v>
                      </c:pt>
                      <c:pt idx="182">
                        <c:v>36.328000000000003</c:v>
                      </c:pt>
                      <c:pt idx="183">
                        <c:v>35.997999999999998</c:v>
                      </c:pt>
                      <c:pt idx="184">
                        <c:v>36.130000000000003</c:v>
                      </c:pt>
                      <c:pt idx="185">
                        <c:v>37.700000000000003</c:v>
                      </c:pt>
                      <c:pt idx="186">
                        <c:v>35.546999999999997</c:v>
                      </c:pt>
                      <c:pt idx="187">
                        <c:v>34.371000000000002</c:v>
                      </c:pt>
                      <c:pt idx="188">
                        <c:v>32.545999999999999</c:v>
                      </c:pt>
                      <c:pt idx="189">
                        <c:v>35.968000000000004</c:v>
                      </c:pt>
                      <c:pt idx="190">
                        <c:v>35.968000000000004</c:v>
                      </c:pt>
                      <c:pt idx="191">
                        <c:v>35.966000000000001</c:v>
                      </c:pt>
                      <c:pt idx="192">
                        <c:v>35.500999999999998</c:v>
                      </c:pt>
                      <c:pt idx="193">
                        <c:v>35.409999999999997</c:v>
                      </c:pt>
                      <c:pt idx="194">
                        <c:v>34.726999999999997</c:v>
                      </c:pt>
                      <c:pt idx="195">
                        <c:v>34.255000000000003</c:v>
                      </c:pt>
                      <c:pt idx="196">
                        <c:v>34.962000000000003</c:v>
                      </c:pt>
                      <c:pt idx="197">
                        <c:v>34.962000000000003</c:v>
                      </c:pt>
                      <c:pt idx="198">
                        <c:v>35</c:v>
                      </c:pt>
                      <c:pt idx="199">
                        <c:v>36.183</c:v>
                      </c:pt>
                      <c:pt idx="200">
                        <c:v>34.924999999999997</c:v>
                      </c:pt>
                      <c:pt idx="201">
                        <c:v>35.783999999999999</c:v>
                      </c:pt>
                      <c:pt idx="202">
                        <c:v>35.953000000000003</c:v>
                      </c:pt>
                      <c:pt idx="203">
                        <c:v>35.218000000000004</c:v>
                      </c:pt>
                      <c:pt idx="204">
                        <c:v>35.218000000000004</c:v>
                      </c:pt>
                      <c:pt idx="205">
                        <c:v>35.283000000000001</c:v>
                      </c:pt>
                      <c:pt idx="206">
                        <c:v>36.521999999999998</c:v>
                      </c:pt>
                      <c:pt idx="207">
                        <c:v>37.270000000000003</c:v>
                      </c:pt>
                      <c:pt idx="208">
                        <c:v>38.65</c:v>
                      </c:pt>
                      <c:pt idx="209">
                        <c:v>40.173000000000002</c:v>
                      </c:pt>
                      <c:pt idx="210">
                        <c:v>39.365000000000002</c:v>
                      </c:pt>
                      <c:pt idx="211">
                        <c:v>40.173000000000002</c:v>
                      </c:pt>
                      <c:pt idx="212">
                        <c:v>39.551000000000002</c:v>
                      </c:pt>
                      <c:pt idx="213">
                        <c:v>41.835000000000001</c:v>
                      </c:pt>
                      <c:pt idx="214">
                        <c:v>41.113999999999997</c:v>
                      </c:pt>
                      <c:pt idx="215">
                        <c:v>41.353000000000002</c:v>
                      </c:pt>
                      <c:pt idx="216">
                        <c:v>41.585999999999999</c:v>
                      </c:pt>
                      <c:pt idx="217">
                        <c:v>42.686</c:v>
                      </c:pt>
                      <c:pt idx="218">
                        <c:v>42.686</c:v>
                      </c:pt>
                      <c:pt idx="219">
                        <c:v>42.715000000000003</c:v>
                      </c:pt>
                      <c:pt idx="220">
                        <c:v>42.451999999999998</c:v>
                      </c:pt>
                      <c:pt idx="221">
                        <c:v>44.012999999999998</c:v>
                      </c:pt>
                      <c:pt idx="222">
                        <c:v>44.012999999999998</c:v>
                      </c:pt>
                      <c:pt idx="223">
                        <c:v>44.963000000000001</c:v>
                      </c:pt>
                      <c:pt idx="224">
                        <c:v>45.505000000000003</c:v>
                      </c:pt>
                      <c:pt idx="225">
                        <c:v>44.338000000000001</c:v>
                      </c:pt>
                      <c:pt idx="226">
                        <c:v>44.338000000000001</c:v>
                      </c:pt>
                      <c:pt idx="227">
                        <c:v>44.435000000000002</c:v>
                      </c:pt>
                      <c:pt idx="228">
                        <c:v>47.119</c:v>
                      </c:pt>
                      <c:pt idx="229">
                        <c:v>46.7</c:v>
                      </c:pt>
                      <c:pt idx="230">
                        <c:v>45.923999999999999</c:v>
                      </c:pt>
                      <c:pt idx="231">
                        <c:v>40.692</c:v>
                      </c:pt>
                      <c:pt idx="232">
                        <c:v>41.03</c:v>
                      </c:pt>
                      <c:pt idx="233">
                        <c:v>41.03</c:v>
                      </c:pt>
                      <c:pt idx="234">
                        <c:v>41.180999999999997</c:v>
                      </c:pt>
                      <c:pt idx="235">
                        <c:v>41.890999999999998</c:v>
                      </c:pt>
                      <c:pt idx="236">
                        <c:v>44.168999999999997</c:v>
                      </c:pt>
                      <c:pt idx="237">
                        <c:v>45.082000000000001</c:v>
                      </c:pt>
                      <c:pt idx="238">
                        <c:v>45.161000000000001</c:v>
                      </c:pt>
                      <c:pt idx="239">
                        <c:v>46.826999999999998</c:v>
                      </c:pt>
                      <c:pt idx="240">
                        <c:v>46.826999999999998</c:v>
                      </c:pt>
                      <c:pt idx="241">
                        <c:v>46.826999999999998</c:v>
                      </c:pt>
                      <c:pt idx="242">
                        <c:v>46.854999999999997</c:v>
                      </c:pt>
                      <c:pt idx="243">
                        <c:v>49.277000000000001</c:v>
                      </c:pt>
                      <c:pt idx="244">
                        <c:v>51.078000000000003</c:v>
                      </c:pt>
                      <c:pt idx="245">
                        <c:v>50.973999999999997</c:v>
                      </c:pt>
                      <c:pt idx="246">
                        <c:v>51.399000000000001</c:v>
                      </c:pt>
                      <c:pt idx="247">
                        <c:v>51.399000000000001</c:v>
                      </c:pt>
                      <c:pt idx="248">
                        <c:v>51.406999999999996</c:v>
                      </c:pt>
                      <c:pt idx="249">
                        <c:v>52.469000000000001</c:v>
                      </c:pt>
                      <c:pt idx="250">
                        <c:v>52.905000000000001</c:v>
                      </c:pt>
                      <c:pt idx="251">
                        <c:v>54.491</c:v>
                      </c:pt>
                      <c:pt idx="252">
                        <c:v>55.96</c:v>
                      </c:pt>
                      <c:pt idx="253">
                        <c:v>56.869</c:v>
                      </c:pt>
                      <c:pt idx="254">
                        <c:v>56.869</c:v>
                      </c:pt>
                      <c:pt idx="255">
                        <c:v>57.054000000000002</c:v>
                      </c:pt>
                      <c:pt idx="256">
                        <c:v>60.737000000000002</c:v>
                      </c:pt>
                      <c:pt idx="257">
                        <c:v>65.313999999999993</c:v>
                      </c:pt>
                      <c:pt idx="258">
                        <c:v>71.742999999999995</c:v>
                      </c:pt>
                      <c:pt idx="259">
                        <c:v>63.478999999999999</c:v>
                      </c:pt>
                      <c:pt idx="260">
                        <c:v>63.484999999999999</c:v>
                      </c:pt>
                      <c:pt idx="261">
                        <c:v>63.484999999999999</c:v>
                      </c:pt>
                      <c:pt idx="262">
                        <c:v>63.884</c:v>
                      </c:pt>
                      <c:pt idx="263">
                        <c:v>72.561000000000007</c:v>
                      </c:pt>
                      <c:pt idx="264">
                        <c:v>72.950999999999993</c:v>
                      </c:pt>
                      <c:pt idx="265">
                        <c:v>70.73</c:v>
                      </c:pt>
                      <c:pt idx="266">
                        <c:v>68.454999999999998</c:v>
                      </c:pt>
                      <c:pt idx="267">
                        <c:v>68.141000000000005</c:v>
                      </c:pt>
                      <c:pt idx="268">
                        <c:v>68.141000000000005</c:v>
                      </c:pt>
                      <c:pt idx="269">
                        <c:v>68.433000000000007</c:v>
                      </c:pt>
                      <c:pt idx="270">
                        <c:v>74.847999999999999</c:v>
                      </c:pt>
                      <c:pt idx="271">
                        <c:v>81.034999999999997</c:v>
                      </c:pt>
                      <c:pt idx="272">
                        <c:v>81.992000000000004</c:v>
                      </c:pt>
                      <c:pt idx="273">
                        <c:v>91.885000000000005</c:v>
                      </c:pt>
                      <c:pt idx="274">
                        <c:v>91.870999999999995</c:v>
                      </c:pt>
                      <c:pt idx="275">
                        <c:v>91.870999999999995</c:v>
                      </c:pt>
                      <c:pt idx="276">
                        <c:v>92.8</c:v>
                      </c:pt>
                      <c:pt idx="277">
                        <c:v>91.805999999999997</c:v>
                      </c:pt>
                      <c:pt idx="278">
                        <c:v>110.56</c:v>
                      </c:pt>
                      <c:pt idx="279">
                        <c:v>114.721</c:v>
                      </c:pt>
                      <c:pt idx="280">
                        <c:v>95.525999999999996</c:v>
                      </c:pt>
                      <c:pt idx="281">
                        <c:v>88.06</c:v>
                      </c:pt>
                      <c:pt idx="282">
                        <c:v>88.06</c:v>
                      </c:pt>
                      <c:pt idx="283">
                        <c:v>89.549000000000007</c:v>
                      </c:pt>
                      <c:pt idx="284">
                        <c:v>86.710999999999999</c:v>
                      </c:pt>
                      <c:pt idx="285">
                        <c:v>86.26</c:v>
                      </c:pt>
                      <c:pt idx="286">
                        <c:v>90.906999999999996</c:v>
                      </c:pt>
                      <c:pt idx="287">
                        <c:v>98.972999999999999</c:v>
                      </c:pt>
                      <c:pt idx="288">
                        <c:v>94.754999999999995</c:v>
                      </c:pt>
                      <c:pt idx="289">
                        <c:v>94.754999999999995</c:v>
                      </c:pt>
                      <c:pt idx="290">
                        <c:v>95.040999999999997</c:v>
                      </c:pt>
                      <c:pt idx="291">
                        <c:v>93.995000000000005</c:v>
                      </c:pt>
                      <c:pt idx="292">
                        <c:v>88.262</c:v>
                      </c:pt>
                      <c:pt idx="293">
                        <c:v>90.418000000000006</c:v>
                      </c:pt>
                      <c:pt idx="294">
                        <c:v>88.138999999999996</c:v>
                      </c:pt>
                      <c:pt idx="295">
                        <c:v>87.512</c:v>
                      </c:pt>
                      <c:pt idx="296">
                        <c:v>87.512</c:v>
                      </c:pt>
                      <c:pt idx="297">
                        <c:v>87.873000000000005</c:v>
                      </c:pt>
                      <c:pt idx="298">
                        <c:v>90.356999999999999</c:v>
                      </c:pt>
                      <c:pt idx="299">
                        <c:v>90.356999999999999</c:v>
                      </c:pt>
                      <c:pt idx="300">
                        <c:v>86.113</c:v>
                      </c:pt>
                      <c:pt idx="301">
                        <c:v>77.739000000000004</c:v>
                      </c:pt>
                      <c:pt idx="302">
                        <c:v>66.018000000000001</c:v>
                      </c:pt>
                      <c:pt idx="303">
                        <c:v>66.018000000000001</c:v>
                      </c:pt>
                      <c:pt idx="304">
                        <c:v>65.962999999999994</c:v>
                      </c:pt>
                      <c:pt idx="305">
                        <c:v>66.929000000000002</c:v>
                      </c:pt>
                      <c:pt idx="306">
                        <c:v>67.045000000000002</c:v>
                      </c:pt>
                      <c:pt idx="307">
                        <c:v>75.593999999999994</c:v>
                      </c:pt>
                      <c:pt idx="308">
                        <c:v>74.152000000000001</c:v>
                      </c:pt>
                      <c:pt idx="309">
                        <c:v>72.63</c:v>
                      </c:pt>
                      <c:pt idx="310">
                        <c:v>72.63</c:v>
                      </c:pt>
                      <c:pt idx="311">
                        <c:v>73.069999999999993</c:v>
                      </c:pt>
                      <c:pt idx="312">
                        <c:v>77.441000000000003</c:v>
                      </c:pt>
                      <c:pt idx="313">
                        <c:v>75.200999999999993</c:v>
                      </c:pt>
                      <c:pt idx="314">
                        <c:v>67.387</c:v>
                      </c:pt>
                      <c:pt idx="315">
                        <c:v>72.349000000000004</c:v>
                      </c:pt>
                      <c:pt idx="316">
                        <c:v>74.674999999999997</c:v>
                      </c:pt>
                      <c:pt idx="317">
                        <c:v>74.674999999999997</c:v>
                      </c:pt>
                      <c:pt idx="318">
                        <c:v>74.927999999999997</c:v>
                      </c:pt>
                      <c:pt idx="319">
                        <c:v>79.382999999999996</c:v>
                      </c:pt>
                      <c:pt idx="320">
                        <c:v>89.652000000000001</c:v>
                      </c:pt>
                      <c:pt idx="321">
                        <c:v>97.962000000000003</c:v>
                      </c:pt>
                      <c:pt idx="322">
                        <c:v>92.796999999999997</c:v>
                      </c:pt>
                      <c:pt idx="323">
                        <c:v>87.201999999999998</c:v>
                      </c:pt>
                      <c:pt idx="324">
                        <c:v>87.201999999999998</c:v>
                      </c:pt>
                      <c:pt idx="325">
                        <c:v>87.721000000000004</c:v>
                      </c:pt>
                      <c:pt idx="326">
                        <c:v>84.424999999999997</c:v>
                      </c:pt>
                      <c:pt idx="327">
                        <c:v>90.608000000000004</c:v>
                      </c:pt>
                      <c:pt idx="328">
                        <c:v>92.507000000000005</c:v>
                      </c:pt>
                      <c:pt idx="329">
                        <c:v>93.448999999999998</c:v>
                      </c:pt>
                      <c:pt idx="330">
                        <c:v>89.795000000000002</c:v>
                      </c:pt>
                      <c:pt idx="331">
                        <c:v>89.795000000000002</c:v>
                      </c:pt>
                      <c:pt idx="332">
                        <c:v>90.031000000000006</c:v>
                      </c:pt>
                      <c:pt idx="333">
                        <c:v>93.707999999999998</c:v>
                      </c:pt>
                      <c:pt idx="334">
                        <c:v>96.180999999999997</c:v>
                      </c:pt>
                      <c:pt idx="335">
                        <c:v>95.197000000000003</c:v>
                      </c:pt>
                      <c:pt idx="336">
                        <c:v>93.061000000000007</c:v>
                      </c:pt>
                      <c:pt idx="337">
                        <c:v>91.802999999999997</c:v>
                      </c:pt>
                      <c:pt idx="338">
                        <c:v>91.802999999999997</c:v>
                      </c:pt>
                      <c:pt idx="339">
                        <c:v>92.097999999999999</c:v>
                      </c:pt>
                      <c:pt idx="340">
                        <c:v>90.268000000000001</c:v>
                      </c:pt>
                      <c:pt idx="341">
                        <c:v>96.54</c:v>
                      </c:pt>
                      <c:pt idx="342">
                        <c:v>102.68300000000001</c:v>
                      </c:pt>
                      <c:pt idx="343">
                        <c:v>102.029</c:v>
                      </c:pt>
                      <c:pt idx="344">
                        <c:v>104.735</c:v>
                      </c:pt>
                      <c:pt idx="345">
                        <c:v>104.735</c:v>
                      </c:pt>
                      <c:pt idx="346">
                        <c:v>104.827</c:v>
                      </c:pt>
                      <c:pt idx="347">
                        <c:v>116.81699999999999</c:v>
                      </c:pt>
                      <c:pt idx="348">
                        <c:v>123.801</c:v>
                      </c:pt>
                      <c:pt idx="349">
                        <c:v>128.41800000000001</c:v>
                      </c:pt>
                      <c:pt idx="350">
                        <c:v>135.154</c:v>
                      </c:pt>
                      <c:pt idx="351">
                        <c:v>135.685</c:v>
                      </c:pt>
                      <c:pt idx="352">
                        <c:v>135.685</c:v>
                      </c:pt>
                      <c:pt idx="353">
                        <c:v>136.54</c:v>
                      </c:pt>
                      <c:pt idx="354">
                        <c:v>147.05500000000001</c:v>
                      </c:pt>
                      <c:pt idx="355">
                        <c:v>176.542</c:v>
                      </c:pt>
                      <c:pt idx="356">
                        <c:v>174.12100000000001</c:v>
                      </c:pt>
                      <c:pt idx="357">
                        <c:v>138.12899999999999</c:v>
                      </c:pt>
                      <c:pt idx="358">
                        <c:v>106.858</c:v>
                      </c:pt>
                      <c:pt idx="359">
                        <c:v>106.858</c:v>
                      </c:pt>
                      <c:pt idx="360">
                        <c:v>106.858</c:v>
                      </c:pt>
                      <c:pt idx="361">
                        <c:v>106.858</c:v>
                      </c:pt>
                      <c:pt idx="362">
                        <c:v>107.134</c:v>
                      </c:pt>
                      <c:pt idx="363">
                        <c:v>96.563000000000002</c:v>
                      </c:pt>
                      <c:pt idx="364">
                        <c:v>84.314999999999998</c:v>
                      </c:pt>
                      <c:pt idx="365">
                        <c:v>70.807000000000002</c:v>
                      </c:pt>
                      <c:pt idx="366">
                        <c:v>70.807000000000002</c:v>
                      </c:pt>
                      <c:pt idx="367">
                        <c:v>70.807000000000002</c:v>
                      </c:pt>
                      <c:pt idx="368">
                        <c:v>71.981999999999999</c:v>
                      </c:pt>
                      <c:pt idx="369">
                        <c:v>91.337999999999994</c:v>
                      </c:pt>
                      <c:pt idx="370">
                        <c:v>92.597999999999999</c:v>
                      </c:pt>
                      <c:pt idx="371">
                        <c:v>94.548000000000002</c:v>
                      </c:pt>
                      <c:pt idx="372">
                        <c:v>90.885999999999996</c:v>
                      </c:pt>
                      <c:pt idx="373">
                        <c:v>90.885999999999996</c:v>
                      </c:pt>
                      <c:pt idx="374">
                        <c:v>91.43</c:v>
                      </c:pt>
                      <c:pt idx="375">
                        <c:v>88.498000000000005</c:v>
                      </c:pt>
                      <c:pt idx="376">
                        <c:v>82.674999999999997</c:v>
                      </c:pt>
                      <c:pt idx="377">
                        <c:v>79.105000000000004</c:v>
                      </c:pt>
                      <c:pt idx="378">
                        <c:v>79.105000000000004</c:v>
                      </c:pt>
                      <c:pt idx="379">
                        <c:v>89.823999999999998</c:v>
                      </c:pt>
                      <c:pt idx="380">
                        <c:v>89.823999999999998</c:v>
                      </c:pt>
                      <c:pt idx="381">
                        <c:v>90.021000000000001</c:v>
                      </c:pt>
                      <c:pt idx="382">
                        <c:v>80.637</c:v>
                      </c:pt>
                      <c:pt idx="383">
                        <c:v>78.242000000000004</c:v>
                      </c:pt>
                      <c:pt idx="384">
                        <c:v>74.748000000000005</c:v>
                      </c:pt>
                      <c:pt idx="385">
                        <c:v>74.400000000000006</c:v>
                      </c:pt>
                      <c:pt idx="386">
                        <c:v>79.12</c:v>
                      </c:pt>
                      <c:pt idx="387">
                        <c:v>79.12</c:v>
                      </c:pt>
                      <c:pt idx="388">
                        <c:v>79.421999999999997</c:v>
                      </c:pt>
                      <c:pt idx="389">
                        <c:v>91.751999999999995</c:v>
                      </c:pt>
                      <c:pt idx="390">
                        <c:v>93.456999999999994</c:v>
                      </c:pt>
                      <c:pt idx="391">
                        <c:v>91.861000000000004</c:v>
                      </c:pt>
                      <c:pt idx="392">
                        <c:v>92.468999999999994</c:v>
                      </c:pt>
                      <c:pt idx="393">
                        <c:v>92.725999999999999</c:v>
                      </c:pt>
                      <c:pt idx="394">
                        <c:v>92.725999999999999</c:v>
                      </c:pt>
                      <c:pt idx="395">
                        <c:v>92.831000000000003</c:v>
                      </c:pt>
                      <c:pt idx="396">
                        <c:v>86.424999999999997</c:v>
                      </c:pt>
                      <c:pt idx="397">
                        <c:v>76.483999999999995</c:v>
                      </c:pt>
                      <c:pt idx="398">
                        <c:v>77.927999999999997</c:v>
                      </c:pt>
                      <c:pt idx="399">
                        <c:v>78.694000000000003</c:v>
                      </c:pt>
                      <c:pt idx="400">
                        <c:v>82.063999999999993</c:v>
                      </c:pt>
                      <c:pt idx="401">
                        <c:v>82.063999999999993</c:v>
                      </c:pt>
                      <c:pt idx="402">
                        <c:v>82.234999999999999</c:v>
                      </c:pt>
                      <c:pt idx="403">
                        <c:v>78.596000000000004</c:v>
                      </c:pt>
                      <c:pt idx="404">
                        <c:v>79.450999999999993</c:v>
                      </c:pt>
                      <c:pt idx="405">
                        <c:v>75.915000000000006</c:v>
                      </c:pt>
                      <c:pt idx="406">
                        <c:v>74.39</c:v>
                      </c:pt>
                      <c:pt idx="407">
                        <c:v>75.533000000000001</c:v>
                      </c:pt>
                      <c:pt idx="408">
                        <c:v>75.533000000000001</c:v>
                      </c:pt>
                      <c:pt idx="409">
                        <c:v>75.554000000000002</c:v>
                      </c:pt>
                      <c:pt idx="410">
                        <c:v>81.19</c:v>
                      </c:pt>
                      <c:pt idx="411">
                        <c:v>72.742000000000004</c:v>
                      </c:pt>
                      <c:pt idx="412">
                        <c:v>69.370999999999995</c:v>
                      </c:pt>
                      <c:pt idx="413">
                        <c:v>73.102999999999994</c:v>
                      </c:pt>
                      <c:pt idx="414">
                        <c:v>72.302000000000007</c:v>
                      </c:pt>
                      <c:pt idx="415">
                        <c:v>72.302000000000007</c:v>
                      </c:pt>
                      <c:pt idx="416">
                        <c:v>72.542000000000002</c:v>
                      </c:pt>
                      <c:pt idx="417">
                        <c:v>73.224999999999994</c:v>
                      </c:pt>
                      <c:pt idx="418">
                        <c:v>79.432000000000002</c:v>
                      </c:pt>
                      <c:pt idx="419">
                        <c:v>87.042000000000002</c:v>
                      </c:pt>
                      <c:pt idx="420">
                        <c:v>125.967</c:v>
                      </c:pt>
                      <c:pt idx="421">
                        <c:v>97.272999999999996</c:v>
                      </c:pt>
                      <c:pt idx="422">
                        <c:v>97.272999999999996</c:v>
                      </c:pt>
                      <c:pt idx="423">
                        <c:v>98.02</c:v>
                      </c:pt>
                      <c:pt idx="424">
                        <c:v>104.73399999999999</c:v>
                      </c:pt>
                      <c:pt idx="425">
                        <c:v>117.791</c:v>
                      </c:pt>
                      <c:pt idx="426">
                        <c:v>166.24600000000001</c:v>
                      </c:pt>
                      <c:pt idx="427">
                        <c:v>164.459</c:v>
                      </c:pt>
                      <c:pt idx="428">
                        <c:v>188.30500000000001</c:v>
                      </c:pt>
                      <c:pt idx="429">
                        <c:v>188.30500000000001</c:v>
                      </c:pt>
                      <c:pt idx="430">
                        <c:v>189.47399999999999</c:v>
                      </c:pt>
                      <c:pt idx="431">
                        <c:v>246.94200000000001</c:v>
                      </c:pt>
                      <c:pt idx="432">
                        <c:v>212.93</c:v>
                      </c:pt>
                      <c:pt idx="433">
                        <c:v>163.49299999999999</c:v>
                      </c:pt>
                      <c:pt idx="434">
                        <c:v>133.52799999999999</c:v>
                      </c:pt>
                      <c:pt idx="435">
                        <c:v>125.259</c:v>
                      </c:pt>
                      <c:pt idx="436">
                        <c:v>125.259</c:v>
                      </c:pt>
                      <c:pt idx="437">
                        <c:v>127.709</c:v>
                      </c:pt>
                      <c:pt idx="438">
                        <c:v>114.935</c:v>
                      </c:pt>
                      <c:pt idx="439">
                        <c:v>116.426</c:v>
                      </c:pt>
                      <c:pt idx="440">
                        <c:v>106.087</c:v>
                      </c:pt>
                      <c:pt idx="441">
                        <c:v>105.083</c:v>
                      </c:pt>
                      <c:pt idx="442">
                        <c:v>101.04600000000001</c:v>
                      </c:pt>
                      <c:pt idx="443">
                        <c:v>101.04600000000001</c:v>
                      </c:pt>
                      <c:pt idx="444">
                        <c:v>101.48699999999999</c:v>
                      </c:pt>
                      <c:pt idx="445">
                        <c:v>96.215999999999994</c:v>
                      </c:pt>
                      <c:pt idx="446">
                        <c:v>96.188000000000002</c:v>
                      </c:pt>
                      <c:pt idx="447">
                        <c:v>109.395</c:v>
                      </c:pt>
                      <c:pt idx="448">
                        <c:v>114.125</c:v>
                      </c:pt>
                      <c:pt idx="449">
                        <c:v>100.98099999999999</c:v>
                      </c:pt>
                      <c:pt idx="450">
                        <c:v>100.98099999999999</c:v>
                      </c:pt>
                      <c:pt idx="451">
                        <c:v>101.827</c:v>
                      </c:pt>
                      <c:pt idx="452">
                        <c:v>101.95699999999999</c:v>
                      </c:pt>
                      <c:pt idx="453">
                        <c:v>110.03</c:v>
                      </c:pt>
                      <c:pt idx="454">
                        <c:v>119.84399999999999</c:v>
                      </c:pt>
                      <c:pt idx="455">
                        <c:v>121.255</c:v>
                      </c:pt>
                      <c:pt idx="456">
                        <c:v>120.241</c:v>
                      </c:pt>
                      <c:pt idx="457">
                        <c:v>120.241</c:v>
                      </c:pt>
                      <c:pt idx="458">
                        <c:v>120.346</c:v>
                      </c:pt>
                      <c:pt idx="459">
                        <c:v>111.258</c:v>
                      </c:pt>
                      <c:pt idx="460">
                        <c:v>109.154</c:v>
                      </c:pt>
                      <c:pt idx="461">
                        <c:v>108.819</c:v>
                      </c:pt>
                      <c:pt idx="462">
                        <c:v>105.453</c:v>
                      </c:pt>
                      <c:pt idx="463">
                        <c:v>107.069</c:v>
                      </c:pt>
                      <c:pt idx="464">
                        <c:v>107.069</c:v>
                      </c:pt>
                      <c:pt idx="465">
                        <c:v>107.325</c:v>
                      </c:pt>
                      <c:pt idx="466">
                        <c:v>102.816</c:v>
                      </c:pt>
                      <c:pt idx="467">
                        <c:v>103.685</c:v>
                      </c:pt>
                      <c:pt idx="468">
                        <c:v>104.715</c:v>
                      </c:pt>
                      <c:pt idx="469">
                        <c:v>97.33</c:v>
                      </c:pt>
                      <c:pt idx="470">
                        <c:v>97.33</c:v>
                      </c:pt>
                      <c:pt idx="471">
                        <c:v>97.33</c:v>
                      </c:pt>
                      <c:pt idx="472">
                        <c:v>97.33</c:v>
                      </c:pt>
                      <c:pt idx="473">
                        <c:v>98.46</c:v>
                      </c:pt>
                      <c:pt idx="474">
                        <c:v>93.519000000000005</c:v>
                      </c:pt>
                      <c:pt idx="475">
                        <c:v>96.082999999999998</c:v>
                      </c:pt>
                      <c:pt idx="476">
                        <c:v>97.471000000000004</c:v>
                      </c:pt>
                      <c:pt idx="477">
                        <c:v>95.486000000000004</c:v>
                      </c:pt>
                      <c:pt idx="478">
                        <c:v>96.421999999999997</c:v>
                      </c:pt>
                      <c:pt idx="479">
                        <c:v>96.891999999999996</c:v>
                      </c:pt>
                      <c:pt idx="480">
                        <c:v>94.688999999999993</c:v>
                      </c:pt>
                      <c:pt idx="481">
                        <c:v>108.398</c:v>
                      </c:pt>
                      <c:pt idx="482">
                        <c:v>101.985</c:v>
                      </c:pt>
                      <c:pt idx="483">
                        <c:v>100.434</c:v>
                      </c:pt>
                      <c:pt idx="484">
                        <c:v>100.434</c:v>
                      </c:pt>
                      <c:pt idx="485">
                        <c:v>100.434</c:v>
                      </c:pt>
                      <c:pt idx="486">
                        <c:v>100.813</c:v>
                      </c:pt>
                      <c:pt idx="487">
                        <c:v>98.744</c:v>
                      </c:pt>
                      <c:pt idx="488">
                        <c:v>103.21</c:v>
                      </c:pt>
                      <c:pt idx="489">
                        <c:v>101.49</c:v>
                      </c:pt>
                      <c:pt idx="490">
                        <c:v>93.875</c:v>
                      </c:pt>
                      <c:pt idx="491">
                        <c:v>93.875</c:v>
                      </c:pt>
                      <c:pt idx="492">
                        <c:v>94.918000000000006</c:v>
                      </c:pt>
                      <c:pt idx="493">
                        <c:v>88</c:v>
                      </c:pt>
                      <c:pt idx="494">
                        <c:v>84.058000000000007</c:v>
                      </c:pt>
                      <c:pt idx="495">
                        <c:v>84.575000000000003</c:v>
                      </c:pt>
                      <c:pt idx="496">
                        <c:v>96.188000000000002</c:v>
                      </c:pt>
                      <c:pt idx="497">
                        <c:v>91.051000000000002</c:v>
                      </c:pt>
                      <c:pt idx="498">
                        <c:v>91.051000000000002</c:v>
                      </c:pt>
                      <c:pt idx="499">
                        <c:v>91.894000000000005</c:v>
                      </c:pt>
                      <c:pt idx="500">
                        <c:v>92.623999999999995</c:v>
                      </c:pt>
                      <c:pt idx="501">
                        <c:v>92.99</c:v>
                      </c:pt>
                      <c:pt idx="502">
                        <c:v>93.894000000000005</c:v>
                      </c:pt>
                      <c:pt idx="503">
                        <c:v>90.38</c:v>
                      </c:pt>
                      <c:pt idx="504">
                        <c:v>85.861999999999995</c:v>
                      </c:pt>
                      <c:pt idx="505">
                        <c:v>85.861999999999995</c:v>
                      </c:pt>
                      <c:pt idx="506">
                        <c:v>86.503</c:v>
                      </c:pt>
                      <c:pt idx="507">
                        <c:v>80.55</c:v>
                      </c:pt>
                      <c:pt idx="508">
                        <c:v>80.478999999999999</c:v>
                      </c:pt>
                      <c:pt idx="509">
                        <c:v>80.546000000000006</c:v>
                      </c:pt>
                      <c:pt idx="510">
                        <c:v>81.599999999999994</c:v>
                      </c:pt>
                      <c:pt idx="511">
                        <c:v>81.798000000000002</c:v>
                      </c:pt>
                      <c:pt idx="512">
                        <c:v>81.798000000000002</c:v>
                      </c:pt>
                      <c:pt idx="513">
                        <c:v>82.59</c:v>
                      </c:pt>
                      <c:pt idx="514">
                        <c:v>87.14</c:v>
                      </c:pt>
                      <c:pt idx="515">
                        <c:v>90.343999999999994</c:v>
                      </c:pt>
                      <c:pt idx="516">
                        <c:v>80.802999999999997</c:v>
                      </c:pt>
                      <c:pt idx="517">
                        <c:v>80.802999999999997</c:v>
                      </c:pt>
                      <c:pt idx="518">
                        <c:v>80.802999999999997</c:v>
                      </c:pt>
                      <c:pt idx="519">
                        <c:v>80.802999999999997</c:v>
                      </c:pt>
                      <c:pt idx="520">
                        <c:v>80.739000000000004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4-66FA-4BAD-969C-87EDB41DD380}"/>
                  </c:ext>
                </c:extLst>
              </c15:ser>
            </c15:filteredLineSeries>
          </c:ext>
        </c:extLst>
      </c:lineChart>
      <c:dateAx>
        <c:axId val="41992192"/>
        <c:scaling>
          <c:orientation val="minMax"/>
          <c:max val="44926"/>
          <c:min val="44562"/>
        </c:scaling>
        <c:delete val="0"/>
        <c:axPos val="b"/>
        <c:numFmt formatCode="mmm\-yy" sourceLinked="0"/>
        <c:majorTickMark val="none"/>
        <c:minorTickMark val="none"/>
        <c:tickLblPos val="nextTo"/>
        <c:spPr>
          <a:ln>
            <a:solidFill>
              <a:srgbClr val="D9D9D9"/>
            </a:solidFill>
          </a:ln>
        </c:spPr>
        <c:txPr>
          <a:bodyPr rot="3000000"/>
          <a:lstStyle/>
          <a:p>
            <a:pPr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endParaRPr lang="da-DK"/>
          </a:p>
        </c:txPr>
        <c:crossAx val="41993728"/>
        <c:crosses val="autoZero"/>
        <c:auto val="1"/>
        <c:lblOffset val="100"/>
        <c:baseTimeUnit val="days"/>
        <c:majorUnit val="1"/>
        <c:majorTimeUnit val="months"/>
      </c:dateAx>
      <c:valAx>
        <c:axId val="41993728"/>
        <c:scaling>
          <c:orientation val="minMax"/>
        </c:scaling>
        <c:delete val="0"/>
        <c:axPos val="l"/>
        <c:majorGridlines>
          <c:spPr>
            <a:ln>
              <a:solidFill>
                <a:srgbClr val="D9D9D9"/>
              </a:solidFill>
              <a:prstDash val="solid"/>
            </a:ln>
          </c:spPr>
        </c:majorGridlines>
        <c:title>
          <c:tx>
            <c:rich>
              <a:bodyPr rot="0" vert="horz"/>
              <a:lstStyle/>
              <a:p>
                <a:pPr>
                  <a:defRPr sz="800" b="1"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pPr>
                <a:r>
                  <a:rPr lang="da-DK" sz="8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EUR/MWh</a:t>
                </a:r>
              </a:p>
            </c:rich>
          </c:tx>
          <c:layout>
            <c:manualLayout>
              <c:xMode val="edge"/>
              <c:yMode val="edge"/>
              <c:x val="0"/>
              <c:y val="4.9715667406485961E-2"/>
            </c:manualLayout>
          </c:layout>
          <c:overlay val="0"/>
        </c:title>
        <c:numFmt formatCode="_(* #,##0_);_(* \(#,##0\);_(* &quot;-&quot;_);_(@_)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800"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endParaRPr lang="da-DK"/>
          </a:p>
        </c:txPr>
        <c:crossAx val="41992192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9.3234640424318324E-2"/>
          <c:y val="0"/>
          <c:w val="0.8268529506251352"/>
          <c:h val="5.5404209786032173E-2"/>
        </c:manualLayout>
      </c:layout>
      <c:overlay val="0"/>
      <c:txPr>
        <a:bodyPr/>
        <a:lstStyle/>
        <a:p>
          <a:pPr>
            <a:defRPr sz="800">
              <a:solidFill>
                <a:schemeClr val="tx1">
                  <a:lumMod val="65000"/>
                  <a:lumOff val="35000"/>
                </a:schemeClr>
              </a:solidFill>
            </a:defRPr>
          </a:pPr>
          <a:endParaRPr lang="da-DK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900">
          <a:latin typeface="Arial" pitchFamily="34" charset="0"/>
          <a:cs typeface="Arial" pitchFamily="34" charset="0"/>
        </a:defRPr>
      </a:pPr>
      <a:endParaRPr lang="da-DK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249705535924617E-2"/>
          <c:y val="2.0061728395061727E-2"/>
          <c:w val="0.97550058892815072"/>
          <c:h val="0.9598765432098765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784-4B4E-B527-45E7284B2B3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784-4B4E-B527-45E7284B2B34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F784-4B4E-B527-45E7284B2B34}"/>
              </c:ext>
            </c:extLst>
          </c:dPt>
          <c:val>
            <c:numRef>
              <c:f>Sheet1!$A$1:$I$1</c:f>
              <c:numCache>
                <c:formatCode>General</c:formatCode>
                <c:ptCount val="9"/>
                <c:pt idx="0">
                  <c:v>1.0972753747323338</c:v>
                </c:pt>
                <c:pt idx="1">
                  <c:v>1.0972753747323338</c:v>
                </c:pt>
                <c:pt idx="2">
                  <c:v>7.1772753747323321</c:v>
                </c:pt>
                <c:pt idx="3">
                  <c:v>7.1772753747323321</c:v>
                </c:pt>
                <c:pt idx="4">
                  <c:v>9.87027537473233</c:v>
                </c:pt>
                <c:pt idx="5">
                  <c:v>16.80027537473233</c:v>
                </c:pt>
                <c:pt idx="6">
                  <c:v>16.783275374732327</c:v>
                </c:pt>
                <c:pt idx="7">
                  <c:v>15.343275374732329</c:v>
                </c:pt>
                <c:pt idx="8">
                  <c:v>15.3432753747323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784-4B4E-B527-45E7284B2B34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F784-4B4E-B527-45E7284B2B34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F784-4B4E-B527-45E7284B2B34}"/>
              </c:ext>
            </c:extLst>
          </c:dPt>
          <c:dLbls>
            <c:dLbl>
              <c:idx val="1"/>
              <c:layout>
                <c:manualLayout>
                  <c:x val="0"/>
                  <c:y val="-1.1574074074074073E-3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784-4B4E-B527-45E7284B2B34}"/>
                </c:ext>
              </c:extLst>
            </c:dLbl>
            <c:dLbl>
              <c:idx val="3"/>
              <c:layout>
                <c:manualLayout>
                  <c:x val="0"/>
                  <c:y val="-1.1574074074074073E-3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784-4B4E-B527-45E7284B2B34}"/>
                </c:ext>
              </c:extLst>
            </c:dLbl>
            <c:dLbl>
              <c:idx val="4"/>
              <c:layout>
                <c:manualLayout>
                  <c:x val="0"/>
                  <c:y val="-1.5432098765432098E-3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784-4B4E-B527-45E7284B2B34}"/>
                </c:ext>
              </c:extLst>
            </c:dLbl>
            <c:dLbl>
              <c:idx val="5"/>
              <c:layout>
                <c:manualLayout>
                  <c:x val="0"/>
                  <c:y val="-1.5432098765432098E-3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F784-4B4E-B527-45E7284B2B34}"/>
                </c:ext>
              </c:extLst>
            </c:dLbl>
            <c:dLbl>
              <c:idx val="6"/>
              <c:layout>
                <c:manualLayout>
                  <c:x val="0"/>
                  <c:y val="-1.1574074074074073E-3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784-4B4E-B527-45E7284B2B34}"/>
                </c:ext>
              </c:extLst>
            </c:dLbl>
            <c:dLbl>
              <c:idx val="7"/>
              <c:layout>
                <c:manualLayout>
                  <c:x val="0"/>
                  <c:y val="-1.1574074074074073E-3"/>
                </c:manualLayout>
              </c:layout>
              <c:numFmt formatCode="#,##0.00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784-4B4E-B527-45E7284B2B3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1">
                  <c:v>6.0799999999999983</c:v>
                </c:pt>
                <c:pt idx="3">
                  <c:v>2.6929999999999978</c:v>
                </c:pt>
                <c:pt idx="4">
                  <c:v>6.93</c:v>
                </c:pt>
                <c:pt idx="5">
                  <c:v>1.0429999999999993</c:v>
                </c:pt>
                <c:pt idx="6">
                  <c:v>1.0600000000000023</c:v>
                </c:pt>
                <c:pt idx="7">
                  <c:v>1.43999999999999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784-4B4E-B527-45E7284B2B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08916048"/>
        <c:axId val="1"/>
      </c:barChart>
      <c:catAx>
        <c:axId val="8089160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.84327537473232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089160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3.svg"/><Relationship Id="rId3" Type="http://schemas.openxmlformats.org/officeDocument/2006/relationships/image" Target="../media/image138.png"/><Relationship Id="rId7" Type="http://schemas.openxmlformats.org/officeDocument/2006/relationships/image" Target="../media/image142.png"/><Relationship Id="rId2" Type="http://schemas.openxmlformats.org/officeDocument/2006/relationships/image" Target="../media/image137.svg"/><Relationship Id="rId1" Type="http://schemas.openxmlformats.org/officeDocument/2006/relationships/image" Target="../media/image136.png"/><Relationship Id="rId6" Type="http://schemas.openxmlformats.org/officeDocument/2006/relationships/image" Target="../media/image141.svg"/><Relationship Id="rId5" Type="http://schemas.openxmlformats.org/officeDocument/2006/relationships/image" Target="../media/image140.png"/><Relationship Id="rId4" Type="http://schemas.openxmlformats.org/officeDocument/2006/relationships/image" Target="../media/image139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3.svg"/><Relationship Id="rId3" Type="http://schemas.openxmlformats.org/officeDocument/2006/relationships/image" Target="../media/image138.png"/><Relationship Id="rId7" Type="http://schemas.openxmlformats.org/officeDocument/2006/relationships/image" Target="../media/image142.png"/><Relationship Id="rId2" Type="http://schemas.openxmlformats.org/officeDocument/2006/relationships/image" Target="../media/image137.svg"/><Relationship Id="rId1" Type="http://schemas.openxmlformats.org/officeDocument/2006/relationships/image" Target="../media/image136.png"/><Relationship Id="rId6" Type="http://schemas.openxmlformats.org/officeDocument/2006/relationships/image" Target="../media/image141.svg"/><Relationship Id="rId5" Type="http://schemas.openxmlformats.org/officeDocument/2006/relationships/image" Target="../media/image140.png"/><Relationship Id="rId4" Type="http://schemas.openxmlformats.org/officeDocument/2006/relationships/image" Target="../media/image13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0641709-2C55-491A-B038-BF5DD5E83D07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6CD579FF-FA14-442A-B200-6F612D7DC745}">
      <dgm:prSet/>
      <dgm:spPr/>
      <dgm:t>
        <a:bodyPr/>
        <a:lstStyle/>
        <a:p>
          <a:r>
            <a:rPr lang="en-US"/>
            <a:t>Northbound capacity reduction is caused by uncertainty of the wobbe-index level from LNG cargos which can exceed the allowed threshold in Denmark (but not in Germany).</a:t>
          </a:r>
        </a:p>
      </dgm:t>
    </dgm:pt>
    <dgm:pt modelId="{0C46E9CF-93B7-4E72-B6A9-00039F1E82B8}" type="parTrans" cxnId="{E859847D-5E6F-4C39-8A2E-D366EA91F081}">
      <dgm:prSet/>
      <dgm:spPr/>
      <dgm:t>
        <a:bodyPr/>
        <a:lstStyle/>
        <a:p>
          <a:endParaRPr lang="en-US"/>
        </a:p>
      </dgm:t>
    </dgm:pt>
    <dgm:pt modelId="{BDB6A1E7-DCE3-44F5-879C-D79D438E6A71}" type="sibTrans" cxnId="{E859847D-5E6F-4C39-8A2E-D366EA91F081}">
      <dgm:prSet/>
      <dgm:spPr/>
      <dgm:t>
        <a:bodyPr/>
        <a:lstStyle/>
        <a:p>
          <a:endParaRPr lang="en-US"/>
        </a:p>
      </dgm:t>
    </dgm:pt>
    <dgm:pt modelId="{2B48EEDE-3F60-4C62-A30D-61C08227CC17}">
      <dgm:prSet/>
      <dgm:spPr/>
      <dgm:t>
        <a:bodyPr/>
        <a:lstStyle/>
        <a:p>
          <a:r>
            <a:rPr lang="en-US"/>
            <a:t>Southbound capacity reduction is caused by a bottleneck in Gasunie’s system.</a:t>
          </a:r>
        </a:p>
      </dgm:t>
    </dgm:pt>
    <dgm:pt modelId="{0CCBC465-7670-4678-B500-EA34BBE11EC0}" type="parTrans" cxnId="{312EE645-5EB0-4B4C-8C63-CBF47B6B1A70}">
      <dgm:prSet/>
      <dgm:spPr/>
      <dgm:t>
        <a:bodyPr/>
        <a:lstStyle/>
        <a:p>
          <a:endParaRPr lang="en-US"/>
        </a:p>
      </dgm:t>
    </dgm:pt>
    <dgm:pt modelId="{84C6E79B-2281-44D4-B7C2-FCD4D9C12B42}" type="sibTrans" cxnId="{312EE645-5EB0-4B4C-8C63-CBF47B6B1A70}">
      <dgm:prSet/>
      <dgm:spPr/>
      <dgm:t>
        <a:bodyPr/>
        <a:lstStyle/>
        <a:p>
          <a:endParaRPr lang="en-US"/>
        </a:p>
      </dgm:t>
    </dgm:pt>
    <dgm:pt modelId="{0157B56D-D5CC-4E89-9D43-6045035BF65F}">
      <dgm:prSet/>
      <dgm:spPr/>
      <dgm:t>
        <a:bodyPr/>
        <a:lstStyle/>
        <a:p>
          <a:r>
            <a:rPr lang="en-US"/>
            <a:t>We are in a continuous dialogue with Gasunie </a:t>
          </a:r>
        </a:p>
      </dgm:t>
    </dgm:pt>
    <dgm:pt modelId="{AA671E96-EB1B-40C4-918F-4EF834260233}" type="parTrans" cxnId="{B0C4A88C-2212-4C67-9488-057C520D85C3}">
      <dgm:prSet/>
      <dgm:spPr/>
      <dgm:t>
        <a:bodyPr/>
        <a:lstStyle/>
        <a:p>
          <a:endParaRPr lang="en-US"/>
        </a:p>
      </dgm:t>
    </dgm:pt>
    <dgm:pt modelId="{A2065AC6-5FF6-4B55-8665-BBB0783E0741}" type="sibTrans" cxnId="{B0C4A88C-2212-4C67-9488-057C520D85C3}">
      <dgm:prSet/>
      <dgm:spPr/>
      <dgm:t>
        <a:bodyPr/>
        <a:lstStyle/>
        <a:p>
          <a:endParaRPr lang="en-US"/>
        </a:p>
      </dgm:t>
    </dgm:pt>
    <dgm:pt modelId="{F2F56B5D-5E18-4749-ACA6-148EF2129457}">
      <dgm:prSet/>
      <dgm:spPr/>
      <dgm:t>
        <a:bodyPr/>
        <a:lstStyle/>
        <a:p>
          <a:r>
            <a:rPr lang="en-US" dirty="0"/>
            <a:t>If you (the market) are dissatisfied with the German capacity level, we encourage you to let </a:t>
          </a:r>
          <a:r>
            <a:rPr lang="en-US" dirty="0" err="1"/>
            <a:t>Gasunie</a:t>
          </a:r>
          <a:r>
            <a:rPr lang="en-US" dirty="0"/>
            <a:t> know – also be aware of the German Net Development Plan process (deadline 13 June)</a:t>
          </a:r>
        </a:p>
      </dgm:t>
    </dgm:pt>
    <dgm:pt modelId="{995DE59F-DBD2-4E1B-ADA7-F82D1897AFBC}" type="parTrans" cxnId="{CC1902F9-0A75-4228-A62F-E5A17FFAA7C9}">
      <dgm:prSet/>
      <dgm:spPr/>
      <dgm:t>
        <a:bodyPr/>
        <a:lstStyle/>
        <a:p>
          <a:endParaRPr lang="en-US"/>
        </a:p>
      </dgm:t>
    </dgm:pt>
    <dgm:pt modelId="{077205BC-B4E6-49D4-8F94-CCBA23BE7E88}" type="sibTrans" cxnId="{CC1902F9-0A75-4228-A62F-E5A17FFAA7C9}">
      <dgm:prSet/>
      <dgm:spPr/>
      <dgm:t>
        <a:bodyPr/>
        <a:lstStyle/>
        <a:p>
          <a:endParaRPr lang="en-US"/>
        </a:p>
      </dgm:t>
    </dgm:pt>
    <dgm:pt modelId="{B0C4F96C-E35D-4D38-ADA9-127DF3BD3211}" type="pres">
      <dgm:prSet presAssocID="{D0641709-2C55-491A-B038-BF5DD5E83D07}" presName="root" presStyleCnt="0">
        <dgm:presLayoutVars>
          <dgm:dir/>
          <dgm:resizeHandles val="exact"/>
        </dgm:presLayoutVars>
      </dgm:prSet>
      <dgm:spPr/>
    </dgm:pt>
    <dgm:pt modelId="{00432A6A-58EF-49B9-BBB3-B1C7402F33B7}" type="pres">
      <dgm:prSet presAssocID="{6CD579FF-FA14-442A-B200-6F612D7DC745}" presName="compNode" presStyleCnt="0"/>
      <dgm:spPr/>
    </dgm:pt>
    <dgm:pt modelId="{3451CCF4-7452-4A55-B531-2EC47EA36A0E}" type="pres">
      <dgm:prSet presAssocID="{6CD579FF-FA14-442A-B200-6F612D7DC745}" presName="bgRect" presStyleLbl="bgShp" presStyleIdx="0" presStyleCnt="4"/>
      <dgm:spPr/>
    </dgm:pt>
    <dgm:pt modelId="{7F406171-F1D4-49A4-B62C-39246D5BFABF}" type="pres">
      <dgm:prSet presAssocID="{6CD579FF-FA14-442A-B200-6F612D7DC745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Ikke tilladt"/>
        </a:ext>
      </dgm:extLst>
    </dgm:pt>
    <dgm:pt modelId="{91FA03AB-E929-4669-A72B-1EB3C9B6E9F7}" type="pres">
      <dgm:prSet presAssocID="{6CD579FF-FA14-442A-B200-6F612D7DC745}" presName="spaceRect" presStyleCnt="0"/>
      <dgm:spPr/>
    </dgm:pt>
    <dgm:pt modelId="{C7B4AF3B-1430-4A59-B4F9-DA81A7465AE3}" type="pres">
      <dgm:prSet presAssocID="{6CD579FF-FA14-442A-B200-6F612D7DC745}" presName="parTx" presStyleLbl="revTx" presStyleIdx="0" presStyleCnt="4">
        <dgm:presLayoutVars>
          <dgm:chMax val="0"/>
          <dgm:chPref val="0"/>
        </dgm:presLayoutVars>
      </dgm:prSet>
      <dgm:spPr/>
    </dgm:pt>
    <dgm:pt modelId="{87D81D4A-C0C0-4B98-99A7-11FB11D36438}" type="pres">
      <dgm:prSet presAssocID="{BDB6A1E7-DCE3-44F5-879C-D79D438E6A71}" presName="sibTrans" presStyleCnt="0"/>
      <dgm:spPr/>
    </dgm:pt>
    <dgm:pt modelId="{4A968484-7A4B-4645-9DED-547495D5D6FD}" type="pres">
      <dgm:prSet presAssocID="{2B48EEDE-3F60-4C62-A30D-61C08227CC17}" presName="compNode" presStyleCnt="0"/>
      <dgm:spPr/>
    </dgm:pt>
    <dgm:pt modelId="{BEA50756-0005-4CF3-A58F-5341876D0D5A}" type="pres">
      <dgm:prSet presAssocID="{2B48EEDE-3F60-4C62-A30D-61C08227CC17}" presName="bgRect" presStyleLbl="bgShp" presStyleIdx="1" presStyleCnt="4"/>
      <dgm:spPr/>
    </dgm:pt>
    <dgm:pt modelId="{1ECA6BF2-D32C-4230-82CD-32FCED9591D2}" type="pres">
      <dgm:prSet presAssocID="{2B48EEDE-3F60-4C62-A30D-61C08227CC17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op Sign"/>
        </a:ext>
      </dgm:extLst>
    </dgm:pt>
    <dgm:pt modelId="{C0F35212-E314-424F-B659-1CE47D07AF22}" type="pres">
      <dgm:prSet presAssocID="{2B48EEDE-3F60-4C62-A30D-61C08227CC17}" presName="spaceRect" presStyleCnt="0"/>
      <dgm:spPr/>
    </dgm:pt>
    <dgm:pt modelId="{8ABDAE57-18AF-4725-B6FB-5FB91141B830}" type="pres">
      <dgm:prSet presAssocID="{2B48EEDE-3F60-4C62-A30D-61C08227CC17}" presName="parTx" presStyleLbl="revTx" presStyleIdx="1" presStyleCnt="4">
        <dgm:presLayoutVars>
          <dgm:chMax val="0"/>
          <dgm:chPref val="0"/>
        </dgm:presLayoutVars>
      </dgm:prSet>
      <dgm:spPr/>
    </dgm:pt>
    <dgm:pt modelId="{9FC98727-30EB-499F-8061-28B9953ACFB3}" type="pres">
      <dgm:prSet presAssocID="{84C6E79B-2281-44D4-B7C2-FCD4D9C12B42}" presName="sibTrans" presStyleCnt="0"/>
      <dgm:spPr/>
    </dgm:pt>
    <dgm:pt modelId="{2796F9CA-5B42-476A-99F3-55B0CE483631}" type="pres">
      <dgm:prSet presAssocID="{0157B56D-D5CC-4E89-9D43-6045035BF65F}" presName="compNode" presStyleCnt="0"/>
      <dgm:spPr/>
    </dgm:pt>
    <dgm:pt modelId="{6A31E265-CAE4-480C-886C-2C3E68A06E83}" type="pres">
      <dgm:prSet presAssocID="{0157B56D-D5CC-4E89-9D43-6045035BF65F}" presName="bgRect" presStyleLbl="bgShp" presStyleIdx="2" presStyleCnt="4"/>
      <dgm:spPr/>
    </dgm:pt>
    <dgm:pt modelId="{82860DBA-FA32-46C1-9ABD-20A42657A3A4}" type="pres">
      <dgm:prSet presAssocID="{0157B56D-D5CC-4E89-9D43-6045035BF65F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at"/>
        </a:ext>
      </dgm:extLst>
    </dgm:pt>
    <dgm:pt modelId="{AF30F08F-7176-436D-8F5C-E662FEC9C2F2}" type="pres">
      <dgm:prSet presAssocID="{0157B56D-D5CC-4E89-9D43-6045035BF65F}" presName="spaceRect" presStyleCnt="0"/>
      <dgm:spPr/>
    </dgm:pt>
    <dgm:pt modelId="{72C89189-13B5-4181-BCE7-804FE5AA96D0}" type="pres">
      <dgm:prSet presAssocID="{0157B56D-D5CC-4E89-9D43-6045035BF65F}" presName="parTx" presStyleLbl="revTx" presStyleIdx="2" presStyleCnt="4">
        <dgm:presLayoutVars>
          <dgm:chMax val="0"/>
          <dgm:chPref val="0"/>
        </dgm:presLayoutVars>
      </dgm:prSet>
      <dgm:spPr/>
    </dgm:pt>
    <dgm:pt modelId="{33A73B64-72E3-4429-A2EA-D9D5582604DB}" type="pres">
      <dgm:prSet presAssocID="{A2065AC6-5FF6-4B55-8665-BBB0783E0741}" presName="sibTrans" presStyleCnt="0"/>
      <dgm:spPr/>
    </dgm:pt>
    <dgm:pt modelId="{8D9DB9B8-F38D-4CDB-A792-9F4C0B03420F}" type="pres">
      <dgm:prSet presAssocID="{F2F56B5D-5E18-4749-ACA6-148EF2129457}" presName="compNode" presStyleCnt="0"/>
      <dgm:spPr/>
    </dgm:pt>
    <dgm:pt modelId="{E1ADCA78-C22B-4447-8A31-FA81AF24C185}" type="pres">
      <dgm:prSet presAssocID="{F2F56B5D-5E18-4749-ACA6-148EF2129457}" presName="bgRect" presStyleLbl="bgShp" presStyleIdx="3" presStyleCnt="4"/>
      <dgm:spPr/>
    </dgm:pt>
    <dgm:pt modelId="{C3555CED-2159-4FD8-B90D-43047405CAD7}" type="pres">
      <dgm:prSet presAssocID="{F2F56B5D-5E18-4749-ACA6-148EF2129457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egafon med massiv udfyldning"/>
        </a:ext>
      </dgm:extLst>
    </dgm:pt>
    <dgm:pt modelId="{E34C524D-8658-47DB-BFFB-087EBAFB17B2}" type="pres">
      <dgm:prSet presAssocID="{F2F56B5D-5E18-4749-ACA6-148EF2129457}" presName="spaceRect" presStyleCnt="0"/>
      <dgm:spPr/>
    </dgm:pt>
    <dgm:pt modelId="{49EF3860-193E-4911-9207-C9000E5DA9A4}" type="pres">
      <dgm:prSet presAssocID="{F2F56B5D-5E18-4749-ACA6-148EF2129457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C52CA914-4C6A-4808-948E-1B51E2C5F96D}" type="presOf" srcId="{F2F56B5D-5E18-4749-ACA6-148EF2129457}" destId="{49EF3860-193E-4911-9207-C9000E5DA9A4}" srcOrd="0" destOrd="0" presId="urn:microsoft.com/office/officeart/2018/2/layout/IconVerticalSolidList"/>
    <dgm:cxn modelId="{3962DF41-54AF-44D6-9CD0-783DF85C9E66}" type="presOf" srcId="{6CD579FF-FA14-442A-B200-6F612D7DC745}" destId="{C7B4AF3B-1430-4A59-B4F9-DA81A7465AE3}" srcOrd="0" destOrd="0" presId="urn:microsoft.com/office/officeart/2018/2/layout/IconVerticalSolidList"/>
    <dgm:cxn modelId="{312EE645-5EB0-4B4C-8C63-CBF47B6B1A70}" srcId="{D0641709-2C55-491A-B038-BF5DD5E83D07}" destId="{2B48EEDE-3F60-4C62-A30D-61C08227CC17}" srcOrd="1" destOrd="0" parTransId="{0CCBC465-7670-4678-B500-EA34BBE11EC0}" sibTransId="{84C6E79B-2281-44D4-B7C2-FCD4D9C12B42}"/>
    <dgm:cxn modelId="{02726472-ACBF-4ED3-98E7-0BA4808DC8D8}" type="presOf" srcId="{0157B56D-D5CC-4E89-9D43-6045035BF65F}" destId="{72C89189-13B5-4181-BCE7-804FE5AA96D0}" srcOrd="0" destOrd="0" presId="urn:microsoft.com/office/officeart/2018/2/layout/IconVerticalSolidList"/>
    <dgm:cxn modelId="{770AE576-303E-4F54-ADF8-18EA117D4DA9}" type="presOf" srcId="{2B48EEDE-3F60-4C62-A30D-61C08227CC17}" destId="{8ABDAE57-18AF-4725-B6FB-5FB91141B830}" srcOrd="0" destOrd="0" presId="urn:microsoft.com/office/officeart/2018/2/layout/IconVerticalSolidList"/>
    <dgm:cxn modelId="{E859847D-5E6F-4C39-8A2E-D366EA91F081}" srcId="{D0641709-2C55-491A-B038-BF5DD5E83D07}" destId="{6CD579FF-FA14-442A-B200-6F612D7DC745}" srcOrd="0" destOrd="0" parTransId="{0C46E9CF-93B7-4E72-B6A9-00039F1E82B8}" sibTransId="{BDB6A1E7-DCE3-44F5-879C-D79D438E6A71}"/>
    <dgm:cxn modelId="{B0C4A88C-2212-4C67-9488-057C520D85C3}" srcId="{D0641709-2C55-491A-B038-BF5DD5E83D07}" destId="{0157B56D-D5CC-4E89-9D43-6045035BF65F}" srcOrd="2" destOrd="0" parTransId="{AA671E96-EB1B-40C4-918F-4EF834260233}" sibTransId="{A2065AC6-5FF6-4B55-8665-BBB0783E0741}"/>
    <dgm:cxn modelId="{5E40BEC4-E381-4827-99B1-6F29BE157A76}" type="presOf" srcId="{D0641709-2C55-491A-B038-BF5DD5E83D07}" destId="{B0C4F96C-E35D-4D38-ADA9-127DF3BD3211}" srcOrd="0" destOrd="0" presId="urn:microsoft.com/office/officeart/2018/2/layout/IconVerticalSolidList"/>
    <dgm:cxn modelId="{CC1902F9-0A75-4228-A62F-E5A17FFAA7C9}" srcId="{D0641709-2C55-491A-B038-BF5DD5E83D07}" destId="{F2F56B5D-5E18-4749-ACA6-148EF2129457}" srcOrd="3" destOrd="0" parTransId="{995DE59F-DBD2-4E1B-ADA7-F82D1897AFBC}" sibTransId="{077205BC-B4E6-49D4-8F94-CCBA23BE7E88}"/>
    <dgm:cxn modelId="{6BA8B682-E65D-4881-BF27-FFFC688FF6F0}" type="presParOf" srcId="{B0C4F96C-E35D-4D38-ADA9-127DF3BD3211}" destId="{00432A6A-58EF-49B9-BBB3-B1C7402F33B7}" srcOrd="0" destOrd="0" presId="urn:microsoft.com/office/officeart/2018/2/layout/IconVerticalSolidList"/>
    <dgm:cxn modelId="{6E898F4C-CFD7-4D93-B846-3C078128321F}" type="presParOf" srcId="{00432A6A-58EF-49B9-BBB3-B1C7402F33B7}" destId="{3451CCF4-7452-4A55-B531-2EC47EA36A0E}" srcOrd="0" destOrd="0" presId="urn:microsoft.com/office/officeart/2018/2/layout/IconVerticalSolidList"/>
    <dgm:cxn modelId="{C3711A68-BA3A-4359-B950-829AA2CFD0D4}" type="presParOf" srcId="{00432A6A-58EF-49B9-BBB3-B1C7402F33B7}" destId="{7F406171-F1D4-49A4-B62C-39246D5BFABF}" srcOrd="1" destOrd="0" presId="urn:microsoft.com/office/officeart/2018/2/layout/IconVerticalSolidList"/>
    <dgm:cxn modelId="{681CAD82-D8EB-4DDD-BEEB-23FC255F4C4B}" type="presParOf" srcId="{00432A6A-58EF-49B9-BBB3-B1C7402F33B7}" destId="{91FA03AB-E929-4669-A72B-1EB3C9B6E9F7}" srcOrd="2" destOrd="0" presId="urn:microsoft.com/office/officeart/2018/2/layout/IconVerticalSolidList"/>
    <dgm:cxn modelId="{73C1355C-5459-42F2-87BB-4FB7126A7A78}" type="presParOf" srcId="{00432A6A-58EF-49B9-BBB3-B1C7402F33B7}" destId="{C7B4AF3B-1430-4A59-B4F9-DA81A7465AE3}" srcOrd="3" destOrd="0" presId="urn:microsoft.com/office/officeart/2018/2/layout/IconVerticalSolidList"/>
    <dgm:cxn modelId="{F6C73E2B-5942-435B-A933-8D6702845541}" type="presParOf" srcId="{B0C4F96C-E35D-4D38-ADA9-127DF3BD3211}" destId="{87D81D4A-C0C0-4B98-99A7-11FB11D36438}" srcOrd="1" destOrd="0" presId="urn:microsoft.com/office/officeart/2018/2/layout/IconVerticalSolidList"/>
    <dgm:cxn modelId="{BE57ED19-8E4A-4401-AB86-6518D73C96D1}" type="presParOf" srcId="{B0C4F96C-E35D-4D38-ADA9-127DF3BD3211}" destId="{4A968484-7A4B-4645-9DED-547495D5D6FD}" srcOrd="2" destOrd="0" presId="urn:microsoft.com/office/officeart/2018/2/layout/IconVerticalSolidList"/>
    <dgm:cxn modelId="{2F0B9D2E-2337-4B1F-889B-DC1298DACF73}" type="presParOf" srcId="{4A968484-7A4B-4645-9DED-547495D5D6FD}" destId="{BEA50756-0005-4CF3-A58F-5341876D0D5A}" srcOrd="0" destOrd="0" presId="urn:microsoft.com/office/officeart/2018/2/layout/IconVerticalSolidList"/>
    <dgm:cxn modelId="{2A98B22D-31D7-4A0E-A6DA-84DAA3F12923}" type="presParOf" srcId="{4A968484-7A4B-4645-9DED-547495D5D6FD}" destId="{1ECA6BF2-D32C-4230-82CD-32FCED9591D2}" srcOrd="1" destOrd="0" presId="urn:microsoft.com/office/officeart/2018/2/layout/IconVerticalSolidList"/>
    <dgm:cxn modelId="{31CCEF37-5B70-46D0-A575-7D3B1B8D0909}" type="presParOf" srcId="{4A968484-7A4B-4645-9DED-547495D5D6FD}" destId="{C0F35212-E314-424F-B659-1CE47D07AF22}" srcOrd="2" destOrd="0" presId="urn:microsoft.com/office/officeart/2018/2/layout/IconVerticalSolidList"/>
    <dgm:cxn modelId="{F7EB9A6B-6AF4-42F9-9CF3-6B069C62008F}" type="presParOf" srcId="{4A968484-7A4B-4645-9DED-547495D5D6FD}" destId="{8ABDAE57-18AF-4725-B6FB-5FB91141B830}" srcOrd="3" destOrd="0" presId="urn:microsoft.com/office/officeart/2018/2/layout/IconVerticalSolidList"/>
    <dgm:cxn modelId="{1A0D26E4-7F90-437F-9108-CC21205A5817}" type="presParOf" srcId="{B0C4F96C-E35D-4D38-ADA9-127DF3BD3211}" destId="{9FC98727-30EB-499F-8061-28B9953ACFB3}" srcOrd="3" destOrd="0" presId="urn:microsoft.com/office/officeart/2018/2/layout/IconVerticalSolidList"/>
    <dgm:cxn modelId="{76D140F6-C413-458E-BB5E-BF9FA70AFAAE}" type="presParOf" srcId="{B0C4F96C-E35D-4D38-ADA9-127DF3BD3211}" destId="{2796F9CA-5B42-476A-99F3-55B0CE483631}" srcOrd="4" destOrd="0" presId="urn:microsoft.com/office/officeart/2018/2/layout/IconVerticalSolidList"/>
    <dgm:cxn modelId="{C8D8B252-5F1E-4A96-9803-F1A3F8F30CBE}" type="presParOf" srcId="{2796F9CA-5B42-476A-99F3-55B0CE483631}" destId="{6A31E265-CAE4-480C-886C-2C3E68A06E83}" srcOrd="0" destOrd="0" presId="urn:microsoft.com/office/officeart/2018/2/layout/IconVerticalSolidList"/>
    <dgm:cxn modelId="{C3413ED3-D273-4200-AC67-04AC5D7D757F}" type="presParOf" srcId="{2796F9CA-5B42-476A-99F3-55B0CE483631}" destId="{82860DBA-FA32-46C1-9ABD-20A42657A3A4}" srcOrd="1" destOrd="0" presId="urn:microsoft.com/office/officeart/2018/2/layout/IconVerticalSolidList"/>
    <dgm:cxn modelId="{0F9BBC9B-1F3C-4A9E-A9A6-858A2F4C932A}" type="presParOf" srcId="{2796F9CA-5B42-476A-99F3-55B0CE483631}" destId="{AF30F08F-7176-436D-8F5C-E662FEC9C2F2}" srcOrd="2" destOrd="0" presId="urn:microsoft.com/office/officeart/2018/2/layout/IconVerticalSolidList"/>
    <dgm:cxn modelId="{467D6FD1-52A4-435F-AA0B-400E09F9C68C}" type="presParOf" srcId="{2796F9CA-5B42-476A-99F3-55B0CE483631}" destId="{72C89189-13B5-4181-BCE7-804FE5AA96D0}" srcOrd="3" destOrd="0" presId="urn:microsoft.com/office/officeart/2018/2/layout/IconVerticalSolidList"/>
    <dgm:cxn modelId="{CEA95995-B2F2-416A-BF75-022D05385828}" type="presParOf" srcId="{B0C4F96C-E35D-4D38-ADA9-127DF3BD3211}" destId="{33A73B64-72E3-4429-A2EA-D9D5582604DB}" srcOrd="5" destOrd="0" presId="urn:microsoft.com/office/officeart/2018/2/layout/IconVerticalSolidList"/>
    <dgm:cxn modelId="{F21F346F-2A7F-4722-BA8F-A5656268E827}" type="presParOf" srcId="{B0C4F96C-E35D-4D38-ADA9-127DF3BD3211}" destId="{8D9DB9B8-F38D-4CDB-A792-9F4C0B03420F}" srcOrd="6" destOrd="0" presId="urn:microsoft.com/office/officeart/2018/2/layout/IconVerticalSolidList"/>
    <dgm:cxn modelId="{33C5CA5A-5E54-4E2A-9E0C-941F32C5D51A}" type="presParOf" srcId="{8D9DB9B8-F38D-4CDB-A792-9F4C0B03420F}" destId="{E1ADCA78-C22B-4447-8A31-FA81AF24C185}" srcOrd="0" destOrd="0" presId="urn:microsoft.com/office/officeart/2018/2/layout/IconVerticalSolidList"/>
    <dgm:cxn modelId="{FBE0D8C4-E02E-46A3-B75C-AE5F6405484D}" type="presParOf" srcId="{8D9DB9B8-F38D-4CDB-A792-9F4C0B03420F}" destId="{C3555CED-2159-4FD8-B90D-43047405CAD7}" srcOrd="1" destOrd="0" presId="urn:microsoft.com/office/officeart/2018/2/layout/IconVerticalSolidList"/>
    <dgm:cxn modelId="{D7741627-ABD5-4B07-89EE-FE663329350E}" type="presParOf" srcId="{8D9DB9B8-F38D-4CDB-A792-9F4C0B03420F}" destId="{E34C524D-8658-47DB-BFFB-087EBAFB17B2}" srcOrd="2" destOrd="0" presId="urn:microsoft.com/office/officeart/2018/2/layout/IconVerticalSolidList"/>
    <dgm:cxn modelId="{12657A0A-F912-42A1-BF7A-5CD88E24EEF4}" type="presParOf" srcId="{8D9DB9B8-F38D-4CDB-A792-9F4C0B03420F}" destId="{49EF3860-193E-4911-9207-C9000E5DA9A4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451CCF4-7452-4A55-B531-2EC47EA36A0E}">
      <dsp:nvSpPr>
        <dsp:cNvPr id="0" name=""/>
        <dsp:cNvSpPr/>
      </dsp:nvSpPr>
      <dsp:spPr>
        <a:xfrm>
          <a:off x="0" y="1371"/>
          <a:ext cx="10226673" cy="69491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F406171-F1D4-49A4-B62C-39246D5BFABF}">
      <dsp:nvSpPr>
        <dsp:cNvPr id="0" name=""/>
        <dsp:cNvSpPr/>
      </dsp:nvSpPr>
      <dsp:spPr>
        <a:xfrm>
          <a:off x="210211" y="157726"/>
          <a:ext cx="382203" cy="38220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B4AF3B-1430-4A59-B4F9-DA81A7465AE3}">
      <dsp:nvSpPr>
        <dsp:cNvPr id="0" name=""/>
        <dsp:cNvSpPr/>
      </dsp:nvSpPr>
      <dsp:spPr>
        <a:xfrm>
          <a:off x="802626" y="1371"/>
          <a:ext cx="9424047" cy="6949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545" tIns="73545" rIns="73545" bIns="73545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Northbound capacity reduction is caused by uncertainty of the wobbe-index level from LNG cargos which can exceed the allowed threshold in Denmark (but not in Germany).</a:t>
          </a:r>
        </a:p>
      </dsp:txBody>
      <dsp:txXfrm>
        <a:off x="802626" y="1371"/>
        <a:ext cx="9424047" cy="694914"/>
      </dsp:txXfrm>
    </dsp:sp>
    <dsp:sp modelId="{BEA50756-0005-4CF3-A58F-5341876D0D5A}">
      <dsp:nvSpPr>
        <dsp:cNvPr id="0" name=""/>
        <dsp:cNvSpPr/>
      </dsp:nvSpPr>
      <dsp:spPr>
        <a:xfrm>
          <a:off x="0" y="870014"/>
          <a:ext cx="10226673" cy="69491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ECA6BF2-D32C-4230-82CD-32FCED9591D2}">
      <dsp:nvSpPr>
        <dsp:cNvPr id="0" name=""/>
        <dsp:cNvSpPr/>
      </dsp:nvSpPr>
      <dsp:spPr>
        <a:xfrm>
          <a:off x="210211" y="1026370"/>
          <a:ext cx="382203" cy="382203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BDAE57-18AF-4725-B6FB-5FB91141B830}">
      <dsp:nvSpPr>
        <dsp:cNvPr id="0" name=""/>
        <dsp:cNvSpPr/>
      </dsp:nvSpPr>
      <dsp:spPr>
        <a:xfrm>
          <a:off x="802626" y="870014"/>
          <a:ext cx="9424047" cy="6949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545" tIns="73545" rIns="73545" bIns="73545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Southbound capacity reduction is caused by a bottleneck in Gasunie’s system.</a:t>
          </a:r>
        </a:p>
      </dsp:txBody>
      <dsp:txXfrm>
        <a:off x="802626" y="870014"/>
        <a:ext cx="9424047" cy="694914"/>
      </dsp:txXfrm>
    </dsp:sp>
    <dsp:sp modelId="{6A31E265-CAE4-480C-886C-2C3E68A06E83}">
      <dsp:nvSpPr>
        <dsp:cNvPr id="0" name=""/>
        <dsp:cNvSpPr/>
      </dsp:nvSpPr>
      <dsp:spPr>
        <a:xfrm>
          <a:off x="0" y="1738657"/>
          <a:ext cx="10226673" cy="69491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2860DBA-FA32-46C1-9ABD-20A42657A3A4}">
      <dsp:nvSpPr>
        <dsp:cNvPr id="0" name=""/>
        <dsp:cNvSpPr/>
      </dsp:nvSpPr>
      <dsp:spPr>
        <a:xfrm>
          <a:off x="210211" y="1895013"/>
          <a:ext cx="382203" cy="382203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2C89189-13B5-4181-BCE7-804FE5AA96D0}">
      <dsp:nvSpPr>
        <dsp:cNvPr id="0" name=""/>
        <dsp:cNvSpPr/>
      </dsp:nvSpPr>
      <dsp:spPr>
        <a:xfrm>
          <a:off x="802626" y="1738657"/>
          <a:ext cx="9424047" cy="6949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545" tIns="73545" rIns="73545" bIns="73545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We are in a continuous dialogue with Gasunie </a:t>
          </a:r>
        </a:p>
      </dsp:txBody>
      <dsp:txXfrm>
        <a:off x="802626" y="1738657"/>
        <a:ext cx="9424047" cy="694914"/>
      </dsp:txXfrm>
    </dsp:sp>
    <dsp:sp modelId="{E1ADCA78-C22B-4447-8A31-FA81AF24C185}">
      <dsp:nvSpPr>
        <dsp:cNvPr id="0" name=""/>
        <dsp:cNvSpPr/>
      </dsp:nvSpPr>
      <dsp:spPr>
        <a:xfrm>
          <a:off x="0" y="2607301"/>
          <a:ext cx="10226673" cy="69491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555CED-2159-4FD8-B90D-43047405CAD7}">
      <dsp:nvSpPr>
        <dsp:cNvPr id="0" name=""/>
        <dsp:cNvSpPr/>
      </dsp:nvSpPr>
      <dsp:spPr>
        <a:xfrm>
          <a:off x="210211" y="2763656"/>
          <a:ext cx="382203" cy="382203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EF3860-193E-4911-9207-C9000E5DA9A4}">
      <dsp:nvSpPr>
        <dsp:cNvPr id="0" name=""/>
        <dsp:cNvSpPr/>
      </dsp:nvSpPr>
      <dsp:spPr>
        <a:xfrm>
          <a:off x="802626" y="2607301"/>
          <a:ext cx="9424047" cy="6949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545" tIns="73545" rIns="73545" bIns="73545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If you (the market) are dissatisfied with the German capacity level, we encourage you to let </a:t>
          </a:r>
          <a:r>
            <a:rPr lang="en-US" sz="1800" kern="1200" dirty="0" err="1"/>
            <a:t>Gasunie</a:t>
          </a:r>
          <a:r>
            <a:rPr lang="en-US" sz="1800" kern="1200" dirty="0"/>
            <a:t> know – also be aware of the German Net Development Plan process (deadline 13 June)</a:t>
          </a:r>
        </a:p>
      </dsp:txBody>
      <dsp:txXfrm>
        <a:off x="802626" y="2607301"/>
        <a:ext cx="9424047" cy="6949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2159</cdr:x>
      <cdr:y>0.00935</cdr:y>
    </cdr:from>
    <cdr:to>
      <cdr:x>0.1468</cdr:x>
      <cdr:y>0.12461</cdr:y>
    </cdr:to>
    <cdr:sp macro="" textlink="">
      <cdr:nvSpPr>
        <cdr:cNvPr id="2" name="Tekstfelt 1"/>
        <cdr:cNvSpPr txBox="1"/>
      </cdr:nvSpPr>
      <cdr:spPr>
        <a:xfrm xmlns:a="http://schemas.openxmlformats.org/drawingml/2006/main">
          <a:off x="105833" y="31750"/>
          <a:ext cx="613833" cy="39158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da-DK" sz="110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2365</cdr:x>
      <cdr:y>0.563</cdr:y>
    </cdr:from>
    <cdr:to>
      <cdr:x>0.03564</cdr:x>
      <cdr:y>0.9138</cdr:y>
    </cdr:to>
    <cdr:sp macro="" textlink="">
      <cdr:nvSpPr>
        <cdr:cNvPr id="3" name="Kantet venstreparentes 2"/>
        <cdr:cNvSpPr/>
      </cdr:nvSpPr>
      <cdr:spPr>
        <a:xfrm xmlns:a="http://schemas.openxmlformats.org/drawingml/2006/main">
          <a:off x="90165" y="1763390"/>
          <a:ext cx="45719" cy="1098758"/>
        </a:xfrm>
        <a:prstGeom xmlns:a="http://schemas.openxmlformats.org/drawingml/2006/main" prst="leftBracket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da-DK"/>
        </a:p>
      </cdr:txBody>
    </cdr:sp>
  </cdr:relSizeAnchor>
  <cdr:relSizeAnchor xmlns:cdr="http://schemas.openxmlformats.org/drawingml/2006/chartDrawing">
    <cdr:from>
      <cdr:x>0.02365</cdr:x>
      <cdr:y>0.16496</cdr:y>
    </cdr:from>
    <cdr:to>
      <cdr:x>0.03653</cdr:x>
      <cdr:y>0.54053</cdr:y>
    </cdr:to>
    <cdr:sp macro="" textlink="">
      <cdr:nvSpPr>
        <cdr:cNvPr id="4" name="Kantet venstreparentes 3"/>
        <cdr:cNvSpPr/>
      </cdr:nvSpPr>
      <cdr:spPr>
        <a:xfrm xmlns:a="http://schemas.openxmlformats.org/drawingml/2006/main">
          <a:off x="90165" y="516683"/>
          <a:ext cx="49130" cy="1176331"/>
        </a:xfrm>
        <a:prstGeom xmlns:a="http://schemas.openxmlformats.org/drawingml/2006/main" prst="leftBracket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da-DK"/>
        </a:p>
      </cdr:txBody>
    </cdr:sp>
  </cdr:relSizeAnchor>
  <cdr:relSizeAnchor xmlns:cdr="http://schemas.openxmlformats.org/drawingml/2006/chartDrawing">
    <cdr:from>
      <cdr:x>0</cdr:x>
      <cdr:y>0.18975</cdr:y>
    </cdr:from>
    <cdr:to>
      <cdr:x>0.02252</cdr:x>
      <cdr:y>0.54053</cdr:y>
    </cdr:to>
    <cdr:sp macro="" textlink="">
      <cdr:nvSpPr>
        <cdr:cNvPr id="5" name="Tekstfelt 4"/>
        <cdr:cNvSpPr txBox="1"/>
      </cdr:nvSpPr>
      <cdr:spPr>
        <a:xfrm xmlns:a="http://schemas.openxmlformats.org/drawingml/2006/main">
          <a:off x="-4841875" y="594323"/>
          <a:ext cx="85873" cy="10986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vert270" wrap="square" rtlCol="0" anchor="ctr" anchorCtr="1"/>
        <a:lstStyle xmlns:a="http://schemas.openxmlformats.org/drawingml/2006/main"/>
        <a:p xmlns:a="http://schemas.openxmlformats.org/drawingml/2006/main">
          <a:r>
            <a:rPr lang="da-DK" sz="7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Import</a:t>
          </a:r>
        </a:p>
      </cdr:txBody>
    </cdr:sp>
  </cdr:relSizeAnchor>
  <cdr:relSizeAnchor xmlns:cdr="http://schemas.openxmlformats.org/drawingml/2006/chartDrawing">
    <cdr:from>
      <cdr:x>0</cdr:x>
      <cdr:y>0.54488</cdr:y>
    </cdr:from>
    <cdr:to>
      <cdr:x>0.02251</cdr:x>
      <cdr:y>0.89828</cdr:y>
    </cdr:to>
    <cdr:sp macro="" textlink="">
      <cdr:nvSpPr>
        <cdr:cNvPr id="6" name="Tekstfelt 5"/>
        <cdr:cNvSpPr txBox="1"/>
      </cdr:nvSpPr>
      <cdr:spPr>
        <a:xfrm xmlns:a="http://schemas.openxmlformats.org/drawingml/2006/main">
          <a:off x="0" y="2263967"/>
          <a:ext cx="164480" cy="146838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vert270" wrap="square" rtlCol="0" anchor="ctr" anchorCtr="1"/>
        <a:lstStyle xmlns:a="http://schemas.openxmlformats.org/drawingml/2006/main"/>
        <a:p xmlns:a="http://schemas.openxmlformats.org/drawingml/2006/main">
          <a:r>
            <a:rPr lang="da-DK" sz="700" dirty="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Export</a:t>
          </a:r>
          <a:endParaRPr lang="da-DK" sz="70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1964</cdr:x>
      <cdr:y>0.13825</cdr:y>
    </cdr:from>
    <cdr:to>
      <cdr:x>0.03764</cdr:x>
      <cdr:y>0.40022</cdr:y>
    </cdr:to>
    <cdr:sp macro="" textlink="">
      <cdr:nvSpPr>
        <cdr:cNvPr id="2" name="Kantet venstreparentes 1"/>
        <cdr:cNvSpPr/>
      </cdr:nvSpPr>
      <cdr:spPr>
        <a:xfrm xmlns:a="http://schemas.openxmlformats.org/drawingml/2006/main">
          <a:off x="179916" y="789214"/>
          <a:ext cx="164896" cy="1495561"/>
        </a:xfrm>
        <a:prstGeom xmlns:a="http://schemas.openxmlformats.org/drawingml/2006/main" prst="leftBracket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da-DK"/>
        </a:p>
      </cdr:txBody>
    </cdr:sp>
  </cdr:relSizeAnchor>
  <cdr:relSizeAnchor xmlns:cdr="http://schemas.openxmlformats.org/drawingml/2006/chartDrawing">
    <cdr:from>
      <cdr:x>0.01984</cdr:x>
      <cdr:y>0.41741</cdr:y>
    </cdr:from>
    <cdr:to>
      <cdr:x>0.03796</cdr:x>
      <cdr:y>0.91278</cdr:y>
    </cdr:to>
    <cdr:sp macro="" textlink="">
      <cdr:nvSpPr>
        <cdr:cNvPr id="3" name="Kantet venstreparentes 2"/>
        <cdr:cNvSpPr/>
      </cdr:nvSpPr>
      <cdr:spPr>
        <a:xfrm xmlns:a="http://schemas.openxmlformats.org/drawingml/2006/main">
          <a:off x="182097" y="2380965"/>
          <a:ext cx="166244" cy="2825646"/>
        </a:xfrm>
        <a:prstGeom xmlns:a="http://schemas.openxmlformats.org/drawingml/2006/main" prst="leftBracket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da-DK"/>
        </a:p>
      </cdr:txBody>
    </cdr:sp>
  </cdr:relSizeAnchor>
  <cdr:relSizeAnchor xmlns:cdr="http://schemas.openxmlformats.org/drawingml/2006/chartDrawing">
    <cdr:from>
      <cdr:x>0.0025</cdr:x>
      <cdr:y>0.10179</cdr:y>
    </cdr:from>
    <cdr:to>
      <cdr:x>0.01825</cdr:x>
      <cdr:y>0.4004</cdr:y>
    </cdr:to>
    <cdr:sp macro="" textlink="">
      <cdr:nvSpPr>
        <cdr:cNvPr id="4" name="Tekstfelt 3"/>
        <cdr:cNvSpPr txBox="1"/>
      </cdr:nvSpPr>
      <cdr:spPr>
        <a:xfrm xmlns:a="http://schemas.openxmlformats.org/drawingml/2006/main">
          <a:off x="22907" y="580643"/>
          <a:ext cx="144532" cy="170330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vert270" wrap="square" rtlCol="0" anchor="ctr" anchorCtr="1"/>
        <a:lstStyle xmlns:a="http://schemas.openxmlformats.org/drawingml/2006/main"/>
        <a:p xmlns:a="http://schemas.openxmlformats.org/drawingml/2006/main">
          <a:r>
            <a:rPr lang="da-DK" sz="700" dirty="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Injection</a:t>
          </a:r>
          <a:endParaRPr lang="da-DK" sz="70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0025</cdr:x>
      <cdr:y>0.51924</cdr:y>
    </cdr:from>
    <cdr:to>
      <cdr:x>0.01694</cdr:x>
      <cdr:y>0.81095</cdr:y>
    </cdr:to>
    <cdr:sp macro="" textlink="">
      <cdr:nvSpPr>
        <cdr:cNvPr id="5" name="Tekstfelt 4"/>
        <cdr:cNvSpPr txBox="1"/>
      </cdr:nvSpPr>
      <cdr:spPr>
        <a:xfrm xmlns:a="http://schemas.openxmlformats.org/drawingml/2006/main">
          <a:off x="22907" y="2961815"/>
          <a:ext cx="132511" cy="16639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vert270" wrap="square" rtlCol="0" anchor="ctr" anchorCtr="1"/>
        <a:lstStyle xmlns:a="http://schemas.openxmlformats.org/drawingml/2006/main"/>
        <a:p xmlns:a="http://schemas.openxmlformats.org/drawingml/2006/main">
          <a:r>
            <a:rPr lang="da-DK" sz="700" dirty="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Withdrawal</a:t>
          </a:r>
          <a:endParaRPr lang="da-DK" sz="700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#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08/06/2023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86E511-D742-4EFE-90B5-C9FC42762E0F}" type="datetimeFigureOut">
              <a:rPr lang="en-GB" smtClean="0"/>
              <a:t>08/06/2023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6CFAD1-D197-4A88-B173-A6412E995EE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20361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94279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FE5B1-DC95-9144-B1BE-5D21A75E6B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03441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FE5B1-DC95-9144-B1BE-5D21A75E6B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52007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B4F2-37C6-456F-99B1-74C79381C6E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52553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B4F2-37C6-456F-99B1-74C79381C6E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822424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B4F2-37C6-456F-99B1-74C79381C6E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9363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aseline="0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B4F2-37C6-456F-99B1-74C79381C6E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406752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B4F2-37C6-456F-99B1-74C79381C6E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27300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B4F2-37C6-456F-99B1-74C79381C6E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56000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B4F2-37C6-456F-99B1-74C79381C6E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12880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768916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B4F2-37C6-456F-99B1-74C79381C6E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442097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B4F2-37C6-456F-99B1-74C79381C6E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949220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B4F2-37C6-456F-99B1-74C79381C6E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823266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0"/>
            <a:fld id="{A16CFAD1-D197-4A88-B173-A6412E995EE5}" type="slidenum">
              <a:rPr lang="en-GB" smtClean="0"/>
              <a:t>5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480241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5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6398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5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976012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5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532292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5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532292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0"/>
            <a:fld id="{A16CFAD1-D197-4A88-B173-A6412E995EE5}" type="slidenum">
              <a:rPr lang="en-GB" smtClean="0"/>
              <a:t>6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480241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6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5656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Opmærksomheds-punkter:</a:t>
            </a:r>
          </a:p>
          <a:p>
            <a:endParaRPr lang="da-DK" dirty="0"/>
          </a:p>
          <a:p>
            <a:r>
              <a:rPr lang="da-DK" dirty="0"/>
              <a:t>EL: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orbrug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andkraft i Norge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-kraft i Frankrig, Sverige og Finland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 err="1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lforbindelser</a:t>
            </a: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i Norge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”Ny” kapacitet i nabolande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da-DK" sz="1100" dirty="0">
              <a:solidFill>
                <a:schemeClr val="tx1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GAS: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orbrug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Gasmarkedet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altic Pipe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Gaslagre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da-DK" sz="1100" dirty="0">
              <a:solidFill>
                <a:schemeClr val="tx1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LIE: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Diesel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Konverteringer fra gas til olie</a:t>
            </a:r>
            <a:endParaRPr lang="da-DK" sz="1100" dirty="0">
              <a:solidFill>
                <a:schemeClr val="tx1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100" dirty="0">
              <a:solidFill>
                <a:schemeClr val="tx1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ARME</a:t>
            </a:r>
            <a:r>
              <a:rPr lang="da-DK" sz="1100" baseline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OG BIOMASSE:</a:t>
            </a:r>
            <a:endParaRPr lang="da-DK" sz="1100" dirty="0">
              <a:solidFill>
                <a:schemeClr val="tx1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Forbrug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baseline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Biomasseleverancer (</a:t>
            </a:r>
            <a:r>
              <a:rPr lang="da-DK" sz="1100" baseline="0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indv</a:t>
            </a:r>
            <a:r>
              <a:rPr lang="da-DK" sz="1100" baseline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.)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055075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6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317715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0"/>
            <a:fld id="{A16CFAD1-D197-4A88-B173-A6412E995EE5}" type="slidenum">
              <a:rPr lang="en-GB" smtClean="0"/>
              <a:t>6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323423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6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91137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da-DK" sz="11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78847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da-DK" baseline="0" dirty="0"/>
              <a:t>Omregning:</a:t>
            </a: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baseline="0" dirty="0"/>
              <a:t>25,26 Euro/MWh</a:t>
            </a: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baseline="0" dirty="0"/>
              <a:t>= 188 DKK/MWh</a:t>
            </a: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baseline="0" dirty="0"/>
              <a:t>= 2,3 DKK/M3</a:t>
            </a:r>
          </a:p>
          <a:p>
            <a:pPr marL="0" indent="0">
              <a:buFontTx/>
              <a:buNone/>
            </a:pPr>
            <a:endParaRPr lang="da-DK" baseline="0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79817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a-DK" dirty="0"/>
              <a:t>Sidste 12 måneder </a:t>
            </a:r>
            <a:r>
              <a:rPr lang="da-DK" dirty="0" err="1"/>
              <a:t>t.o.m</a:t>
            </a:r>
            <a:r>
              <a:rPr lang="da-DK" dirty="0"/>
              <a:t>.</a:t>
            </a:r>
            <a:r>
              <a:rPr lang="da-DK" baseline="0" dirty="0"/>
              <a:t> april 2023: 23 pct.</a:t>
            </a:r>
          </a:p>
          <a:p>
            <a:pPr marL="171450" indent="-171450">
              <a:buFontTx/>
              <a:buChar char="-"/>
            </a:pPr>
            <a:r>
              <a:rPr lang="da-DK" baseline="0" dirty="0"/>
              <a:t>April 2023: - 28 pct. ift. normalen. </a:t>
            </a:r>
            <a:endParaRPr lang="da-DK" dirty="0"/>
          </a:p>
          <a:p>
            <a:pPr marL="171450" indent="-171450">
              <a:buFontTx/>
              <a:buChar char="-"/>
            </a:pPr>
            <a:r>
              <a:rPr lang="da-DK" dirty="0"/>
              <a:t>Generelt er gasforbruget reduceret i EU</a:t>
            </a:r>
          </a:p>
          <a:p>
            <a:pPr marL="171450" indent="-171450">
              <a:buFontTx/>
              <a:buChar char="-"/>
            </a:pPr>
            <a:r>
              <a:rPr lang="da-DK" dirty="0"/>
              <a:t>Det er rigtig positivt</a:t>
            </a:r>
            <a:r>
              <a:rPr lang="da-DK" baseline="0" dirty="0"/>
              <a:t> at forbruget af gas er faldet – det stiller os rigtig godt ift. at komme gennem vinteren, også når det kommer til elforsyning. </a:t>
            </a:r>
          </a:p>
          <a:p>
            <a:pPr marL="171450" indent="-171450">
              <a:buFontTx/>
              <a:buChar char="-"/>
            </a:pPr>
            <a:r>
              <a:rPr lang="da-DK" baseline="0" dirty="0"/>
              <a:t>Noget af reduktionen skyldes, at vi har haft en lun vinter. Derudover har mange at de mest gasforbrugende virksomheder omstillet til olie, hvilket bringer mig videre til næste slide.</a:t>
            </a:r>
            <a:endParaRPr lang="da-DK" dirty="0"/>
          </a:p>
          <a:p>
            <a:pPr marL="0" indent="0">
              <a:buFontTx/>
              <a:buNone/>
            </a:pPr>
            <a:endParaRPr lang="da-DK" baseline="0" dirty="0">
              <a:solidFill>
                <a:schemeClr val="accent3"/>
              </a:solidFill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0910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Den indregnede reduktion</a:t>
            </a:r>
            <a:r>
              <a:rPr lang="da-DK" baseline="0" dirty="0"/>
              <a:t> er </a:t>
            </a:r>
            <a:r>
              <a:rPr lang="da-DK" u="sng" baseline="0" dirty="0"/>
              <a:t>23 % </a:t>
            </a:r>
            <a:r>
              <a:rPr lang="da-DK" baseline="0" dirty="0"/>
              <a:t>- tilsvarende de seneste 12 måneders gennemsnitlige reduktion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49680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Opdateret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25210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60362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3.jp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9.xml"/></Relationships>
</file>

<file path=ppt/slideLayouts/_rels/slideLayout2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18.png"/><Relationship Id="rId4" Type="http://schemas.openxmlformats.org/officeDocument/2006/relationships/image" Target="../media/image30.png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0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0.xml"/></Relationships>
</file>

<file path=ppt/slideLayouts/_rels/slideLayout2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18.png"/><Relationship Id="rId4" Type="http://schemas.openxmlformats.org/officeDocument/2006/relationships/image" Target="../media/image30.png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2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3.jpg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3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13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3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4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4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4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4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Master" Target="../slideMasters/slideMaster14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4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5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5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5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5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5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Master" Target="../slideMasters/slideMaster15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5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7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17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7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8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8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8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8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8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9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9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9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9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3.jpg"/><Relationship Id="rId1" Type="http://schemas.openxmlformats.org/officeDocument/2006/relationships/slideMaster" Target="../slideMasters/slideMaster2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1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1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1.xml"/></Relationships>
</file>

<file path=ppt/slideLayouts/_rels/slideLayout3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23.jpg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emf"/><Relationship Id="rId1" Type="http://schemas.openxmlformats.org/officeDocument/2006/relationships/slideMaster" Target="../slideMasters/slideMaster22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5.jpg"/><Relationship Id="rId1" Type="http://schemas.openxmlformats.org/officeDocument/2006/relationships/slideMaster" Target="../slideMasters/slideMaster22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Master" Target="../slideMasters/slideMaster22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3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3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24.xml"/></Relationships>
</file>

<file path=ppt/slideLayouts/_rels/slideLayout43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4.xml"/><Relationship Id="rId4" Type="http://schemas.openxmlformats.org/officeDocument/2006/relationships/image" Target="../media/image25.emf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24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sv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4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24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sv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4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4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4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4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4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4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4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4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4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4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4.xml"/><Relationship Id="rId4" Type="http://schemas.openxmlformats.org/officeDocument/2006/relationships/image" Target="../media/image27.emf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4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4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4.xml"/><Relationship Id="rId4" Type="http://schemas.openxmlformats.org/officeDocument/2006/relationships/image" Target="../media/image27.emf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4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4.xml"/><Relationship Id="rId4" Type="http://schemas.openxmlformats.org/officeDocument/2006/relationships/image" Target="../media/image27.emf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4.xml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4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4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24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26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65.jpg"/><Relationship Id="rId1" Type="http://schemas.openxmlformats.org/officeDocument/2006/relationships/slideMaster" Target="../slideMasters/slideMaster26.xml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jpg"/><Relationship Id="rId1" Type="http://schemas.openxmlformats.org/officeDocument/2006/relationships/slideMaster" Target="../slideMasters/slideMaster26.xml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8.jpg"/><Relationship Id="rId1" Type="http://schemas.openxmlformats.org/officeDocument/2006/relationships/slideMaster" Target="../slideMasters/slideMaster26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69.jpeg"/><Relationship Id="rId1" Type="http://schemas.openxmlformats.org/officeDocument/2006/relationships/slideMaster" Target="../slideMasters/slideMaster26.xml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6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6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7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7.xml"/></Relationships>
</file>

<file path=ppt/slideLayouts/_rels/slideLayout5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7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7.xml"/></Relationships>
</file>

<file path=ppt/slideLayouts/_rels/slideLayout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7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7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7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7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8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8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3.jp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Supergrafik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942999" cy="47810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96267" y="1575836"/>
            <a:ext cx="7823522" cy="1846264"/>
          </a:xfrm>
        </p:spPr>
        <p:txBody>
          <a:bodyPr anchor="b"/>
          <a:lstStyle>
            <a:lvl1pPr algn="l">
              <a:spcBef>
                <a:spcPts val="400"/>
              </a:spcBef>
              <a:defRPr lang="da-DK" b="0" i="0" smtClean="0">
                <a:effectLst/>
              </a:defRPr>
            </a:lvl1pPr>
          </a:lstStyle>
          <a:p>
            <a:r>
              <a:rPr lang="en-GB" noProof="0" dirty="0"/>
              <a:t>insert 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96267" y="3680864"/>
            <a:ext cx="7823522" cy="524933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None/>
              <a:defRPr sz="3300">
                <a:solidFill>
                  <a:schemeClr val="accent1"/>
                </a:solidFill>
              </a:defRPr>
            </a:lvl1pPr>
            <a:lvl2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2pPr>
            <a:lvl3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3pPr>
            <a:lvl4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4pPr>
            <a:lvl5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5pPr>
            <a:lvl6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6pPr>
            <a:lvl7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7pPr>
            <a:lvl8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8pPr>
            <a:lvl9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9pPr>
          </a:lstStyle>
          <a:p>
            <a:r>
              <a:rPr lang="en-GB" noProof="0" dirty="0"/>
              <a:t>Insert</a:t>
            </a:r>
            <a:r>
              <a:rPr lang="en-GB" dirty="0"/>
              <a:t> sub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37" y="4349729"/>
            <a:ext cx="7824075" cy="45878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i="1">
                <a:solidFill>
                  <a:schemeClr val="tx2">
                    <a:lumMod val="75000"/>
                  </a:schemeClr>
                </a:solidFill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buFont typeface="Arial" panose="020B0604020202020204" pitchFamily="34" charset="0"/>
              <a:buChar char="​"/>
              <a:defRPr sz="2400"/>
            </a:lvl3pPr>
            <a:lvl4pPr marL="0" indent="0">
              <a:buFont typeface="Arial" panose="020B0604020202020204" pitchFamily="34" charset="0"/>
              <a:buChar char="​"/>
              <a:defRPr sz="2400"/>
            </a:lvl4pPr>
            <a:lvl5pPr marL="0" indent="0">
              <a:buFont typeface="Arial" panose="020B0604020202020204" pitchFamily="34" charset="0"/>
              <a:buChar char="​"/>
              <a:defRPr sz="2400"/>
            </a:lvl5pPr>
            <a:lvl6pPr marL="0" indent="0">
              <a:buFont typeface="Arial" panose="020B0604020202020204" pitchFamily="34" charset="0"/>
              <a:buChar char="​"/>
              <a:defRPr sz="2400"/>
            </a:lvl6pPr>
            <a:lvl7pPr marL="0" indent="0">
              <a:buFont typeface="Arial" panose="020B0604020202020204" pitchFamily="34" charset="0"/>
              <a:buChar char="​"/>
              <a:defRPr sz="2400"/>
            </a:lvl7pPr>
            <a:lvl8pPr marL="0" indent="0">
              <a:buFont typeface="Arial" panose="020B0604020202020204" pitchFamily="34" charset="0"/>
              <a:buChar char="​"/>
              <a:defRPr sz="2400"/>
            </a:lvl8pPr>
          </a:lstStyle>
          <a:p>
            <a:pPr lvl="0"/>
            <a:r>
              <a:rPr lang="en-GB" noProof="0" dirty="0"/>
              <a:t>Insert name</a:t>
            </a:r>
          </a:p>
        </p:txBody>
      </p:sp>
    </p:spTree>
    <p:extLst>
      <p:ext uri="{BB962C8B-B14F-4D97-AF65-F5344CB8AC3E}">
        <p14:creationId xmlns:p14="http://schemas.microsoft.com/office/powerpoint/2010/main" val="20248076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kta bok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lå baggrund"/>
          <p:cNvSpPr/>
          <p:nvPr userDrawn="1"/>
        </p:nvSpPr>
        <p:spPr>
          <a:xfrm>
            <a:off x="-1" y="0"/>
            <a:ext cx="40644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" name="Mørk blå baggrund"/>
          <p:cNvSpPr/>
          <p:nvPr userDrawn="1"/>
        </p:nvSpPr>
        <p:spPr>
          <a:xfrm>
            <a:off x="4063800" y="0"/>
            <a:ext cx="40644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Grøn baggrund"/>
          <p:cNvSpPr/>
          <p:nvPr userDrawn="1"/>
        </p:nvSpPr>
        <p:spPr>
          <a:xfrm>
            <a:off x="8128200" y="0"/>
            <a:ext cx="4064400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199" y="1196975"/>
            <a:ext cx="2880000" cy="104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2199" y="2335214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41608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37758" y="2335213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701559" y="2335213"/>
            <a:ext cx="2880000" cy="3821112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26458" y="2635420"/>
            <a:ext cx="646112" cy="24288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0589394-5D7C-2F4F-8AB5-24F785BCD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98453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headlin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920367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149D3B-849F-0A4D-A824-3A8042197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080C5317-E351-3E4F-910E-18F821FD9BAC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/>
        <p:txBody>
          <a:bodyPr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795643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2"/>
            <a:ext cx="10889269" cy="5302251"/>
          </a:xfrm>
        </p:spPr>
        <p:txBody>
          <a:bodyPr anchor="ctr"/>
          <a:lstStyle>
            <a:lvl1pPr algn="ctr">
              <a:defRPr sz="6000">
                <a:solidFill>
                  <a:schemeClr val="bg2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3955355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6BF9ADF-5782-FA46-A09C-46A4864FF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68710134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370101" y="2322504"/>
            <a:ext cx="7821900" cy="2211293"/>
          </a:xfrm>
          <a:prstGeom prst="rect">
            <a:avLst/>
          </a:prstGeom>
          <a:solidFill>
            <a:srgbClr val="41517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78416" y="2330971"/>
            <a:ext cx="3024440" cy="220398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370099" y="2356493"/>
            <a:ext cx="7821900" cy="1089939"/>
          </a:xfrm>
          <a:prstGeom prst="rect">
            <a:avLst/>
          </a:prstGeom>
          <a:noFill/>
        </p:spPr>
        <p:txBody>
          <a:bodyPr lIns="108000" anchor="b">
            <a:normAutofit/>
          </a:bodyPr>
          <a:lstStyle>
            <a:lvl1pPr algn="l">
              <a:defRPr sz="3200" cap="all" baseline="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370100" y="4133725"/>
            <a:ext cx="7404712" cy="408392"/>
          </a:xfrm>
          <a:prstGeom prst="rect">
            <a:avLst/>
          </a:prstGeom>
        </p:spPr>
        <p:txBody>
          <a:bodyPr lIns="108000">
            <a:normAutofit/>
          </a:bodyPr>
          <a:lstStyle>
            <a:lvl1pPr marL="0" indent="0" algn="l">
              <a:buNone/>
              <a:defRPr sz="1333" cap="none" baseline="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Click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sub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917" y="3446432"/>
            <a:ext cx="7821083" cy="687293"/>
          </a:xfrm>
          <a:prstGeom prst="rect">
            <a:avLst/>
          </a:prstGeom>
        </p:spPr>
        <p:txBody>
          <a:bodyPr lIns="108000">
            <a:normAutofit/>
          </a:bodyPr>
          <a:lstStyle>
            <a:lvl1pPr>
              <a:defRPr sz="1867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6216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400" y="2323200"/>
            <a:ext cx="7824000" cy="2218493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78416" y="2330971"/>
            <a:ext cx="3024440" cy="220398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370099" y="2356493"/>
            <a:ext cx="7821900" cy="1089939"/>
          </a:xfrm>
          <a:prstGeom prst="rect">
            <a:avLst/>
          </a:prstGeom>
          <a:noFill/>
        </p:spPr>
        <p:txBody>
          <a:bodyPr lIns="108000" anchor="b">
            <a:normAutofit/>
          </a:bodyPr>
          <a:lstStyle>
            <a:lvl1pPr algn="l">
              <a:defRPr sz="3200" cap="all" baseline="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4370100" y="4133725"/>
            <a:ext cx="7404712" cy="408392"/>
          </a:xfrm>
          <a:prstGeom prst="rect">
            <a:avLst/>
          </a:prstGeom>
        </p:spPr>
        <p:txBody>
          <a:bodyPr lIns="108000">
            <a:normAutofit/>
          </a:bodyPr>
          <a:lstStyle>
            <a:lvl1pPr marL="0" indent="0" algn="l">
              <a:buNone/>
              <a:defRPr sz="1333" cap="none" baseline="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Click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sub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917" y="3446432"/>
            <a:ext cx="7821083" cy="687293"/>
          </a:xfrm>
          <a:prstGeom prst="rect">
            <a:avLst/>
          </a:prstGeom>
        </p:spPr>
        <p:txBody>
          <a:bodyPr lIns="108000">
            <a:normAutofit/>
          </a:bodyPr>
          <a:lstStyle>
            <a:lvl1pPr>
              <a:defRPr sz="1867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5869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82650" y="482600"/>
            <a:ext cx="11207012" cy="5878912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50" y="1919999"/>
            <a:ext cx="11233929" cy="4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82650" y="422461"/>
            <a:ext cx="10276668" cy="1200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cap="all" baseline="0"/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9448" y="6147716"/>
            <a:ext cx="957131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Pladsholder til tekst 8"/>
          <p:cNvSpPr>
            <a:spLocks noGrp="1"/>
          </p:cNvSpPr>
          <p:nvPr>
            <p:ph type="body" sz="quarter" idx="10" hasCustomPrompt="1"/>
          </p:nvPr>
        </p:nvSpPr>
        <p:spPr>
          <a:xfrm>
            <a:off x="2684733" y="6147717"/>
            <a:ext cx="797772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Doc. </a:t>
            </a:r>
            <a:r>
              <a:rPr lang="da-DK" dirty="0" err="1"/>
              <a:t>no</a:t>
            </a:r>
            <a:endParaRPr lang="da-DK" dirty="0"/>
          </a:p>
        </p:txBody>
      </p:sp>
      <p:sp>
        <p:nvSpPr>
          <p:cNvPr id="17" name="Pladsholder til tekst 8"/>
          <p:cNvSpPr>
            <a:spLocks noGrp="1"/>
          </p:cNvSpPr>
          <p:nvPr>
            <p:ph type="body" sz="quarter" idx="12" hasCustomPrompt="1"/>
          </p:nvPr>
        </p:nvSpPr>
        <p:spPr>
          <a:xfrm>
            <a:off x="2005001" y="6147717"/>
            <a:ext cx="671264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ID: </a:t>
            </a:r>
          </a:p>
        </p:txBody>
      </p:sp>
      <p:sp>
        <p:nvSpPr>
          <p:cNvPr id="18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143627" y="6147717"/>
            <a:ext cx="861375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Date:</a:t>
            </a:r>
          </a:p>
        </p:txBody>
      </p:sp>
    </p:spTree>
    <p:extLst>
      <p:ext uri="{BB962C8B-B14F-4D97-AF65-F5344CB8AC3E}">
        <p14:creationId xmlns:p14="http://schemas.microsoft.com/office/powerpoint/2010/main" val="2356187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2845">
          <p15:clr>
            <a:srgbClr val="FBAE40"/>
          </p15:clr>
        </p15:guide>
        <p15:guide id="3" orient="horz" pos="894">
          <p15:clr>
            <a:srgbClr val="FBAE40"/>
          </p15:clr>
        </p15:guide>
        <p15:guide id="4" pos="2880">
          <p15:clr>
            <a:srgbClr val="FBAE40"/>
          </p15:clr>
        </p15:guide>
        <p15:guide id="5" pos="226">
          <p15:clr>
            <a:srgbClr val="FBAE40"/>
          </p15:clr>
        </p15:guide>
        <p15:guide id="6" pos="5534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dsholder til indhold 2"/>
          <p:cNvSpPr>
            <a:spLocks noGrp="1"/>
          </p:cNvSpPr>
          <p:nvPr>
            <p:ph idx="14" hasCustomPrompt="1"/>
          </p:nvPr>
        </p:nvSpPr>
        <p:spPr>
          <a:xfrm>
            <a:off x="912000" y="1745999"/>
            <a:ext cx="4608000" cy="4208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12000" y="1038227"/>
            <a:ext cx="9792000" cy="419863"/>
          </a:xfrm>
          <a:prstGeom prst="rect">
            <a:avLst/>
          </a:prstGeom>
        </p:spPr>
        <p:txBody>
          <a:bodyPr/>
          <a:lstStyle/>
          <a:p>
            <a:r>
              <a:rPr lang="da-DK" dirty="0"/>
              <a:t>Klik og indsæt overskrift</a:t>
            </a:r>
          </a:p>
        </p:txBody>
      </p:sp>
      <p:sp>
        <p:nvSpPr>
          <p:cNvPr id="8" name="Pladsholder til indhold 3"/>
          <p:cNvSpPr>
            <a:spLocks noGrp="1"/>
          </p:cNvSpPr>
          <p:nvPr>
            <p:ph idx="13" hasCustomPrompt="1"/>
          </p:nvPr>
        </p:nvSpPr>
        <p:spPr>
          <a:xfrm>
            <a:off x="6097381" y="1745999"/>
            <a:ext cx="4608000" cy="4208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64800" y="6480002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5587200" y="6480002"/>
            <a:ext cx="1468907" cy="365125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10944539" y="6480002"/>
            <a:ext cx="637861" cy="365125"/>
          </a:xfrm>
          <a:prstGeom prst="rect">
            <a:avLst/>
          </a:prstGeom>
        </p:spPr>
        <p:txBody>
          <a:bodyPr/>
          <a:lstStyle/>
          <a:p>
            <a:fld id="{667EC89C-17A0-4E64-A6D2-B825673CEEDF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2336000" y="0"/>
            <a:ext cx="2400000" cy="59093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6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endParaRPr lang="da-DK" sz="16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en kort og enkel overskrift.</a:t>
            </a:r>
          </a:p>
          <a:p>
            <a:pPr rtl="0"/>
            <a:endParaRPr lang="da-DK" sz="16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n kombination af tekst og billeder/diagrammer eller faktabokse gør præsentationen mere dynamisk.</a:t>
            </a:r>
          </a:p>
          <a:p>
            <a:pPr rtl="0"/>
            <a:endParaRPr lang="da-DK" sz="16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de foruddefinerede Energinet.dk farver i </a:t>
            </a: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tedet for standardfarver.</a:t>
            </a:r>
          </a:p>
          <a:p>
            <a:pPr rtl="0"/>
            <a:endParaRPr lang="da-DK" sz="16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gå for mange effekter.</a:t>
            </a:r>
          </a:p>
          <a:p>
            <a:pPr rtl="0"/>
            <a:endParaRPr lang="da-DK" sz="16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u kan finde billeder og grafiske elementer i Energinet.dk’s billeddatabase (</a:t>
            </a:r>
            <a:r>
              <a:rPr lang="da-DK" sz="16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umulus</a:t>
            </a:r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) på </a:t>
            </a:r>
            <a:r>
              <a:rPr lang="da-DK" sz="16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Site</a:t>
            </a:r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under Værktøjer – Kommunikation</a:t>
            </a:r>
          </a:p>
        </p:txBody>
      </p:sp>
    </p:spTree>
    <p:extLst>
      <p:ext uri="{BB962C8B-B14F-4D97-AF65-F5344CB8AC3E}">
        <p14:creationId xmlns:p14="http://schemas.microsoft.com/office/powerpoint/2010/main" val="76302993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Supergrafik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942999" cy="47810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96267" y="1575836"/>
            <a:ext cx="7823522" cy="1846264"/>
          </a:xfrm>
        </p:spPr>
        <p:txBody>
          <a:bodyPr anchor="b"/>
          <a:lstStyle>
            <a:lvl1pPr algn="l">
              <a:spcBef>
                <a:spcPts val="400"/>
              </a:spcBef>
              <a:defRPr sz="4800" baseline="0">
                <a:solidFill>
                  <a:schemeClr val="accent2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96267" y="3680864"/>
            <a:ext cx="7823522" cy="524933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None/>
              <a:defRPr sz="3300">
                <a:solidFill>
                  <a:schemeClr val="accent1"/>
                </a:solidFill>
              </a:defRPr>
            </a:lvl1pPr>
            <a:lvl2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2pPr>
            <a:lvl3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3pPr>
            <a:lvl4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4pPr>
            <a:lvl5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5pPr>
            <a:lvl6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6pPr>
            <a:lvl7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7pPr>
            <a:lvl8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8pPr>
            <a:lvl9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9pPr>
          </a:lstStyle>
          <a:p>
            <a:r>
              <a:rPr lang="da-DK" dirty="0"/>
              <a:t>Indsæt underoverskrift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37" y="4349729"/>
            <a:ext cx="7824075" cy="45878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i="1">
                <a:solidFill>
                  <a:schemeClr val="tx2">
                    <a:lumMod val="75000"/>
                  </a:schemeClr>
                </a:solidFill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buFont typeface="Arial" panose="020B0604020202020204" pitchFamily="34" charset="0"/>
              <a:buChar char="​"/>
              <a:defRPr sz="2400"/>
            </a:lvl3pPr>
            <a:lvl4pPr marL="0" indent="0">
              <a:buFont typeface="Arial" panose="020B0604020202020204" pitchFamily="34" charset="0"/>
              <a:buChar char="​"/>
              <a:defRPr sz="2400"/>
            </a:lvl4pPr>
            <a:lvl5pPr marL="0" indent="0">
              <a:buFont typeface="Arial" panose="020B0604020202020204" pitchFamily="34" charset="0"/>
              <a:buChar char="​"/>
              <a:defRPr sz="2400"/>
            </a:lvl5pPr>
            <a:lvl6pPr marL="0" indent="0">
              <a:buFont typeface="Arial" panose="020B0604020202020204" pitchFamily="34" charset="0"/>
              <a:buChar char="​"/>
              <a:defRPr sz="2400"/>
            </a:lvl6pPr>
            <a:lvl7pPr marL="0" indent="0">
              <a:buFont typeface="Arial" panose="020B0604020202020204" pitchFamily="34" charset="0"/>
              <a:buChar char="​"/>
              <a:defRPr sz="2400"/>
            </a:lvl7pPr>
            <a:lvl8pPr marL="0" indent="0">
              <a:buFont typeface="Arial" panose="020B0604020202020204" pitchFamily="34" charset="0"/>
              <a:buChar char="​"/>
              <a:defRPr sz="2400"/>
            </a:lvl8pPr>
          </a:lstStyle>
          <a:p>
            <a:pPr lvl="0"/>
            <a:r>
              <a:rPr lang="da-DK" dirty="0"/>
              <a:t>Indsæt navn og efternavn</a:t>
            </a:r>
          </a:p>
        </p:txBody>
      </p:sp>
    </p:spTree>
    <p:extLst>
      <p:ext uri="{BB962C8B-B14F-4D97-AF65-F5344CB8AC3E}">
        <p14:creationId xmlns:p14="http://schemas.microsoft.com/office/powerpoint/2010/main" val="412542563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1022667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63569880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7" y="1196975"/>
            <a:ext cx="4921739" cy="4959350"/>
          </a:xfrm>
          <a:solidFill>
            <a:schemeClr val="bg1">
              <a:lumMod val="95000"/>
            </a:schemeClr>
          </a:solidFill>
        </p:spPr>
        <p:txBody>
          <a:bodyPr tIns="108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82663" y="1196975"/>
            <a:ext cx="4933337" cy="71913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4" y="2852739"/>
            <a:ext cx="4933336" cy="3303586"/>
          </a:xfrm>
        </p:spPr>
        <p:txBody>
          <a:bodyPr/>
          <a:lstStyle/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4933337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4218279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akta bokse med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1184C-B22A-AD40-8EC2-6DB7F8554D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insert headline</a:t>
            </a:r>
            <a:endParaRPr lang="da-DK" dirty="0"/>
          </a:p>
        </p:txBody>
      </p:sp>
      <p:sp>
        <p:nvSpPr>
          <p:cNvPr id="20" name="Pladsholder til tekst 20">
            <a:extLst>
              <a:ext uri="{FF2B5EF4-FFF2-40B4-BE49-F238E27FC236}">
                <a16:creationId xmlns:a16="http://schemas.microsoft.com/office/drawing/2014/main" id="{589E580B-CAF0-0843-9549-CC4DC8EB83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2" y="2227943"/>
            <a:ext cx="3248251" cy="4126359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E173464F-0D76-D747-8AD0-2735D2AA33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65769" y="2227943"/>
            <a:ext cx="3248251" cy="4126359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2" name="Pladsholder til tekst 20">
            <a:extLst>
              <a:ext uri="{FF2B5EF4-FFF2-40B4-BE49-F238E27FC236}">
                <a16:creationId xmlns:a16="http://schemas.microsoft.com/office/drawing/2014/main" id="{D7009CD0-C6D3-DA47-9564-AA91F054FE8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48876" y="2227943"/>
            <a:ext cx="3248251" cy="4126359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B673409-9F47-FB45-A48A-89910EF4B4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4667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FE2EB7B0-E6EB-C04A-92CC-2F23EB06AB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0818" y="3521431"/>
            <a:ext cx="2729638" cy="2545540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74B29C6-58EB-D34C-9127-ACEA3C8422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27295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127600E4-A921-224B-8836-E332CB457E7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23446" y="3521431"/>
            <a:ext cx="2729638" cy="2545540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1A87E3-BEAA-A645-A475-1D81C3B496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17980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044BDBEE-4768-5D48-B936-50E41DB6CE9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14131" y="3521431"/>
            <a:ext cx="2729638" cy="2545540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1C1CD159-6126-BB49-A4D5-EA552E4B32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FLD_PresentationTitle">
            <a:extLst>
              <a:ext uri="{FF2B5EF4-FFF2-40B4-BE49-F238E27FC236}">
                <a16:creationId xmlns:a16="http://schemas.microsoft.com/office/drawing/2014/main" id="{8EC7AE8A-1908-8F4C-AC47-5BD20AFB71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35EE0B7-99C6-414E-BE76-1F4FDED4D7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871989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337127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4130513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487069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799147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3060380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B56B0860-E2FC-4046-BE7C-E6EA1D3C7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86B7801-E3B9-8C49-9C6E-CA2439CD3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486B617-819F-D54A-871B-B63CD3758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4D1D345-D353-6F4A-A586-8E5CDA0F43FC}"/>
              </a:ext>
            </a:extLst>
          </p:cNvPr>
          <p:cNvSpPr/>
          <p:nvPr userDrawn="1"/>
        </p:nvSpPr>
        <p:spPr>
          <a:xfrm>
            <a:off x="949705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Pladsholder til tekst 15">
            <a:extLst>
              <a:ext uri="{FF2B5EF4-FFF2-40B4-BE49-F238E27FC236}">
                <a16:creationId xmlns:a16="http://schemas.microsoft.com/office/drawing/2014/main" id="{8E6A2F22-BEF4-6543-97DA-88F5BA3B8E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9705" y="2488040"/>
            <a:ext cx="4920028" cy="1405232"/>
          </a:xfrm>
        </p:spPr>
        <p:txBody>
          <a:bodyPr/>
          <a:lstStyle>
            <a:lvl1pPr algn="ctr">
              <a:defRPr sz="7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OGRAM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D815E82-1046-D241-BFCC-C6BAD16F7C90}"/>
              </a:ext>
            </a:extLst>
          </p:cNvPr>
          <p:cNvSpPr/>
          <p:nvPr userDrawn="1"/>
        </p:nvSpPr>
        <p:spPr>
          <a:xfrm>
            <a:off x="6181582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2" name="Pladsholder til tekst 13">
            <a:extLst>
              <a:ext uri="{FF2B5EF4-FFF2-40B4-BE49-F238E27FC236}">
                <a16:creationId xmlns:a16="http://schemas.microsoft.com/office/drawing/2014/main" id="{3F7C6172-494C-DD44-8F59-32C8484CFA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2152" y="2108027"/>
            <a:ext cx="3798888" cy="3101517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Tekst
Tekst 
Tekst 
 Tekst 
 Tekst</a:t>
            </a:r>
          </a:p>
          <a:p>
            <a:r>
              <a:rPr lang="da-DK" dirty="0"/>
              <a:t> Tekst</a:t>
            </a:r>
          </a:p>
          <a:p>
            <a:r>
              <a:rPr lang="da-DK" dirty="0"/>
              <a:t> Tekst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C036E63E-0936-6E48-B39F-028BB2CB9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158" y="3714967"/>
            <a:ext cx="2520372" cy="2398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43951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em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8C022D2-711D-3B48-9664-6E97484392F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3AD1A35-4CCE-1C47-BAAC-A29B69D42F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6231" y="3780149"/>
            <a:ext cx="6232180" cy="1470041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5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 for nyt tema/emne</a:t>
            </a:r>
          </a:p>
        </p:txBody>
      </p:sp>
      <p:sp>
        <p:nvSpPr>
          <p:cNvPr id="11" name="Pladsholder til billede 21">
            <a:extLst>
              <a:ext uri="{FF2B5EF4-FFF2-40B4-BE49-F238E27FC236}">
                <a16:creationId xmlns:a16="http://schemas.microsoft.com/office/drawing/2014/main" id="{79C2A64C-C131-7147-B71D-EF7FA287183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61675" y="1580349"/>
            <a:ext cx="1861293" cy="1861293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5A1DB3C-A15F-F44C-B74D-5E8BAEC926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6231" y="5355771"/>
            <a:ext cx="6232180" cy="837848"/>
          </a:xfrm>
        </p:spPr>
        <p:txBody>
          <a:bodyPr anchor="t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2000" cap="none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evt. kort understøttende tekst</a:t>
            </a:r>
          </a:p>
        </p:txBody>
      </p:sp>
    </p:spTree>
    <p:extLst>
      <p:ext uri="{BB962C8B-B14F-4D97-AF65-F5344CB8AC3E}">
        <p14:creationId xmlns:p14="http://schemas.microsoft.com/office/powerpoint/2010/main" val="390545321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8" y="0"/>
            <a:ext cx="5916612" cy="6858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6275388" cy="685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58814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68708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856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94486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83673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45C937D3-2FD3-D148-9B52-28210AC27B20}"/>
              </a:ext>
            </a:extLst>
          </p:cNvPr>
          <p:cNvSpPr/>
          <p:nvPr userDrawn="1"/>
        </p:nvSpPr>
        <p:spPr>
          <a:xfrm>
            <a:off x="6108568" y="0"/>
            <a:ext cx="608343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03A224DA-2850-CB41-8EBA-23FB13A4A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1092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EB37FB4A-7EE7-7342-AF40-FDD92B4E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03054" y="1196976"/>
            <a:ext cx="4222982" cy="1547812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523344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kta bok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lå baggrund"/>
          <p:cNvSpPr/>
          <p:nvPr userDrawn="1"/>
        </p:nvSpPr>
        <p:spPr>
          <a:xfrm>
            <a:off x="-1" y="0"/>
            <a:ext cx="40644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" name="Mørk blå baggrund"/>
          <p:cNvSpPr/>
          <p:nvPr userDrawn="1"/>
        </p:nvSpPr>
        <p:spPr>
          <a:xfrm>
            <a:off x="4063800" y="0"/>
            <a:ext cx="40644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Grøn baggrund"/>
          <p:cNvSpPr/>
          <p:nvPr userDrawn="1"/>
        </p:nvSpPr>
        <p:spPr>
          <a:xfrm>
            <a:off x="8128200" y="0"/>
            <a:ext cx="4064400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199" y="1196975"/>
            <a:ext cx="2880000" cy="104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Indsæt fakta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2199" y="2335214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41608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37758" y="2335213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701559" y="2335213"/>
            <a:ext cx="2880000" cy="3821112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26458" y="2635420"/>
            <a:ext cx="646112" cy="24288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0589394-5D7C-2F4F-8AB5-24F785BCD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98453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</p:spTree>
    <p:extLst>
      <p:ext uri="{BB962C8B-B14F-4D97-AF65-F5344CB8AC3E}">
        <p14:creationId xmlns:p14="http://schemas.microsoft.com/office/powerpoint/2010/main" val="15298628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akta bokse med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1184C-B22A-AD40-8EC2-6DB7F8554D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20" name="Pladsholder til tekst 20">
            <a:extLst>
              <a:ext uri="{FF2B5EF4-FFF2-40B4-BE49-F238E27FC236}">
                <a16:creationId xmlns:a16="http://schemas.microsoft.com/office/drawing/2014/main" id="{589E580B-CAF0-0843-9549-CC4DC8EB83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2" y="2227943"/>
            <a:ext cx="3248251" cy="4126359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E173464F-0D76-D747-8AD0-2735D2AA33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65769" y="2227943"/>
            <a:ext cx="3248251" cy="4126359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2" name="Pladsholder til tekst 20">
            <a:extLst>
              <a:ext uri="{FF2B5EF4-FFF2-40B4-BE49-F238E27FC236}">
                <a16:creationId xmlns:a16="http://schemas.microsoft.com/office/drawing/2014/main" id="{D7009CD0-C6D3-DA47-9564-AA91F054FE8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48876" y="2227943"/>
            <a:ext cx="3248251" cy="4126359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B673409-9F47-FB45-A48A-89910EF4B4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4667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74B29C6-58EB-D34C-9127-ACEA3C8422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27295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1A87E3-BEAA-A645-A475-1D81C3B496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17980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Pladsholder til dato 2">
            <a:extLst>
              <a:ext uri="{FF2B5EF4-FFF2-40B4-BE49-F238E27FC236}">
                <a16:creationId xmlns:a16="http://schemas.microsoft.com/office/drawing/2014/main" id="{6163A414-1DB0-E44F-AA68-084AD5F92A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3" name="Pladsholder til sidefod 3">
            <a:extLst>
              <a:ext uri="{FF2B5EF4-FFF2-40B4-BE49-F238E27FC236}">
                <a16:creationId xmlns:a16="http://schemas.microsoft.com/office/drawing/2014/main" id="{D5BDAAB7-64D3-6F4A-B353-FD3D427AA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4" name="Pladsholder til slidenummer 4">
            <a:extLst>
              <a:ext uri="{FF2B5EF4-FFF2-40B4-BE49-F238E27FC236}">
                <a16:creationId xmlns:a16="http://schemas.microsoft.com/office/drawing/2014/main" id="{69B55418-5C62-9B4C-862D-AC2428413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ADE3066-ED1D-4F49-93F8-391ABD55C0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90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7F8424-2719-084A-B7D9-9177E1063F2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19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6C2F8DB8-478D-2747-97E7-34A79FA6D6D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11880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0114302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ktangel 23">
            <a:extLst>
              <a:ext uri="{FF2B5EF4-FFF2-40B4-BE49-F238E27FC236}">
                <a16:creationId xmlns:a16="http://schemas.microsoft.com/office/drawing/2014/main" id="{A70984DD-6FD6-BD49-9823-E01C00074D58}"/>
              </a:ext>
            </a:extLst>
          </p:cNvPr>
          <p:cNvSpPr/>
          <p:nvPr userDrawn="1"/>
        </p:nvSpPr>
        <p:spPr>
          <a:xfrm>
            <a:off x="0" y="0"/>
            <a:ext cx="6102000" cy="343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B49CAF25-176E-5A4D-9CBF-5CBAFF28450B}"/>
              </a:ext>
            </a:extLst>
          </p:cNvPr>
          <p:cNvSpPr/>
          <p:nvPr userDrawn="1"/>
        </p:nvSpPr>
        <p:spPr>
          <a:xfrm>
            <a:off x="6102000" y="0"/>
            <a:ext cx="6102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2675EE6C-9AF8-5640-8C49-6FCA0D37E4BD}"/>
              </a:ext>
            </a:extLst>
          </p:cNvPr>
          <p:cNvSpPr/>
          <p:nvPr userDrawn="1"/>
        </p:nvSpPr>
        <p:spPr>
          <a:xfrm>
            <a:off x="0" y="3438000"/>
            <a:ext cx="6102000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0250F1C9-E8CA-1D4D-A702-30E9656301CB}"/>
              </a:ext>
            </a:extLst>
          </p:cNvPr>
          <p:cNvSpPr/>
          <p:nvPr userDrawn="1"/>
        </p:nvSpPr>
        <p:spPr>
          <a:xfrm>
            <a:off x="6102000" y="3438000"/>
            <a:ext cx="6102000" cy="343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2C280509-312C-EC4E-9055-368511E7B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242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E5BCC922-2B97-6D45-B26E-C9DCD91CA6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86475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F1A17406-FA28-AF46-87B0-90C9678BE3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6475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974BBC5-8EA0-F544-8FD6-3D20CB74A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6392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B58BAF-EB02-584B-8F8E-308E103900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6475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04355197-8B32-A144-8021-CBD5A16714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6475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1270C9-01F1-7647-BB60-707726D0B4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6392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097DD830-2D9D-0F4F-AB87-6A0DF610B3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6392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1242471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4231207E-52DE-7743-B71F-230159D42985}"/>
              </a:ext>
            </a:extLst>
          </p:cNvPr>
          <p:cNvSpPr/>
          <p:nvPr userDrawn="1"/>
        </p:nvSpPr>
        <p:spPr>
          <a:xfrm>
            <a:off x="0" y="3438854"/>
            <a:ext cx="4064399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363B3948-444E-AA45-B1E9-7EDF40549589}"/>
              </a:ext>
            </a:extLst>
          </p:cNvPr>
          <p:cNvSpPr/>
          <p:nvPr userDrawn="1"/>
        </p:nvSpPr>
        <p:spPr>
          <a:xfrm>
            <a:off x="4060281" y="3438854"/>
            <a:ext cx="4064399" cy="343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5F8A012-C0A3-7947-83C8-A529753F4C0A}"/>
              </a:ext>
            </a:extLst>
          </p:cNvPr>
          <p:cNvSpPr/>
          <p:nvPr userDrawn="1"/>
        </p:nvSpPr>
        <p:spPr>
          <a:xfrm>
            <a:off x="8123999" y="3438854"/>
            <a:ext cx="4068000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BC0267F-007F-3641-8922-B7E2F637F90A}"/>
              </a:ext>
            </a:extLst>
          </p:cNvPr>
          <p:cNvSpPr/>
          <p:nvPr userDrawn="1"/>
        </p:nvSpPr>
        <p:spPr>
          <a:xfrm>
            <a:off x="0" y="0"/>
            <a:ext cx="4064399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D5C2644-5515-1A4C-861C-7326752F58CA}"/>
              </a:ext>
            </a:extLst>
          </p:cNvPr>
          <p:cNvSpPr/>
          <p:nvPr userDrawn="1"/>
        </p:nvSpPr>
        <p:spPr>
          <a:xfrm>
            <a:off x="4060281" y="0"/>
            <a:ext cx="4064399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49124EA-328E-544F-8063-AD5A0253A45B}"/>
              </a:ext>
            </a:extLst>
          </p:cNvPr>
          <p:cNvSpPr/>
          <p:nvPr userDrawn="1"/>
        </p:nvSpPr>
        <p:spPr>
          <a:xfrm>
            <a:off x="8123999" y="0"/>
            <a:ext cx="4068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90D8679-556B-8A40-899D-9C84538CB7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199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4B3218E-0749-9E44-8EB8-F4A37D35C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6298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95927F8-1F62-F141-B530-0EFB97A9C3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87787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F466B7C-EB91-BF4C-AF64-2F54DF448F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199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39CC98F-B499-7842-957F-DE634767DF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6298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899C76E-502E-5F4D-965E-B2EE55D85B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87787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3" name="Pladsholder til billede 21">
            <a:extLst>
              <a:ext uri="{FF2B5EF4-FFF2-40B4-BE49-F238E27FC236}">
                <a16:creationId xmlns:a16="http://schemas.microsoft.com/office/drawing/2014/main" id="{DF55435F-ADCB-E04B-8525-F3542D26DA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444480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2" name="Pladsholder til billede 21">
            <a:extLst>
              <a:ext uri="{FF2B5EF4-FFF2-40B4-BE49-F238E27FC236}">
                <a16:creationId xmlns:a16="http://schemas.microsoft.com/office/drawing/2014/main" id="{645988EB-136C-7B47-8BA1-CF5AFA25140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28662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3" name="Pladsholder til billede 21">
            <a:extLst>
              <a:ext uri="{FF2B5EF4-FFF2-40B4-BE49-F238E27FC236}">
                <a16:creationId xmlns:a16="http://schemas.microsoft.com/office/drawing/2014/main" id="{25765CAD-7482-C640-9455-1D6708AA64F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592275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4" name="Pladsholder til billede 21">
            <a:extLst>
              <a:ext uri="{FF2B5EF4-FFF2-40B4-BE49-F238E27FC236}">
                <a16:creationId xmlns:a16="http://schemas.microsoft.com/office/drawing/2014/main" id="{10C7017F-8D5D-1C4A-B3D6-C1EF8301B11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44480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5" name="Pladsholder til billede 21">
            <a:extLst>
              <a:ext uri="{FF2B5EF4-FFF2-40B4-BE49-F238E27FC236}">
                <a16:creationId xmlns:a16="http://schemas.microsoft.com/office/drawing/2014/main" id="{43FF324F-4E4B-1D43-8DE6-5DF412D016B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428662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6" name="Pladsholder til billede 21">
            <a:extLst>
              <a:ext uri="{FF2B5EF4-FFF2-40B4-BE49-F238E27FC236}">
                <a16:creationId xmlns:a16="http://schemas.microsoft.com/office/drawing/2014/main" id="{6840F908-7AC0-954D-87CD-F598A573381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92275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</p:spTree>
    <p:extLst>
      <p:ext uri="{BB962C8B-B14F-4D97-AF65-F5344CB8AC3E}">
        <p14:creationId xmlns:p14="http://schemas.microsoft.com/office/powerpoint/2010/main" val="21731029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ktangel 23">
            <a:extLst>
              <a:ext uri="{FF2B5EF4-FFF2-40B4-BE49-F238E27FC236}">
                <a16:creationId xmlns:a16="http://schemas.microsoft.com/office/drawing/2014/main" id="{A70984DD-6FD6-BD49-9823-E01C00074D58}"/>
              </a:ext>
            </a:extLst>
          </p:cNvPr>
          <p:cNvSpPr/>
          <p:nvPr userDrawn="1"/>
        </p:nvSpPr>
        <p:spPr>
          <a:xfrm>
            <a:off x="0" y="0"/>
            <a:ext cx="6102000" cy="343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B49CAF25-176E-5A4D-9CBF-5CBAFF28450B}"/>
              </a:ext>
            </a:extLst>
          </p:cNvPr>
          <p:cNvSpPr/>
          <p:nvPr userDrawn="1"/>
        </p:nvSpPr>
        <p:spPr>
          <a:xfrm>
            <a:off x="6102000" y="0"/>
            <a:ext cx="6102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2675EE6C-9AF8-5640-8C49-6FCA0D37E4BD}"/>
              </a:ext>
            </a:extLst>
          </p:cNvPr>
          <p:cNvSpPr/>
          <p:nvPr userDrawn="1"/>
        </p:nvSpPr>
        <p:spPr>
          <a:xfrm>
            <a:off x="0" y="3438000"/>
            <a:ext cx="6102000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0250F1C9-E8CA-1D4D-A702-30E9656301CB}"/>
              </a:ext>
            </a:extLst>
          </p:cNvPr>
          <p:cNvSpPr/>
          <p:nvPr userDrawn="1"/>
        </p:nvSpPr>
        <p:spPr>
          <a:xfrm>
            <a:off x="6102000" y="3438000"/>
            <a:ext cx="6102000" cy="343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2C280509-312C-EC4E-9055-368511E7B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242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nsert headline</a:t>
            </a:r>
            <a:endParaRPr lang="da-DK" dirty="0"/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EDF957BC-F28E-4B4C-B811-210E45711A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6392" y="1659655"/>
            <a:ext cx="4812631" cy="1458930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474B7F38-F83A-194C-AA05-C579857A9E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0242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nsert headline</a:t>
            </a:r>
            <a:endParaRPr lang="da-DK" dirty="0"/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B49C88B7-FF3B-C641-BAAC-314BFBC1816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6392" y="5028497"/>
            <a:ext cx="4812631" cy="1458930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E5BCC922-2B97-6D45-B26E-C9DCD91CA6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08912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nsert headline</a:t>
            </a:r>
            <a:endParaRPr lang="da-DK" dirty="0"/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2A8B2354-F33E-F748-93D6-390E911355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05062" y="5028497"/>
            <a:ext cx="4812631" cy="1458930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F1A17406-FA28-AF46-87B0-90C9678BE3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9661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nsert headline</a:t>
            </a:r>
            <a:endParaRPr lang="da-DK" dirty="0"/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895DBE2F-D60D-024E-9957-B8E11A90BC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85811" y="1659655"/>
            <a:ext cx="4812631" cy="1458930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</p:spTree>
    <p:extLst>
      <p:ext uri="{BB962C8B-B14F-4D97-AF65-F5344CB8AC3E}">
        <p14:creationId xmlns:p14="http://schemas.microsoft.com/office/powerpoint/2010/main" val="292735329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2916302"/>
            <a:ext cx="2398100" cy="3438000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2916302"/>
            <a:ext cx="2398100" cy="3438000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2916302"/>
            <a:ext cx="2398100" cy="343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2916302"/>
            <a:ext cx="2398100" cy="3438000"/>
          </a:xfrm>
          <a:solidFill>
            <a:schemeClr val="accent5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</p:spTree>
    <p:extLst>
      <p:ext uri="{BB962C8B-B14F-4D97-AF65-F5344CB8AC3E}">
        <p14:creationId xmlns:p14="http://schemas.microsoft.com/office/powerpoint/2010/main" val="294072242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40035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E1B3C7FE-A5C5-DB43-8F81-6B58E061747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82663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23" name="Pladsholder til billede 6">
            <a:extLst>
              <a:ext uri="{FF2B5EF4-FFF2-40B4-BE49-F238E27FC236}">
                <a16:creationId xmlns:a16="http://schemas.microsoft.com/office/drawing/2014/main" id="{0DD12C78-FFFA-B441-91D8-3D10BA15064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0028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5" name="Pladsholder til billede 6">
            <a:extLst>
              <a:ext uri="{FF2B5EF4-FFF2-40B4-BE49-F238E27FC236}">
                <a16:creationId xmlns:a16="http://schemas.microsoft.com/office/drawing/2014/main" id="{5433A101-EEC2-1A43-BCC6-EA29BC4C810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9005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6" name="Pladsholder til billede 6">
            <a:extLst>
              <a:ext uri="{FF2B5EF4-FFF2-40B4-BE49-F238E27FC236}">
                <a16:creationId xmlns:a16="http://schemas.microsoft.com/office/drawing/2014/main" id="{C060D71F-6125-7045-8FC0-37F1BD04BF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826370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</p:spTree>
    <p:extLst>
      <p:ext uri="{BB962C8B-B14F-4D97-AF65-F5344CB8AC3E}">
        <p14:creationId xmlns:p14="http://schemas.microsoft.com/office/powerpoint/2010/main" val="265167907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9481498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761376"/>
            <a:ext cx="6749592" cy="2535237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5680" y="5249848"/>
            <a:ext cx="5364292" cy="839867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kort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680" y="4069772"/>
            <a:ext cx="5364291" cy="1030127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298897392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58639" y="0"/>
            <a:ext cx="4242062" cy="6858000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72980" y="2607740"/>
            <a:ext cx="3337528" cy="351968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2980" y="789245"/>
            <a:ext cx="3337528" cy="1576883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158502589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22772A8C-5A1B-E74C-98FD-E87FD5A80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73212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5F867355-AAA7-FD40-B0C3-7BAE5A5FC3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D8A753AC-05F3-AD4C-BF95-2BE4A21C048C}"/>
              </a:ext>
            </a:extLst>
          </p:cNvPr>
          <p:cNvSpPr txBox="1"/>
          <p:nvPr userDrawn="1"/>
        </p:nvSpPr>
        <p:spPr>
          <a:xfrm>
            <a:off x="3479800" y="1876695"/>
            <a:ext cx="5232400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5000" dirty="0">
                <a:solidFill>
                  <a:schemeClr val="bg1"/>
                </a:solidFill>
              </a:rPr>
              <a:t>PAUS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3DDF7F7-0AC1-C443-BA29-DD597A10C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575" y="2261415"/>
            <a:ext cx="4020155" cy="393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9197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ørgsmå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99" b="1121"/>
          <a:stretch/>
        </p:blipFill>
        <p:spPr>
          <a:xfrm>
            <a:off x="-16298" y="0"/>
            <a:ext cx="12208298" cy="6857999"/>
          </a:xfrm>
          <a:prstGeom prst="rect">
            <a:avLst/>
          </a:prstGeom>
        </p:spPr>
      </p:pic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389376" y="5822731"/>
            <a:ext cx="6410325" cy="377825"/>
          </a:xfrm>
        </p:spPr>
        <p:txBody>
          <a:bodyPr/>
          <a:lstStyle>
            <a:lvl1pPr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ONTAKT: Tlf.: xx xx xx xx Mail: </a:t>
            </a:r>
            <a:r>
              <a:rPr lang="da-DK" dirty="0" err="1"/>
              <a:t>XXX@energinet.dk</a:t>
            </a:r>
            <a:endParaRPr lang="da-DK" dirty="0"/>
          </a:p>
        </p:txBody>
      </p:sp>
      <p:sp>
        <p:nvSpPr>
          <p:cNvPr id="4" name="Tekstfelt 3"/>
          <p:cNvSpPr txBox="1"/>
          <p:nvPr userDrawn="1"/>
        </p:nvSpPr>
        <p:spPr>
          <a:xfrm>
            <a:off x="2701158" y="2026750"/>
            <a:ext cx="6600497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0" dirty="0">
                <a:solidFill>
                  <a:schemeClr val="bg1"/>
                </a:solidFill>
              </a:rPr>
              <a:t>SPØRGSMÅL</a:t>
            </a:r>
          </a:p>
        </p:txBody>
      </p:sp>
    </p:spTree>
    <p:extLst>
      <p:ext uri="{BB962C8B-B14F-4D97-AF65-F5344CB8AC3E}">
        <p14:creationId xmlns:p14="http://schemas.microsoft.com/office/powerpoint/2010/main" val="354461961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ast overskrift"/>
          <p:cNvSpPr txBox="1"/>
          <p:nvPr userDrawn="1"/>
        </p:nvSpPr>
        <p:spPr>
          <a:xfrm>
            <a:off x="982663" y="539750"/>
            <a:ext cx="9361487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7" name="Text Box 2"/>
          <p:cNvSpPr txBox="1">
            <a:spLocks noChangeArrowheads="1"/>
          </p:cNvSpPr>
          <p:nvPr userDrawn="1"/>
        </p:nvSpPr>
        <p:spPr bwMode="auto">
          <a:xfrm>
            <a:off x="982667" y="1833789"/>
            <a:ext cx="2280360" cy="4678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10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for at fjerne og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ætte bullet på igen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s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dia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ndsætte nyt sl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det layout, du ønsker,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ændre dit nuværende layout til et alternativt.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 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3"/>
          <p:cNvSpPr txBox="1">
            <a:spLocks noChangeArrowheads="1"/>
          </p:cNvSpPr>
          <p:nvPr userDrawn="1"/>
        </p:nvSpPr>
        <p:spPr bwMode="auto">
          <a:xfrm>
            <a:off x="5039973" y="1833789"/>
            <a:ext cx="1927222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ér billedet. 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værktøj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.</a:t>
            </a:r>
          </a:p>
        </p:txBody>
      </p:sp>
      <p:sp>
        <p:nvSpPr>
          <p:cNvPr id="19" name="Text Box 4"/>
          <p:cNvSpPr txBox="1">
            <a:spLocks noChangeArrowheads="1"/>
          </p:cNvSpPr>
          <p:nvPr userDrawn="1"/>
        </p:nvSpPr>
        <p:spPr bwMode="auto">
          <a:xfrm>
            <a:off x="9062174" y="1815926"/>
            <a:ext cx="2256615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så det slår igennem på alle slides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tast evt. tekst i sidefod)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1 Forøg formindsk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43464" y="2877130"/>
            <a:ext cx="549328" cy="285228"/>
          </a:xfrm>
          <a:prstGeom prst="rect">
            <a:avLst/>
          </a:prstGeom>
        </p:spPr>
      </p:pic>
      <p:pic>
        <p:nvPicPr>
          <p:cNvPr id="26" name="2 Ny slide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57383" y="3958874"/>
            <a:ext cx="363713" cy="647461"/>
          </a:xfrm>
          <a:prstGeom prst="rect">
            <a:avLst/>
          </a:prstGeom>
        </p:spPr>
      </p:pic>
      <p:pic>
        <p:nvPicPr>
          <p:cNvPr id="27" name="4 Nulsti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45551" y="5464557"/>
            <a:ext cx="547241" cy="197798"/>
          </a:xfrm>
          <a:prstGeom prst="rect">
            <a:avLst/>
          </a:prstGeom>
        </p:spPr>
      </p:pic>
      <p:pic>
        <p:nvPicPr>
          <p:cNvPr id="30" name="5 Indsæt billed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7195" y="2075087"/>
            <a:ext cx="262151" cy="256054"/>
          </a:xfrm>
          <a:prstGeom prst="rect">
            <a:avLst/>
          </a:prstGeom>
        </p:spPr>
      </p:pic>
      <p:pic>
        <p:nvPicPr>
          <p:cNvPr id="31" name="6 Beskær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29570" y="3095427"/>
            <a:ext cx="337400" cy="321707"/>
          </a:xfrm>
          <a:prstGeom prst="rect">
            <a:avLst/>
          </a:prstGeom>
        </p:spPr>
      </p:pic>
      <p:pic>
        <p:nvPicPr>
          <p:cNvPr id="32" name="7 Skalér billed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5349" y="3543401"/>
            <a:ext cx="359695" cy="335309"/>
          </a:xfrm>
          <a:prstGeom prst="rect">
            <a:avLst/>
          </a:prstGeom>
        </p:spPr>
      </p:pic>
      <p:pic>
        <p:nvPicPr>
          <p:cNvPr id="33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39595" y="3321050"/>
            <a:ext cx="199287" cy="192169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5349" y="2723498"/>
            <a:ext cx="595309" cy="350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104008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ikkerhe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1" name="Tekstfelt 10"/>
          <p:cNvSpPr txBox="1"/>
          <p:nvPr userDrawn="1"/>
        </p:nvSpPr>
        <p:spPr>
          <a:xfrm>
            <a:off x="2749328" y="4057651"/>
            <a:ext cx="166792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NØDUDGANGE</a:t>
            </a:r>
          </a:p>
        </p:txBody>
      </p:sp>
      <p:sp>
        <p:nvSpPr>
          <p:cNvPr id="12" name="Tekstfelt 11"/>
          <p:cNvSpPr txBox="1"/>
          <p:nvPr userDrawn="1"/>
        </p:nvSpPr>
        <p:spPr>
          <a:xfrm>
            <a:off x="5219443" y="4057651"/>
            <a:ext cx="20739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HJERTESTARTER</a:t>
            </a:r>
          </a:p>
        </p:txBody>
      </p:sp>
      <p:sp>
        <p:nvSpPr>
          <p:cNvPr id="13" name="Tekstfelt 12"/>
          <p:cNvSpPr txBox="1"/>
          <p:nvPr userDrawn="1"/>
        </p:nvSpPr>
        <p:spPr>
          <a:xfrm>
            <a:off x="7968792" y="4057651"/>
            <a:ext cx="18645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AMLINGSSTED</a:t>
            </a:r>
          </a:p>
        </p:txBody>
      </p:sp>
      <p:pic>
        <p:nvPicPr>
          <p:cNvPr id="3" name="Billede 2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44F8C9F1-2E7E-B348-9536-95B3E0340C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78" r="669"/>
          <a:stretch/>
        </p:blipFill>
        <p:spPr>
          <a:xfrm>
            <a:off x="2714158" y="2146300"/>
            <a:ext cx="1650438" cy="1636776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F91BF282-FC60-7E4F-8ED4-8CFE6E76CD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8" t="1358" r="1509"/>
          <a:stretch/>
        </p:blipFill>
        <p:spPr>
          <a:xfrm>
            <a:off x="5410200" y="2168524"/>
            <a:ext cx="1593850" cy="1614551"/>
          </a:xfrm>
          <a:prstGeom prst="rect">
            <a:avLst/>
          </a:prstGeom>
        </p:spPr>
      </p:pic>
      <p:pic>
        <p:nvPicPr>
          <p:cNvPr id="17" name="Billede 16" descr="Et billede, der indeholder tekst, skilt, førstehjælpssæt, clipart&#10;&#10;Automatisk genereret beskrivelse">
            <a:extLst>
              <a:ext uri="{FF2B5EF4-FFF2-40B4-BE49-F238E27FC236}">
                <a16:creationId xmlns:a16="http://schemas.microsoft.com/office/drawing/2014/main" id="{948BE73B-F68F-9746-A38C-C0BEBB6BB3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1" t="1779" r="2336" b="-1"/>
          <a:stretch/>
        </p:blipFill>
        <p:spPr>
          <a:xfrm>
            <a:off x="8049654" y="2168524"/>
            <a:ext cx="1595235" cy="161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6374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4231207E-52DE-7743-B71F-230159D42985}"/>
              </a:ext>
            </a:extLst>
          </p:cNvPr>
          <p:cNvSpPr/>
          <p:nvPr userDrawn="1"/>
        </p:nvSpPr>
        <p:spPr>
          <a:xfrm>
            <a:off x="0" y="3438854"/>
            <a:ext cx="4064399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363B3948-444E-AA45-B1E9-7EDF40549589}"/>
              </a:ext>
            </a:extLst>
          </p:cNvPr>
          <p:cNvSpPr/>
          <p:nvPr userDrawn="1"/>
        </p:nvSpPr>
        <p:spPr>
          <a:xfrm>
            <a:off x="4060281" y="3438854"/>
            <a:ext cx="4064399" cy="343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5F8A012-C0A3-7947-83C8-A529753F4C0A}"/>
              </a:ext>
            </a:extLst>
          </p:cNvPr>
          <p:cNvSpPr/>
          <p:nvPr userDrawn="1"/>
        </p:nvSpPr>
        <p:spPr>
          <a:xfrm>
            <a:off x="8123999" y="3438854"/>
            <a:ext cx="4068000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BC0267F-007F-3641-8922-B7E2F637F90A}"/>
              </a:ext>
            </a:extLst>
          </p:cNvPr>
          <p:cNvSpPr/>
          <p:nvPr userDrawn="1"/>
        </p:nvSpPr>
        <p:spPr>
          <a:xfrm>
            <a:off x="0" y="0"/>
            <a:ext cx="4064399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D5C2644-5515-1A4C-861C-7326752F58CA}"/>
              </a:ext>
            </a:extLst>
          </p:cNvPr>
          <p:cNvSpPr/>
          <p:nvPr userDrawn="1"/>
        </p:nvSpPr>
        <p:spPr>
          <a:xfrm>
            <a:off x="4060281" y="0"/>
            <a:ext cx="4064399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49124EA-328E-544F-8063-AD5A0253A45B}"/>
              </a:ext>
            </a:extLst>
          </p:cNvPr>
          <p:cNvSpPr/>
          <p:nvPr userDrawn="1"/>
        </p:nvSpPr>
        <p:spPr>
          <a:xfrm>
            <a:off x="8123999" y="0"/>
            <a:ext cx="4068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90D8679-556B-8A40-899D-9C84538CB7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199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con</a:t>
            </a:r>
            <a:br>
              <a:rPr lang="en-GB" noProof="0" dirty="0"/>
            </a:br>
            <a:r>
              <a:rPr lang="en-GB" noProof="0" dirty="0"/>
              <a:t>tex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4B3218E-0749-9E44-8EB8-F4A37D35C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6298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con</a:t>
            </a:r>
            <a:br>
              <a:rPr lang="en-GB" noProof="0" dirty="0"/>
            </a:br>
            <a:r>
              <a:rPr lang="en-GB" noProof="0" dirty="0"/>
              <a:t>tex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95927F8-1F62-F141-B530-0EFB97A9C3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87787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con</a:t>
            </a:r>
            <a:br>
              <a:rPr lang="en-GB" noProof="0" dirty="0"/>
            </a:br>
            <a:r>
              <a:rPr lang="en-GB" noProof="0" dirty="0"/>
              <a:t>tex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F466B7C-EB91-BF4C-AF64-2F54DF448F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199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con</a:t>
            </a:r>
            <a:br>
              <a:rPr lang="en-GB" noProof="0" dirty="0"/>
            </a:br>
            <a:r>
              <a:rPr lang="en-GB" noProof="0" dirty="0"/>
              <a:t>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39CC98F-B499-7842-957F-DE634767DF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6298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con</a:t>
            </a:r>
            <a:br>
              <a:rPr lang="en-GB" noProof="0" dirty="0"/>
            </a:br>
            <a:r>
              <a:rPr lang="en-GB" noProof="0" dirty="0"/>
              <a:t>tex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899C76E-502E-5F4D-965E-B2EE55D85B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87787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con</a:t>
            </a:r>
            <a:br>
              <a:rPr lang="en-GB" noProof="0" dirty="0"/>
            </a:br>
            <a:r>
              <a:rPr lang="en-GB" noProof="0" dirty="0"/>
              <a:t>text</a:t>
            </a:r>
          </a:p>
        </p:txBody>
      </p:sp>
      <p:sp>
        <p:nvSpPr>
          <p:cNvPr id="23" name="Pladsholder til billede 21">
            <a:extLst>
              <a:ext uri="{FF2B5EF4-FFF2-40B4-BE49-F238E27FC236}">
                <a16:creationId xmlns:a16="http://schemas.microsoft.com/office/drawing/2014/main" id="{DF55435F-ADCB-E04B-8525-F3542D26DA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444480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icon</a:t>
            </a:r>
          </a:p>
        </p:txBody>
      </p:sp>
      <p:sp>
        <p:nvSpPr>
          <p:cNvPr id="32" name="Pladsholder til billede 21">
            <a:extLst>
              <a:ext uri="{FF2B5EF4-FFF2-40B4-BE49-F238E27FC236}">
                <a16:creationId xmlns:a16="http://schemas.microsoft.com/office/drawing/2014/main" id="{645988EB-136C-7B47-8BA1-CF5AFA25140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28662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icon</a:t>
            </a:r>
          </a:p>
        </p:txBody>
      </p:sp>
      <p:sp>
        <p:nvSpPr>
          <p:cNvPr id="33" name="Pladsholder til billede 21">
            <a:extLst>
              <a:ext uri="{FF2B5EF4-FFF2-40B4-BE49-F238E27FC236}">
                <a16:creationId xmlns:a16="http://schemas.microsoft.com/office/drawing/2014/main" id="{25765CAD-7482-C640-9455-1D6708AA64F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592275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icon</a:t>
            </a:r>
          </a:p>
        </p:txBody>
      </p:sp>
      <p:sp>
        <p:nvSpPr>
          <p:cNvPr id="34" name="Pladsholder til billede 21">
            <a:extLst>
              <a:ext uri="{FF2B5EF4-FFF2-40B4-BE49-F238E27FC236}">
                <a16:creationId xmlns:a16="http://schemas.microsoft.com/office/drawing/2014/main" id="{10C7017F-8D5D-1C4A-B3D6-C1EF8301B11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44480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icon</a:t>
            </a:r>
          </a:p>
        </p:txBody>
      </p:sp>
      <p:sp>
        <p:nvSpPr>
          <p:cNvPr id="35" name="Pladsholder til billede 21">
            <a:extLst>
              <a:ext uri="{FF2B5EF4-FFF2-40B4-BE49-F238E27FC236}">
                <a16:creationId xmlns:a16="http://schemas.microsoft.com/office/drawing/2014/main" id="{43FF324F-4E4B-1D43-8DE6-5DF412D016B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428662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icon</a:t>
            </a:r>
          </a:p>
        </p:txBody>
      </p:sp>
      <p:sp>
        <p:nvSpPr>
          <p:cNvPr id="36" name="Pladsholder til billede 21">
            <a:extLst>
              <a:ext uri="{FF2B5EF4-FFF2-40B4-BE49-F238E27FC236}">
                <a16:creationId xmlns:a16="http://schemas.microsoft.com/office/drawing/2014/main" id="{6840F908-7AC0-954D-87CD-F598A573381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92275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296332652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/>
              <a:t>Klik og indsæt overskrif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a-DK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>
              <a:solidFill>
                <a:srgbClr val="A0C1C2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srgbClr val="A0C1C2"/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>
                <a:solidFill>
                  <a:srgbClr val="A0C1C2"/>
                </a:solidFill>
              </a:rPr>
              <a:pPr/>
              <a:t>‹#›</a:t>
            </a:fld>
            <a:endParaRPr lang="da-DK" dirty="0">
              <a:solidFill>
                <a:srgbClr val="A0C1C2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2336000" y="1"/>
            <a:ext cx="240000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a-DK" sz="1200" b="1" dirty="0">
                <a:solidFill>
                  <a:srgbClr val="FFFFFF"/>
                </a:solidFill>
              </a:rPr>
              <a:t>Gode råd:</a:t>
            </a:r>
          </a:p>
          <a:p>
            <a:endParaRPr lang="da-DK" sz="1200" dirty="0">
              <a:solidFill>
                <a:srgbClr val="FFFFFF"/>
              </a:solidFill>
            </a:endParaRPr>
          </a:p>
          <a:p>
            <a:r>
              <a:rPr lang="da-DK" sz="1200" dirty="0">
                <a:solidFill>
                  <a:srgbClr val="FFFFFF"/>
                </a:solidFill>
              </a:rPr>
              <a:t>Modtageren vil høre din præsentation, ikke læse slides.</a:t>
            </a:r>
          </a:p>
          <a:p>
            <a:endParaRPr lang="da-DK" sz="1200" dirty="0">
              <a:solidFill>
                <a:srgbClr val="FFFFFF"/>
              </a:solidFill>
            </a:endParaRPr>
          </a:p>
          <a:p>
            <a:r>
              <a:rPr lang="da-DK" sz="1200" dirty="0">
                <a:solidFill>
                  <a:srgbClr val="FFFFFF"/>
                </a:solidFill>
              </a:rPr>
              <a:t>Brug notefeltet som hjælp til at huske, hvad du vil sige.</a:t>
            </a:r>
          </a:p>
          <a:p>
            <a:endParaRPr lang="da-DK" sz="1200" dirty="0">
              <a:solidFill>
                <a:srgbClr val="FFFFFF"/>
              </a:solidFill>
            </a:endParaRPr>
          </a:p>
          <a:p>
            <a:r>
              <a:rPr lang="da-DK" sz="1200" dirty="0">
                <a:solidFill>
                  <a:srgbClr val="FFFFFF"/>
                </a:solidFill>
              </a:rPr>
              <a:t>Har du behov for, at modtageren skal huske vigtig information, så lav faktaark og del ud.</a:t>
            </a:r>
          </a:p>
          <a:p>
            <a:endParaRPr lang="da-DK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316657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 hidden="1"/>
          <p:cNvSpPr>
            <a:spLocks noGrp="1"/>
          </p:cNvSpPr>
          <p:nvPr>
            <p:ph type="dt" sz="half" idx="10"/>
          </p:nvPr>
        </p:nvSpPr>
        <p:spPr>
          <a:xfrm>
            <a:off x="13326565" y="6398800"/>
            <a:ext cx="2844800" cy="365125"/>
          </a:xfrm>
          <a:prstGeom prst="rect">
            <a:avLst/>
          </a:prstGeom>
        </p:spPr>
        <p:txBody>
          <a:bodyPr/>
          <a:lstStyle/>
          <a:p>
            <a:fld id="{F66CA07D-64E1-034A-8F24-0DAB39FC3D07}" type="datetime3">
              <a:t>08.06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FFC2FA75-A41F-AF45-B044-73D2FD7526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8" name="Pladsholder til tekst 4">
            <a:extLst>
              <a:ext uri="{FF2B5EF4-FFF2-40B4-BE49-F238E27FC236}">
                <a16:creationId xmlns:a16="http://schemas.microsoft.com/office/drawing/2014/main" id="{36D652E3-BAFC-964A-B2C9-1952C9AAF6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44E55857-C7BD-CD49-9DDF-FE95D8EE2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454F0FB0-0930-E74E-8BCD-237833E2E8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12009414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5426B8D0-6451-734B-AB7E-3E8886D805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7576BDBF-B923-3D47-9E0B-2061C34A06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F56EFBC7-2209-6D48-B526-57ABE1AC4C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344249332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2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5426B8D0-6451-734B-AB7E-3E8886D805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7576BDBF-B923-3D47-9E0B-2061C34A06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F56EFBC7-2209-6D48-B526-57ABE1AC4C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191499711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3" y="2"/>
            <a:ext cx="12191999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6" name="Titel 10">
            <a:extLst>
              <a:ext uri="{FF2B5EF4-FFF2-40B4-BE49-F238E27FC236}">
                <a16:creationId xmlns:a16="http://schemas.microsoft.com/office/drawing/2014/main" id="{A618B4AE-9447-C943-8C77-78BA514BB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42B49B3D-4866-474E-B5F1-BC5836BAAD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3" name="Pladsholder til tekst 4">
            <a:extLst>
              <a:ext uri="{FF2B5EF4-FFF2-40B4-BE49-F238E27FC236}">
                <a16:creationId xmlns:a16="http://schemas.microsoft.com/office/drawing/2014/main" id="{28B61AEC-F957-7E4A-8764-380FB29C31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5" name="Pladsholder til tekst 4">
            <a:extLst>
              <a:ext uri="{FF2B5EF4-FFF2-40B4-BE49-F238E27FC236}">
                <a16:creationId xmlns:a16="http://schemas.microsoft.com/office/drawing/2014/main" id="{240A9312-A4D3-6C4C-9289-47F9CFB5DE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283525219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mørk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2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mørkt billede, via fanen Indsæt, Billeder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B7F9C7AC-DC81-ED40-9796-33611B5DB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0FE724D6-0010-3743-B773-F1E842B91E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0" name="Pladsholder til tekst 4">
            <a:extLst>
              <a:ext uri="{FF2B5EF4-FFF2-40B4-BE49-F238E27FC236}">
                <a16:creationId xmlns:a16="http://schemas.microsoft.com/office/drawing/2014/main" id="{BE265931-DAC6-D44C-A798-75A6AEDB7B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3A38A144-48BD-4840-B806-50FD592F2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372984136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lys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2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lyst billede, via fanen Indsæt, Billeder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0D1A318C-794C-8F43-BB2A-5B5C17C66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E2DB6ED-3774-F147-BC5B-CBB2C762BF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0" name="Pladsholder til tekst 4">
            <a:extLst>
              <a:ext uri="{FF2B5EF4-FFF2-40B4-BE49-F238E27FC236}">
                <a16:creationId xmlns:a16="http://schemas.microsoft.com/office/drawing/2014/main" id="{243ED9BF-2A3C-6049-A1E1-AB5D7B574C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5C5A113F-50FD-ED43-8C56-0A78605B7F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238276103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gsorde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2C2D31F3-CACE-E542-8D63-F51828BAB7CB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51689" y="1557867"/>
            <a:ext cx="5083772" cy="3742267"/>
          </a:xfrm>
        </p:spPr>
        <p:txBody>
          <a:bodyPr anchor="ctr"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  <p:sp>
        <p:nvSpPr>
          <p:cNvPr id="9" name="Pladsholder til tabel 3">
            <a:extLst>
              <a:ext uri="{FF2B5EF4-FFF2-40B4-BE49-F238E27FC236}">
                <a16:creationId xmlns:a16="http://schemas.microsoft.com/office/drawing/2014/main" id="{552EDF94-9408-1844-A084-BB4D7A171B0D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5834" y="1557867"/>
            <a:ext cx="5083772" cy="3742267"/>
          </a:xfrm>
        </p:spPr>
        <p:txBody>
          <a:bodyPr anchor="ctr"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</p:spTree>
    <p:extLst>
      <p:ext uri="{BB962C8B-B14F-4D97-AF65-F5344CB8AC3E}">
        <p14:creationId xmlns:p14="http://schemas.microsoft.com/office/powerpoint/2010/main" val="201975841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7" name="Pladsholder til tekst 2">
            <a:extLst>
              <a:ext uri="{FF2B5EF4-FFF2-40B4-BE49-F238E27FC236}">
                <a16:creationId xmlns:a16="http://schemas.microsoft.com/office/drawing/2014/main" id="{2B905F23-B72E-2848-8F49-90F1C7478C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58660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2022466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høj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6456459" y="2"/>
            <a:ext cx="5084499" cy="6081713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77A5E23-3409-F646-BCD4-73EEB471E1DF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2634456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insert headline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</a:t>
            </a:r>
            <a:r>
              <a:rPr lang="en-GB" dirty="0"/>
              <a:t> subhead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2916302"/>
            <a:ext cx="2398100" cy="3438000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2916302"/>
            <a:ext cx="2398100" cy="3438000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2916302"/>
            <a:ext cx="2398100" cy="343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2916302"/>
            <a:ext cx="2398100" cy="3438000"/>
          </a:xfrm>
          <a:solidFill>
            <a:schemeClr val="accent5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19" name="Date_DateCustomA">
            <a:extLst>
              <a:ext uri="{FF2B5EF4-FFF2-40B4-BE49-F238E27FC236}">
                <a16:creationId xmlns:a16="http://schemas.microsoft.com/office/drawing/2014/main" id="{94CB2FA5-554F-6945-B90D-65F3D0B42B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0" name="FLD_PresentationTitle">
            <a:extLst>
              <a:ext uri="{FF2B5EF4-FFF2-40B4-BE49-F238E27FC236}">
                <a16:creationId xmlns:a16="http://schemas.microsoft.com/office/drawing/2014/main" id="{3EAEC2E2-E47B-DE4D-9A39-A5DA3DCCFF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675603C9-2AEC-0449-BA05-DD90E6A15D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997690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venst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74AD5B-8FEC-8D44-AC75-C1F527063C07}" type="datetime3">
              <a:t>08.06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56456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9459" y="2"/>
            <a:ext cx="5083775" cy="6081713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460" y="779463"/>
            <a:ext cx="5084497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27953515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1771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56294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2318582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 rot="5400000">
            <a:off x="3097647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1771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56294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Højrepil 7">
            <a:extLst>
              <a:ext uri="{FF2B5EF4-FFF2-40B4-BE49-F238E27FC236}">
                <a16:creationId xmlns:a16="http://schemas.microsoft.com/office/drawing/2014/main" id="{75257325-A8A5-DD44-BA20-840B4FC669FE}"/>
              </a:ext>
            </a:extLst>
          </p:cNvPr>
          <p:cNvSpPr/>
          <p:nvPr userDrawn="1"/>
        </p:nvSpPr>
        <p:spPr>
          <a:xfrm rot="5400000">
            <a:off x="8902170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381120788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5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63927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0940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406429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7925423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138409636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5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63927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0940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2137804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1" name="Højrepil 10">
            <a:extLst>
              <a:ext uri="{FF2B5EF4-FFF2-40B4-BE49-F238E27FC236}">
                <a16:creationId xmlns:a16="http://schemas.microsoft.com/office/drawing/2014/main" id="{BD0089C5-39E9-C745-A39F-3CD7D32908D7}"/>
              </a:ext>
            </a:extLst>
          </p:cNvPr>
          <p:cNvSpPr/>
          <p:nvPr userDrawn="1"/>
        </p:nvSpPr>
        <p:spPr>
          <a:xfrm rot="5400000">
            <a:off x="5998930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1B398A9-5D04-164D-BB75-5BFDF2E7EB1A}"/>
              </a:ext>
            </a:extLst>
          </p:cNvPr>
          <p:cNvSpPr/>
          <p:nvPr userDrawn="1"/>
        </p:nvSpPr>
        <p:spPr>
          <a:xfrm rot="5400000">
            <a:off x="9851916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203224697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7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2700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67446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85072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3181302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881655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58921930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7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  <a:ln w="6350">
            <a:noFill/>
          </a:ln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2700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67446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85072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1723571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F819482-7C14-7E43-A620-0B19F87364BA}"/>
              </a:ext>
            </a:extLst>
          </p:cNvPr>
          <p:cNvSpPr/>
          <p:nvPr userDrawn="1"/>
        </p:nvSpPr>
        <p:spPr>
          <a:xfrm rot="5400000">
            <a:off x="4541199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5" name="Højrepil 14">
            <a:extLst>
              <a:ext uri="{FF2B5EF4-FFF2-40B4-BE49-F238E27FC236}">
                <a16:creationId xmlns:a16="http://schemas.microsoft.com/office/drawing/2014/main" id="{29E70971-7A29-5B45-99ED-430CD18479DF}"/>
              </a:ext>
            </a:extLst>
          </p:cNvPr>
          <p:cNvSpPr/>
          <p:nvPr userDrawn="1"/>
        </p:nvSpPr>
        <p:spPr>
          <a:xfrm rot="5400000">
            <a:off x="7358827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6" name="Højrepil 15">
            <a:extLst>
              <a:ext uri="{FF2B5EF4-FFF2-40B4-BE49-F238E27FC236}">
                <a16:creationId xmlns:a16="http://schemas.microsoft.com/office/drawing/2014/main" id="{BEF88CB5-A1ED-2746-A344-31420505FA3C}"/>
              </a:ext>
            </a:extLst>
          </p:cNvPr>
          <p:cNvSpPr/>
          <p:nvPr userDrawn="1"/>
        </p:nvSpPr>
        <p:spPr>
          <a:xfrm rot="5400000">
            <a:off x="10176454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177689653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14831" y="1557340"/>
            <a:ext cx="9362339" cy="3743325"/>
          </a:xfrm>
        </p:spPr>
        <p:txBody>
          <a:bodyPr tIns="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67169083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m iko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14831" y="779579"/>
            <a:ext cx="9362339" cy="4521087"/>
          </a:xfrm>
        </p:spPr>
        <p:txBody>
          <a:bodyPr tIns="108000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9E642AAF-364D-7D43-9F2A-A9F9E4874C3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195766" y="779576"/>
            <a:ext cx="1800469" cy="1800000"/>
          </a:xfrm>
        </p:spPr>
        <p:txBody>
          <a:bodyPr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417372205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B03487C-BD18-0048-9D0F-3C1D2ED597B4}" type="datetime3">
              <a:t>08.06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2204866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81868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2204866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2204866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>
            <a:extLst>
              <a:ext uri="{FF2B5EF4-FFF2-40B4-BE49-F238E27FC236}">
                <a16:creationId xmlns:a16="http://schemas.microsoft.com/office/drawing/2014/main" id="{C48F51AF-EE09-7640-985D-49A9AACC625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4480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9" name="Pladsholder til billede 3">
            <a:extLst>
              <a:ext uri="{FF2B5EF4-FFF2-40B4-BE49-F238E27FC236}">
                <a16:creationId xmlns:a16="http://schemas.microsoft.com/office/drawing/2014/main" id="{48734797-E8DF-014D-A55D-6BF430204DE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47092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7FD11B2D-4CCA-B241-84AE-FEEE1ABA1A4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9459" y="4869162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569D038D-5624-EF47-A522-C6916B347C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818680" y="3892240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305F192E-8164-454B-A226-E3A490C19B2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00113" y="4869162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4" name="Pladsholder til tekst 2">
            <a:extLst>
              <a:ext uri="{FF2B5EF4-FFF2-40B4-BE49-F238E27FC236}">
                <a16:creationId xmlns:a16="http://schemas.microsoft.com/office/drawing/2014/main" id="{29618506-C79D-9843-8CE5-115DF2F55A7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75579" y="4869162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EC2F9887-080D-2746-ACBF-1B62B1DAE9F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644800" y="3896363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5502AEEC-30C1-FC48-BEC4-560AB09C51C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469333" y="3892240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34289554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insert headline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40035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</a:t>
            </a:r>
            <a:r>
              <a:rPr lang="en-GB" dirty="0"/>
              <a:t> subhead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E1B3C7FE-A5C5-DB43-8F81-6B58E061747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82663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Add picture</a:t>
            </a:r>
          </a:p>
        </p:txBody>
      </p:sp>
      <p:sp>
        <p:nvSpPr>
          <p:cNvPr id="23" name="Pladsholder til billede 6">
            <a:extLst>
              <a:ext uri="{FF2B5EF4-FFF2-40B4-BE49-F238E27FC236}">
                <a16:creationId xmlns:a16="http://schemas.microsoft.com/office/drawing/2014/main" id="{0DD12C78-FFFA-B441-91D8-3D10BA15064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0028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Add picture</a:t>
            </a:r>
          </a:p>
        </p:txBody>
      </p:sp>
      <p:sp>
        <p:nvSpPr>
          <p:cNvPr id="35" name="Pladsholder til billede 6">
            <a:extLst>
              <a:ext uri="{FF2B5EF4-FFF2-40B4-BE49-F238E27FC236}">
                <a16:creationId xmlns:a16="http://schemas.microsoft.com/office/drawing/2014/main" id="{5433A101-EEC2-1A43-BCC6-EA29BC4C810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9005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Add picture</a:t>
            </a:r>
          </a:p>
        </p:txBody>
      </p:sp>
      <p:sp>
        <p:nvSpPr>
          <p:cNvPr id="36" name="Pladsholder til billede 6">
            <a:extLst>
              <a:ext uri="{FF2B5EF4-FFF2-40B4-BE49-F238E27FC236}">
                <a16:creationId xmlns:a16="http://schemas.microsoft.com/office/drawing/2014/main" id="{C060D71F-6125-7045-8FC0-37F1BD04BF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826370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Add picture</a:t>
            </a:r>
          </a:p>
        </p:txBody>
      </p:sp>
      <p:sp>
        <p:nvSpPr>
          <p:cNvPr id="37" name="Date_DateCustomA">
            <a:extLst>
              <a:ext uri="{FF2B5EF4-FFF2-40B4-BE49-F238E27FC236}">
                <a16:creationId xmlns:a16="http://schemas.microsoft.com/office/drawing/2014/main" id="{6F199838-3BF7-3741-ADC3-7B1F2D7FD0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FLD_PresentationTitle">
            <a:extLst>
              <a:ext uri="{FF2B5EF4-FFF2-40B4-BE49-F238E27FC236}">
                <a16:creationId xmlns:a16="http://schemas.microsoft.com/office/drawing/2014/main" id="{13CD8720-8DBF-3A4A-9579-10B9506740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FB911885-0AA9-C742-9980-C1688875FF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968817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B1EC739-852F-EE44-8C9C-01284F54EED3}" type="datetime3">
              <a:t>08.06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Pladsholder til billede 3">
            <a:extLst>
              <a:ext uri="{FF2B5EF4-FFF2-40B4-BE49-F238E27FC236}">
                <a16:creationId xmlns:a16="http://schemas.microsoft.com/office/drawing/2014/main" id="{BE374975-7548-DB43-B322-B05C57DFC86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4" name="Pladsholder til billede 3">
            <a:extLst>
              <a:ext uri="{FF2B5EF4-FFF2-40B4-BE49-F238E27FC236}">
                <a16:creationId xmlns:a16="http://schemas.microsoft.com/office/drawing/2014/main" id="{4DCAFDAA-8A78-CD42-932F-D2E25057BF2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F5603915-428E-3A4A-8A34-A63E0C91CB5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29107018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2"/>
            <a:ext cx="12192000" cy="608171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B0893C6-87C9-7F41-B621-3BE80FDFE46D}" type="datetime3">
              <a:t>08.06.2023</a:t>
            </a:fld>
            <a:endParaRPr lang="da-DK" dirty="0"/>
          </a:p>
        </p:txBody>
      </p:sp>
      <p:sp>
        <p:nvSpPr>
          <p:cNvPr id="11" name="Pladsholder til billede 3">
            <a:extLst>
              <a:ext uri="{FF2B5EF4-FFF2-40B4-BE49-F238E27FC236}">
                <a16:creationId xmlns:a16="http://schemas.microsoft.com/office/drawing/2014/main" id="{E0700900-EA42-9240-82A1-A3E92F01B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C06FFD9D-DB0A-2E49-8AA3-80E9DC64473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425A97FC-E0D2-714A-BD6F-6A5564969C2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140718412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2"/>
            <a:ext cx="12192000" cy="608171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B0893C6-87C9-7F41-B621-3BE80FDFE46D}" type="datetime3">
              <a:t>08.06.2023</a:t>
            </a:fld>
            <a:endParaRPr lang="da-DK" dirty="0"/>
          </a:p>
        </p:txBody>
      </p:sp>
      <p:sp>
        <p:nvSpPr>
          <p:cNvPr id="11" name="Pladsholder til billede 3">
            <a:extLst>
              <a:ext uri="{FF2B5EF4-FFF2-40B4-BE49-F238E27FC236}">
                <a16:creationId xmlns:a16="http://schemas.microsoft.com/office/drawing/2014/main" id="{E0700900-EA42-9240-82A1-A3E92F01B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C06FFD9D-DB0A-2E49-8AA3-80E9DC64473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425A97FC-E0D2-714A-BD6F-6A5564969C2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232093972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B5CEAD66-5979-CB42-BDA1-48A3ABB5B93E}"/>
              </a:ext>
            </a:extLst>
          </p:cNvPr>
          <p:cNvSpPr/>
          <p:nvPr userDrawn="1"/>
        </p:nvSpPr>
        <p:spPr>
          <a:xfrm>
            <a:off x="0" y="2"/>
            <a:ext cx="12192000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08CA1D-70A7-A240-8844-C946C6445AB0}" type="datetime3">
              <a:t>08.06.2023</a:t>
            </a:fld>
            <a:endParaRPr lang="da-DK" dirty="0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4C31B2DC-2512-6945-A2FF-C091351FA53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E0862E28-9EF0-F041-A943-357CA9977BB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7" name="Pladsholder til billede 3">
            <a:extLst>
              <a:ext uri="{FF2B5EF4-FFF2-40B4-BE49-F238E27FC236}">
                <a16:creationId xmlns:a16="http://schemas.microsoft.com/office/drawing/2014/main" id="{33E1156E-39E4-CB4A-819D-9293C065C5E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40765199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C25E9A2-3CD6-B841-BB4B-7865D9175DAE}" type="datetime3">
              <a:t>08.06.2023</a:t>
            </a:fld>
            <a:endParaRPr lang="da-DK" dirty="0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866"/>
            <a:ext cx="5084500" cy="4523847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083857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B8B704C-C3C0-104D-B9FE-A0C35400DC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/>
            </a:lvl1pPr>
            <a:lvl2pPr algn="r">
              <a:defRPr sz="1333"/>
            </a:lvl2pPr>
            <a:lvl3pPr algn="r">
              <a:defRPr sz="1333"/>
            </a:lvl3pPr>
            <a:lvl4pPr algn="r">
              <a:defRPr sz="1333"/>
            </a:lvl4pPr>
            <a:lvl5pPr algn="r">
              <a:defRPr sz="133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07394641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083857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C89AC91-4FCC-EF49-BA41-9CB46A9F1DD9}" type="datetime3">
              <a:t>08.06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>
                <a:solidFill>
                  <a:schemeClr val="bg1"/>
                </a:solidFill>
              </a:defRPr>
            </a:lvl1pPr>
            <a:lvl2pPr algn="r">
              <a:defRPr sz="1333">
                <a:solidFill>
                  <a:schemeClr val="bg1"/>
                </a:solidFill>
              </a:defRPr>
            </a:lvl2pPr>
            <a:lvl3pPr algn="r">
              <a:defRPr sz="1333">
                <a:solidFill>
                  <a:schemeClr val="bg1"/>
                </a:solidFill>
              </a:defRPr>
            </a:lvl3pPr>
            <a:lvl4pPr algn="r">
              <a:defRPr sz="1333">
                <a:solidFill>
                  <a:schemeClr val="bg1"/>
                </a:solidFill>
              </a:defRPr>
            </a:lvl4pPr>
            <a:lvl5pPr algn="r"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8387371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083857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C89AC91-4FCC-EF49-BA41-9CB46A9F1DD9}" type="datetime3">
              <a:t>08.06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>
                <a:solidFill>
                  <a:schemeClr val="bg1"/>
                </a:solidFill>
              </a:defRPr>
            </a:lvl1pPr>
            <a:lvl2pPr algn="r">
              <a:defRPr sz="1333">
                <a:solidFill>
                  <a:schemeClr val="bg1"/>
                </a:solidFill>
              </a:defRPr>
            </a:lvl2pPr>
            <a:lvl3pPr algn="r">
              <a:defRPr sz="1333">
                <a:solidFill>
                  <a:schemeClr val="bg1"/>
                </a:solidFill>
              </a:defRPr>
            </a:lvl3pPr>
            <a:lvl4pPr algn="r">
              <a:defRPr sz="1333">
                <a:solidFill>
                  <a:schemeClr val="bg1"/>
                </a:solidFill>
              </a:defRPr>
            </a:lvl4pPr>
            <a:lvl5pPr algn="r"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1605040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8D264B-0937-A140-ABAC-40D682193E49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6883171-03D4-FA47-9204-9F3A686B1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763EDBD3-33CC-B34A-8855-2882F1E498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/>
            </a:lvl1pPr>
            <a:lvl2pPr algn="r">
              <a:defRPr sz="1333"/>
            </a:lvl2pPr>
            <a:lvl3pPr algn="r">
              <a:defRPr sz="1333"/>
            </a:lvl3pPr>
            <a:lvl4pPr algn="r">
              <a:defRPr sz="1333"/>
            </a:lvl4pPr>
            <a:lvl5pPr algn="r">
              <a:defRPr sz="133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6384042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C25E9A2-3CD6-B841-BB4B-7865D9175DAE}" type="datetime3">
              <a:t>08.06.2023</a:t>
            </a:fld>
            <a:endParaRPr lang="da-DK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804145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iagram 2">
            <a:extLst>
              <a:ext uri="{FF2B5EF4-FFF2-40B4-BE49-F238E27FC236}">
                <a16:creationId xmlns:a16="http://schemas.microsoft.com/office/drawing/2014/main" id="{DE19A8A7-F159-AA41-A318-2F1E24433A73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49818" y="1557867"/>
            <a:ext cx="10890249" cy="4523317"/>
          </a:xfr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t diagram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725C3BD1-93AB-E34D-89B2-48C316ECDA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/>
            </a:lvl1pPr>
            <a:lvl2pPr algn="r">
              <a:defRPr sz="1333"/>
            </a:lvl2pPr>
            <a:lvl3pPr algn="r">
              <a:defRPr sz="1333"/>
            </a:lvl3pPr>
            <a:lvl4pPr algn="r">
              <a:defRPr sz="1333"/>
            </a:lvl4pPr>
            <a:lvl5pPr algn="r">
              <a:defRPr sz="133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75003291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149D3B-849F-0A4D-A824-3A8042197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080C5317-E351-3E4F-910E-18F821FD9BAC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/>
        <p:txBody>
          <a:bodyPr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78856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Drag image to placeholder or </a:t>
            </a:r>
            <a:r>
              <a:rPr lang="da-DK" dirty="0" err="1"/>
              <a:t>click</a:t>
            </a:r>
            <a:r>
              <a:rPr lang="da-DK" dirty="0"/>
              <a:t> on the symbol to </a:t>
            </a:r>
            <a:r>
              <a:rPr lang="da-DK" dirty="0" err="1"/>
              <a:t>add</a:t>
            </a:r>
            <a:r>
              <a:rPr lang="da-DK" dirty="0"/>
              <a:t> imag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1492400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2"/>
            <a:ext cx="10889269" cy="5302251"/>
          </a:xfrm>
        </p:spPr>
        <p:txBody>
          <a:bodyPr anchor="ctr"/>
          <a:lstStyle>
            <a:lvl1pPr algn="ctr">
              <a:defRPr sz="6000">
                <a:solidFill>
                  <a:schemeClr val="bg2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0286681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6BF9ADF-5782-FA46-A09C-46A4864FF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75894944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Supergrafik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942999" cy="47810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96267" y="1575836"/>
            <a:ext cx="7823522" cy="1846264"/>
          </a:xfrm>
        </p:spPr>
        <p:txBody>
          <a:bodyPr anchor="b"/>
          <a:lstStyle>
            <a:lvl1pPr algn="l">
              <a:spcBef>
                <a:spcPts val="400"/>
              </a:spcBef>
              <a:defRPr sz="4800" baseline="0">
                <a:solidFill>
                  <a:schemeClr val="accent2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96267" y="3680864"/>
            <a:ext cx="7823522" cy="524933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None/>
              <a:defRPr sz="3300">
                <a:solidFill>
                  <a:schemeClr val="accent1"/>
                </a:solidFill>
              </a:defRPr>
            </a:lvl1pPr>
            <a:lvl2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2pPr>
            <a:lvl3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3pPr>
            <a:lvl4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4pPr>
            <a:lvl5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5pPr>
            <a:lvl6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6pPr>
            <a:lvl7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7pPr>
            <a:lvl8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8pPr>
            <a:lvl9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9pPr>
          </a:lstStyle>
          <a:p>
            <a:r>
              <a:rPr lang="da-DK" dirty="0"/>
              <a:t>Indsæt underoverskrift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37" y="4349729"/>
            <a:ext cx="7824075" cy="45878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i="1">
                <a:solidFill>
                  <a:schemeClr val="tx2">
                    <a:lumMod val="75000"/>
                  </a:schemeClr>
                </a:solidFill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buFont typeface="Arial" panose="020B0604020202020204" pitchFamily="34" charset="0"/>
              <a:buChar char="​"/>
              <a:defRPr sz="2400"/>
            </a:lvl3pPr>
            <a:lvl4pPr marL="0" indent="0">
              <a:buFont typeface="Arial" panose="020B0604020202020204" pitchFamily="34" charset="0"/>
              <a:buChar char="​"/>
              <a:defRPr sz="2400"/>
            </a:lvl4pPr>
            <a:lvl5pPr marL="0" indent="0">
              <a:buFont typeface="Arial" panose="020B0604020202020204" pitchFamily="34" charset="0"/>
              <a:buChar char="​"/>
              <a:defRPr sz="2400"/>
            </a:lvl5pPr>
            <a:lvl6pPr marL="0" indent="0">
              <a:buFont typeface="Arial" panose="020B0604020202020204" pitchFamily="34" charset="0"/>
              <a:buChar char="​"/>
              <a:defRPr sz="2400"/>
            </a:lvl6pPr>
            <a:lvl7pPr marL="0" indent="0">
              <a:buFont typeface="Arial" panose="020B0604020202020204" pitchFamily="34" charset="0"/>
              <a:buChar char="​"/>
              <a:defRPr sz="2400"/>
            </a:lvl7pPr>
            <a:lvl8pPr marL="0" indent="0">
              <a:buFont typeface="Arial" panose="020B0604020202020204" pitchFamily="34" charset="0"/>
              <a:buChar char="​"/>
              <a:defRPr sz="2400"/>
            </a:lvl8pPr>
          </a:lstStyle>
          <a:p>
            <a:pPr lvl="0"/>
            <a:r>
              <a:rPr lang="da-DK" dirty="0"/>
              <a:t>Indsæt navn og efternavn</a:t>
            </a:r>
          </a:p>
        </p:txBody>
      </p:sp>
    </p:spTree>
    <p:extLst>
      <p:ext uri="{BB962C8B-B14F-4D97-AF65-F5344CB8AC3E}">
        <p14:creationId xmlns:p14="http://schemas.microsoft.com/office/powerpoint/2010/main" val="18018112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1022667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388497270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7" y="1196975"/>
            <a:ext cx="4921739" cy="4959350"/>
          </a:xfrm>
          <a:solidFill>
            <a:schemeClr val="bg1">
              <a:lumMod val="95000"/>
            </a:schemeClr>
          </a:solidFill>
        </p:spPr>
        <p:txBody>
          <a:bodyPr tIns="108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82663" y="1196975"/>
            <a:ext cx="4933337" cy="71913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4" y="2852739"/>
            <a:ext cx="4933336" cy="3303586"/>
          </a:xfrm>
        </p:spPr>
        <p:txBody>
          <a:bodyPr/>
          <a:lstStyle/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4933337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679771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337127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4271794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487069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799147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074687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B56B0860-E2FC-4046-BE7C-E6EA1D3C7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86B7801-E3B9-8C49-9C6E-CA2439CD3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486B617-819F-D54A-871B-B63CD3758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4D1D345-D353-6F4A-A586-8E5CDA0F43FC}"/>
              </a:ext>
            </a:extLst>
          </p:cNvPr>
          <p:cNvSpPr/>
          <p:nvPr userDrawn="1"/>
        </p:nvSpPr>
        <p:spPr>
          <a:xfrm>
            <a:off x="949705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Pladsholder til tekst 15">
            <a:extLst>
              <a:ext uri="{FF2B5EF4-FFF2-40B4-BE49-F238E27FC236}">
                <a16:creationId xmlns:a16="http://schemas.microsoft.com/office/drawing/2014/main" id="{8E6A2F22-BEF4-6543-97DA-88F5BA3B8E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9705" y="2488040"/>
            <a:ext cx="4920028" cy="1405232"/>
          </a:xfrm>
        </p:spPr>
        <p:txBody>
          <a:bodyPr/>
          <a:lstStyle>
            <a:lvl1pPr algn="ctr">
              <a:defRPr sz="7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OGRAM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D815E82-1046-D241-BFCC-C6BAD16F7C90}"/>
              </a:ext>
            </a:extLst>
          </p:cNvPr>
          <p:cNvSpPr/>
          <p:nvPr userDrawn="1"/>
        </p:nvSpPr>
        <p:spPr>
          <a:xfrm>
            <a:off x="6181582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2" name="Pladsholder til tekst 13">
            <a:extLst>
              <a:ext uri="{FF2B5EF4-FFF2-40B4-BE49-F238E27FC236}">
                <a16:creationId xmlns:a16="http://schemas.microsoft.com/office/drawing/2014/main" id="{3F7C6172-494C-DD44-8F59-32C8484CFA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2152" y="2108027"/>
            <a:ext cx="3798888" cy="3101517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Tekst
Tekst 
Tekst 
 Tekst 
 Tekst</a:t>
            </a:r>
          </a:p>
          <a:p>
            <a:r>
              <a:rPr lang="da-DK" dirty="0"/>
              <a:t> Tekst</a:t>
            </a:r>
          </a:p>
          <a:p>
            <a:r>
              <a:rPr lang="da-DK" dirty="0"/>
              <a:t> Tekst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C036E63E-0936-6E48-B39F-028BB2CB9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158" y="3714967"/>
            <a:ext cx="2520372" cy="2398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63830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em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8C022D2-711D-3B48-9664-6E97484392F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3AD1A35-4CCE-1C47-BAAC-A29B69D42F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6231" y="3780149"/>
            <a:ext cx="6232180" cy="1470041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5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 for nyt tema/emne</a:t>
            </a:r>
          </a:p>
        </p:txBody>
      </p:sp>
      <p:sp>
        <p:nvSpPr>
          <p:cNvPr id="11" name="Pladsholder til billede 21">
            <a:extLst>
              <a:ext uri="{FF2B5EF4-FFF2-40B4-BE49-F238E27FC236}">
                <a16:creationId xmlns:a16="http://schemas.microsoft.com/office/drawing/2014/main" id="{79C2A64C-C131-7147-B71D-EF7FA287183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61675" y="1580349"/>
            <a:ext cx="1861293" cy="1861293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5A1DB3C-A15F-F44C-B74D-5E8BAEC926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6231" y="5355771"/>
            <a:ext cx="6232180" cy="837848"/>
          </a:xfrm>
        </p:spPr>
        <p:txBody>
          <a:bodyPr anchor="t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2000" cap="none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evt. kort understøttende tekst</a:t>
            </a:r>
          </a:p>
        </p:txBody>
      </p:sp>
    </p:spTree>
    <p:extLst>
      <p:ext uri="{BB962C8B-B14F-4D97-AF65-F5344CB8AC3E}">
        <p14:creationId xmlns:p14="http://schemas.microsoft.com/office/powerpoint/2010/main" val="74075754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8" y="0"/>
            <a:ext cx="5916612" cy="6858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6275388" cy="685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58814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83546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Drag image to placeholder or </a:t>
            </a:r>
            <a:r>
              <a:rPr lang="da-DK" dirty="0" err="1"/>
              <a:t>click</a:t>
            </a:r>
            <a:r>
              <a:rPr lang="da-DK" dirty="0"/>
              <a:t> on the symbol to </a:t>
            </a:r>
            <a:r>
              <a:rPr lang="da-DK" dirty="0" err="1"/>
              <a:t>add</a:t>
            </a:r>
            <a:r>
              <a:rPr lang="da-DK" dirty="0"/>
              <a:t> imag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761376"/>
            <a:ext cx="6749592" cy="2535237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5680" y="5249848"/>
            <a:ext cx="5364292" cy="839867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680" y="4069772"/>
            <a:ext cx="5364291" cy="1030127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headlin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3984957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856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94486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83673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45C937D3-2FD3-D148-9B52-28210AC27B20}"/>
              </a:ext>
            </a:extLst>
          </p:cNvPr>
          <p:cNvSpPr/>
          <p:nvPr userDrawn="1"/>
        </p:nvSpPr>
        <p:spPr>
          <a:xfrm>
            <a:off x="6108568" y="0"/>
            <a:ext cx="606143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03A224DA-2850-CB41-8EBA-23FB13A4A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1092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EB37FB4A-7EE7-7342-AF40-FDD92B4E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03054" y="1196976"/>
            <a:ext cx="4222982" cy="1547812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2821317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kta bok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lå baggrund"/>
          <p:cNvSpPr/>
          <p:nvPr userDrawn="1"/>
        </p:nvSpPr>
        <p:spPr>
          <a:xfrm>
            <a:off x="-1" y="0"/>
            <a:ext cx="40644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" name="Mørk blå baggrund"/>
          <p:cNvSpPr/>
          <p:nvPr userDrawn="1"/>
        </p:nvSpPr>
        <p:spPr>
          <a:xfrm>
            <a:off x="4063800" y="0"/>
            <a:ext cx="40644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Grøn baggrund"/>
          <p:cNvSpPr/>
          <p:nvPr userDrawn="1"/>
        </p:nvSpPr>
        <p:spPr>
          <a:xfrm>
            <a:off x="8128200" y="0"/>
            <a:ext cx="4064400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199" y="1196975"/>
            <a:ext cx="2880000" cy="104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Indsæt fakta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2199" y="2335214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41608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37758" y="2335213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701559" y="2335213"/>
            <a:ext cx="2880000" cy="3821112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26458" y="2635420"/>
            <a:ext cx="646112" cy="24288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0589394-5D7C-2F4F-8AB5-24F785BCD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98453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</p:spTree>
    <p:extLst>
      <p:ext uri="{BB962C8B-B14F-4D97-AF65-F5344CB8AC3E}">
        <p14:creationId xmlns:p14="http://schemas.microsoft.com/office/powerpoint/2010/main" val="19905881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akta bokse med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1184C-B22A-AD40-8EC2-6DB7F8554D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20" name="Pladsholder til tekst 20">
            <a:extLst>
              <a:ext uri="{FF2B5EF4-FFF2-40B4-BE49-F238E27FC236}">
                <a16:creationId xmlns:a16="http://schemas.microsoft.com/office/drawing/2014/main" id="{589E580B-CAF0-0843-9549-CC4DC8EB83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2" y="2227943"/>
            <a:ext cx="3248251" cy="4126359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E173464F-0D76-D747-8AD0-2735D2AA33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65769" y="2227943"/>
            <a:ext cx="3248251" cy="4126359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2" name="Pladsholder til tekst 20">
            <a:extLst>
              <a:ext uri="{FF2B5EF4-FFF2-40B4-BE49-F238E27FC236}">
                <a16:creationId xmlns:a16="http://schemas.microsoft.com/office/drawing/2014/main" id="{D7009CD0-C6D3-DA47-9564-AA91F054FE8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48876" y="2227943"/>
            <a:ext cx="3248251" cy="4126359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B673409-9F47-FB45-A48A-89910EF4B4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4667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74B29C6-58EB-D34C-9127-ACEA3C8422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27295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1A87E3-BEAA-A645-A475-1D81C3B496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17980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Pladsholder til dato 2">
            <a:extLst>
              <a:ext uri="{FF2B5EF4-FFF2-40B4-BE49-F238E27FC236}">
                <a16:creationId xmlns:a16="http://schemas.microsoft.com/office/drawing/2014/main" id="{6163A414-1DB0-E44F-AA68-084AD5F92A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3" name="Pladsholder til sidefod 3">
            <a:extLst>
              <a:ext uri="{FF2B5EF4-FFF2-40B4-BE49-F238E27FC236}">
                <a16:creationId xmlns:a16="http://schemas.microsoft.com/office/drawing/2014/main" id="{D5BDAAB7-64D3-6F4A-B353-FD3D427AA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4" name="Pladsholder til slidenummer 4">
            <a:extLst>
              <a:ext uri="{FF2B5EF4-FFF2-40B4-BE49-F238E27FC236}">
                <a16:creationId xmlns:a16="http://schemas.microsoft.com/office/drawing/2014/main" id="{69B55418-5C62-9B4C-862D-AC2428413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ADE3066-ED1D-4F49-93F8-391ABD55C0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90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7F8424-2719-084A-B7D9-9177E1063F2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19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6C2F8DB8-478D-2747-97E7-34A79FA6D6D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11880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1278304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ktangel 23">
            <a:extLst>
              <a:ext uri="{FF2B5EF4-FFF2-40B4-BE49-F238E27FC236}">
                <a16:creationId xmlns:a16="http://schemas.microsoft.com/office/drawing/2014/main" id="{A70984DD-6FD6-BD49-9823-E01C00074D58}"/>
              </a:ext>
            </a:extLst>
          </p:cNvPr>
          <p:cNvSpPr/>
          <p:nvPr userDrawn="1"/>
        </p:nvSpPr>
        <p:spPr>
          <a:xfrm>
            <a:off x="0" y="0"/>
            <a:ext cx="6102000" cy="343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B49CAF25-176E-5A4D-9CBF-5CBAFF28450B}"/>
              </a:ext>
            </a:extLst>
          </p:cNvPr>
          <p:cNvSpPr/>
          <p:nvPr userDrawn="1"/>
        </p:nvSpPr>
        <p:spPr>
          <a:xfrm>
            <a:off x="6102000" y="0"/>
            <a:ext cx="6102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2675EE6C-9AF8-5640-8C49-6FCA0D37E4BD}"/>
              </a:ext>
            </a:extLst>
          </p:cNvPr>
          <p:cNvSpPr/>
          <p:nvPr userDrawn="1"/>
        </p:nvSpPr>
        <p:spPr>
          <a:xfrm>
            <a:off x="0" y="3438000"/>
            <a:ext cx="6102000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0250F1C9-E8CA-1D4D-A702-30E9656301CB}"/>
              </a:ext>
            </a:extLst>
          </p:cNvPr>
          <p:cNvSpPr/>
          <p:nvPr userDrawn="1"/>
        </p:nvSpPr>
        <p:spPr>
          <a:xfrm>
            <a:off x="6102000" y="3438000"/>
            <a:ext cx="6102000" cy="343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2C280509-312C-EC4E-9055-368511E7B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242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E5BCC922-2B97-6D45-B26E-C9DCD91CA6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86475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F1A17406-FA28-AF46-87B0-90C9678BE3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6475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974BBC5-8EA0-F544-8FD6-3D20CB74A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6392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B58BAF-EB02-584B-8F8E-308E103900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6475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04355197-8B32-A144-8021-CBD5A16714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6475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1270C9-01F1-7647-BB60-707726D0B4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6392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097DD830-2D9D-0F4F-AB87-6A0DF610B3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6392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7235756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4231207E-52DE-7743-B71F-230159D42985}"/>
              </a:ext>
            </a:extLst>
          </p:cNvPr>
          <p:cNvSpPr/>
          <p:nvPr userDrawn="1"/>
        </p:nvSpPr>
        <p:spPr>
          <a:xfrm>
            <a:off x="0" y="3438854"/>
            <a:ext cx="4064399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363B3948-444E-AA45-B1E9-7EDF40549589}"/>
              </a:ext>
            </a:extLst>
          </p:cNvPr>
          <p:cNvSpPr/>
          <p:nvPr userDrawn="1"/>
        </p:nvSpPr>
        <p:spPr>
          <a:xfrm>
            <a:off x="4060281" y="3438854"/>
            <a:ext cx="4064399" cy="343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5F8A012-C0A3-7947-83C8-A529753F4C0A}"/>
              </a:ext>
            </a:extLst>
          </p:cNvPr>
          <p:cNvSpPr/>
          <p:nvPr userDrawn="1"/>
        </p:nvSpPr>
        <p:spPr>
          <a:xfrm>
            <a:off x="8123999" y="3438854"/>
            <a:ext cx="4068000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BC0267F-007F-3641-8922-B7E2F637F90A}"/>
              </a:ext>
            </a:extLst>
          </p:cNvPr>
          <p:cNvSpPr/>
          <p:nvPr userDrawn="1"/>
        </p:nvSpPr>
        <p:spPr>
          <a:xfrm>
            <a:off x="0" y="0"/>
            <a:ext cx="4064399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D5C2644-5515-1A4C-861C-7326752F58CA}"/>
              </a:ext>
            </a:extLst>
          </p:cNvPr>
          <p:cNvSpPr/>
          <p:nvPr userDrawn="1"/>
        </p:nvSpPr>
        <p:spPr>
          <a:xfrm>
            <a:off x="4060281" y="0"/>
            <a:ext cx="4064399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49124EA-328E-544F-8063-AD5A0253A45B}"/>
              </a:ext>
            </a:extLst>
          </p:cNvPr>
          <p:cNvSpPr/>
          <p:nvPr userDrawn="1"/>
        </p:nvSpPr>
        <p:spPr>
          <a:xfrm>
            <a:off x="8123999" y="0"/>
            <a:ext cx="4068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90D8679-556B-8A40-899D-9C84538CB7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199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4B3218E-0749-9E44-8EB8-F4A37D35C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6298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95927F8-1F62-F141-B530-0EFB97A9C3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87787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F466B7C-EB91-BF4C-AF64-2F54DF448F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199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39CC98F-B499-7842-957F-DE634767DF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6298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899C76E-502E-5F4D-965E-B2EE55D85B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87787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3" name="Pladsholder til billede 21">
            <a:extLst>
              <a:ext uri="{FF2B5EF4-FFF2-40B4-BE49-F238E27FC236}">
                <a16:creationId xmlns:a16="http://schemas.microsoft.com/office/drawing/2014/main" id="{DF55435F-ADCB-E04B-8525-F3542D26DA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444480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2" name="Pladsholder til billede 21">
            <a:extLst>
              <a:ext uri="{FF2B5EF4-FFF2-40B4-BE49-F238E27FC236}">
                <a16:creationId xmlns:a16="http://schemas.microsoft.com/office/drawing/2014/main" id="{645988EB-136C-7B47-8BA1-CF5AFA25140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28662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3" name="Pladsholder til billede 21">
            <a:extLst>
              <a:ext uri="{FF2B5EF4-FFF2-40B4-BE49-F238E27FC236}">
                <a16:creationId xmlns:a16="http://schemas.microsoft.com/office/drawing/2014/main" id="{25765CAD-7482-C640-9455-1D6708AA64F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592275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4" name="Pladsholder til billede 21">
            <a:extLst>
              <a:ext uri="{FF2B5EF4-FFF2-40B4-BE49-F238E27FC236}">
                <a16:creationId xmlns:a16="http://schemas.microsoft.com/office/drawing/2014/main" id="{10C7017F-8D5D-1C4A-B3D6-C1EF8301B11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44480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5" name="Pladsholder til billede 21">
            <a:extLst>
              <a:ext uri="{FF2B5EF4-FFF2-40B4-BE49-F238E27FC236}">
                <a16:creationId xmlns:a16="http://schemas.microsoft.com/office/drawing/2014/main" id="{43FF324F-4E4B-1D43-8DE6-5DF412D016B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428662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6" name="Pladsholder til billede 21">
            <a:extLst>
              <a:ext uri="{FF2B5EF4-FFF2-40B4-BE49-F238E27FC236}">
                <a16:creationId xmlns:a16="http://schemas.microsoft.com/office/drawing/2014/main" id="{6840F908-7AC0-954D-87CD-F598A573381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92275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</p:spTree>
    <p:extLst>
      <p:ext uri="{BB962C8B-B14F-4D97-AF65-F5344CB8AC3E}">
        <p14:creationId xmlns:p14="http://schemas.microsoft.com/office/powerpoint/2010/main" val="55723646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2916302"/>
            <a:ext cx="2398100" cy="3438000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2916302"/>
            <a:ext cx="2398100" cy="3438000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2916302"/>
            <a:ext cx="2398100" cy="343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2916302"/>
            <a:ext cx="2398100" cy="3438000"/>
          </a:xfrm>
          <a:solidFill>
            <a:schemeClr val="accent5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</p:spTree>
    <p:extLst>
      <p:ext uri="{BB962C8B-B14F-4D97-AF65-F5344CB8AC3E}">
        <p14:creationId xmlns:p14="http://schemas.microsoft.com/office/powerpoint/2010/main" val="375379612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40035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E1B3C7FE-A5C5-DB43-8F81-6B58E061747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82663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23" name="Pladsholder til billede 6">
            <a:extLst>
              <a:ext uri="{FF2B5EF4-FFF2-40B4-BE49-F238E27FC236}">
                <a16:creationId xmlns:a16="http://schemas.microsoft.com/office/drawing/2014/main" id="{0DD12C78-FFFA-B441-91D8-3D10BA15064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0028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5" name="Pladsholder til billede 6">
            <a:extLst>
              <a:ext uri="{FF2B5EF4-FFF2-40B4-BE49-F238E27FC236}">
                <a16:creationId xmlns:a16="http://schemas.microsoft.com/office/drawing/2014/main" id="{5433A101-EEC2-1A43-BCC6-EA29BC4C810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9005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6" name="Pladsholder til billede 6">
            <a:extLst>
              <a:ext uri="{FF2B5EF4-FFF2-40B4-BE49-F238E27FC236}">
                <a16:creationId xmlns:a16="http://schemas.microsoft.com/office/drawing/2014/main" id="{C060D71F-6125-7045-8FC0-37F1BD04BF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826370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</p:spTree>
    <p:extLst>
      <p:ext uri="{BB962C8B-B14F-4D97-AF65-F5344CB8AC3E}">
        <p14:creationId xmlns:p14="http://schemas.microsoft.com/office/powerpoint/2010/main" val="262631994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5557247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761376"/>
            <a:ext cx="6749592" cy="2535237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5680" y="5249848"/>
            <a:ext cx="5364292" cy="839867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kort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680" y="4069772"/>
            <a:ext cx="5364291" cy="1030127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2637858856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58639" y="0"/>
            <a:ext cx="4242062" cy="6858000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72980" y="2607740"/>
            <a:ext cx="3337528" cy="351968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2980" y="789245"/>
            <a:ext cx="3337528" cy="1576883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21566764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Drag image to placeholder or </a:t>
            </a:r>
            <a:r>
              <a:rPr lang="da-DK" dirty="0" err="1"/>
              <a:t>click</a:t>
            </a:r>
            <a:r>
              <a:rPr lang="da-DK" dirty="0"/>
              <a:t> on the symbol to </a:t>
            </a:r>
            <a:r>
              <a:rPr lang="da-DK" dirty="0" err="1"/>
              <a:t>add</a:t>
            </a:r>
            <a:r>
              <a:rPr lang="da-DK" dirty="0"/>
              <a:t> imag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58639" y="0"/>
            <a:ext cx="4242062" cy="6858000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72980" y="2607740"/>
            <a:ext cx="3337528" cy="351968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2980" y="789245"/>
            <a:ext cx="3337528" cy="1576883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headlin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0266255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22772A8C-5A1B-E74C-98FD-E87FD5A80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45325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5F867355-AAA7-FD40-B0C3-7BAE5A5FC3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D8A753AC-05F3-AD4C-BF95-2BE4A21C048C}"/>
              </a:ext>
            </a:extLst>
          </p:cNvPr>
          <p:cNvSpPr txBox="1"/>
          <p:nvPr userDrawn="1"/>
        </p:nvSpPr>
        <p:spPr>
          <a:xfrm>
            <a:off x="3479800" y="1876695"/>
            <a:ext cx="5232400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5000" dirty="0">
                <a:solidFill>
                  <a:schemeClr val="bg1"/>
                </a:solidFill>
              </a:rPr>
              <a:t>PAUS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3DDF7F7-0AC1-C443-BA29-DD597A10C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575" y="2261415"/>
            <a:ext cx="4020155" cy="393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69581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ørgsmå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99" b="1121"/>
          <a:stretch/>
        </p:blipFill>
        <p:spPr>
          <a:xfrm>
            <a:off x="-16298" y="0"/>
            <a:ext cx="12208298" cy="6857999"/>
          </a:xfrm>
          <a:prstGeom prst="rect">
            <a:avLst/>
          </a:prstGeom>
        </p:spPr>
      </p:pic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389376" y="5822731"/>
            <a:ext cx="6410325" cy="377825"/>
          </a:xfrm>
        </p:spPr>
        <p:txBody>
          <a:bodyPr/>
          <a:lstStyle>
            <a:lvl1pPr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ONTAKT: Tlf.: xx xx xx xx Mail: </a:t>
            </a:r>
            <a:r>
              <a:rPr lang="da-DK" dirty="0" err="1"/>
              <a:t>XXX@energinet.dk</a:t>
            </a:r>
            <a:endParaRPr lang="da-DK" dirty="0"/>
          </a:p>
        </p:txBody>
      </p:sp>
      <p:sp>
        <p:nvSpPr>
          <p:cNvPr id="4" name="Tekstfelt 3"/>
          <p:cNvSpPr txBox="1"/>
          <p:nvPr userDrawn="1"/>
        </p:nvSpPr>
        <p:spPr>
          <a:xfrm>
            <a:off x="2701158" y="2026750"/>
            <a:ext cx="6600497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0" dirty="0">
                <a:solidFill>
                  <a:schemeClr val="bg1"/>
                </a:solidFill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68832374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ast overskrift"/>
          <p:cNvSpPr txBox="1"/>
          <p:nvPr userDrawn="1"/>
        </p:nvSpPr>
        <p:spPr>
          <a:xfrm>
            <a:off x="982663" y="539750"/>
            <a:ext cx="9361487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7" name="Text Box 2"/>
          <p:cNvSpPr txBox="1">
            <a:spLocks noChangeArrowheads="1"/>
          </p:cNvSpPr>
          <p:nvPr userDrawn="1"/>
        </p:nvSpPr>
        <p:spPr bwMode="auto">
          <a:xfrm>
            <a:off x="982667" y="1833789"/>
            <a:ext cx="2280360" cy="4678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10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for at fjerne og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ætte bullet på igen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s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dia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ndsætte nyt sl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det layout, du ønsker,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ændre dit nuværende layout til et alternativt.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 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3"/>
          <p:cNvSpPr txBox="1">
            <a:spLocks noChangeArrowheads="1"/>
          </p:cNvSpPr>
          <p:nvPr userDrawn="1"/>
        </p:nvSpPr>
        <p:spPr bwMode="auto">
          <a:xfrm>
            <a:off x="5039973" y="1833789"/>
            <a:ext cx="1927222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ér billedet. 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værktøj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.</a:t>
            </a:r>
          </a:p>
        </p:txBody>
      </p:sp>
      <p:sp>
        <p:nvSpPr>
          <p:cNvPr id="19" name="Text Box 4"/>
          <p:cNvSpPr txBox="1">
            <a:spLocks noChangeArrowheads="1"/>
          </p:cNvSpPr>
          <p:nvPr userDrawn="1"/>
        </p:nvSpPr>
        <p:spPr bwMode="auto">
          <a:xfrm>
            <a:off x="9062174" y="1815926"/>
            <a:ext cx="2256615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så det slår igennem på alle slides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tast evt. tekst i sidefod)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1 Forøg formindsk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43464" y="2877130"/>
            <a:ext cx="549328" cy="285228"/>
          </a:xfrm>
          <a:prstGeom prst="rect">
            <a:avLst/>
          </a:prstGeom>
        </p:spPr>
      </p:pic>
      <p:pic>
        <p:nvPicPr>
          <p:cNvPr id="26" name="2 Ny slide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57383" y="3958874"/>
            <a:ext cx="363713" cy="647461"/>
          </a:xfrm>
          <a:prstGeom prst="rect">
            <a:avLst/>
          </a:prstGeom>
        </p:spPr>
      </p:pic>
      <p:pic>
        <p:nvPicPr>
          <p:cNvPr id="27" name="4 Nulsti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45551" y="5464557"/>
            <a:ext cx="547241" cy="197798"/>
          </a:xfrm>
          <a:prstGeom prst="rect">
            <a:avLst/>
          </a:prstGeom>
        </p:spPr>
      </p:pic>
      <p:pic>
        <p:nvPicPr>
          <p:cNvPr id="30" name="5 Indsæt billed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7195" y="2075087"/>
            <a:ext cx="262151" cy="256054"/>
          </a:xfrm>
          <a:prstGeom prst="rect">
            <a:avLst/>
          </a:prstGeom>
        </p:spPr>
      </p:pic>
      <p:pic>
        <p:nvPicPr>
          <p:cNvPr id="31" name="6 Beskær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29570" y="3095427"/>
            <a:ext cx="337400" cy="321707"/>
          </a:xfrm>
          <a:prstGeom prst="rect">
            <a:avLst/>
          </a:prstGeom>
        </p:spPr>
      </p:pic>
      <p:pic>
        <p:nvPicPr>
          <p:cNvPr id="32" name="7 Skalér billed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5349" y="3543401"/>
            <a:ext cx="359695" cy="335309"/>
          </a:xfrm>
          <a:prstGeom prst="rect">
            <a:avLst/>
          </a:prstGeom>
        </p:spPr>
      </p:pic>
      <p:pic>
        <p:nvPicPr>
          <p:cNvPr id="33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39595" y="3321050"/>
            <a:ext cx="199287" cy="192169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5349" y="2723498"/>
            <a:ext cx="595309" cy="350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490283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ikkerhe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pic>
        <p:nvPicPr>
          <p:cNvPr id="6" name="Billed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3086" y="2146300"/>
            <a:ext cx="1655064" cy="1636776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50507" y="2146300"/>
            <a:ext cx="1655064" cy="1636776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7928" y="2146300"/>
            <a:ext cx="1655064" cy="1636776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5665" y="2146300"/>
            <a:ext cx="1655064" cy="1636776"/>
          </a:xfrm>
          <a:prstGeom prst="rect">
            <a:avLst/>
          </a:prstGeom>
        </p:spPr>
      </p:pic>
      <p:sp>
        <p:nvSpPr>
          <p:cNvPr id="10" name="Tekstfelt 9"/>
          <p:cNvSpPr txBox="1"/>
          <p:nvPr userDrawn="1"/>
        </p:nvSpPr>
        <p:spPr>
          <a:xfrm>
            <a:off x="1555054" y="4057651"/>
            <a:ext cx="207397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IKKERHEDSGUIDE</a:t>
            </a:r>
          </a:p>
          <a:p>
            <a:endParaRPr lang="da-DK" sz="2000" dirty="0" err="1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1" name="Tekstfelt 10"/>
          <p:cNvSpPr txBox="1"/>
          <p:nvPr userDrawn="1"/>
        </p:nvSpPr>
        <p:spPr>
          <a:xfrm>
            <a:off x="4118517" y="4057651"/>
            <a:ext cx="166792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NØDUDGANGE</a:t>
            </a:r>
          </a:p>
        </p:txBody>
      </p:sp>
      <p:sp>
        <p:nvSpPr>
          <p:cNvPr id="12" name="Tekstfelt 11"/>
          <p:cNvSpPr txBox="1"/>
          <p:nvPr userDrawn="1"/>
        </p:nvSpPr>
        <p:spPr>
          <a:xfrm>
            <a:off x="6188773" y="4057651"/>
            <a:ext cx="20739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HJERTESTARTER</a:t>
            </a:r>
          </a:p>
        </p:txBody>
      </p:sp>
      <p:sp>
        <p:nvSpPr>
          <p:cNvPr id="13" name="Tekstfelt 12"/>
          <p:cNvSpPr txBox="1"/>
          <p:nvPr userDrawn="1"/>
        </p:nvSpPr>
        <p:spPr>
          <a:xfrm>
            <a:off x="8674803" y="4057651"/>
            <a:ext cx="18645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AMLINGSSTED</a:t>
            </a:r>
          </a:p>
        </p:txBody>
      </p:sp>
    </p:spTree>
    <p:extLst>
      <p:ext uri="{BB962C8B-B14F-4D97-AF65-F5344CB8AC3E}">
        <p14:creationId xmlns:p14="http://schemas.microsoft.com/office/powerpoint/2010/main" val="41422050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Supergrafik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942999" cy="47810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96267" y="1575836"/>
            <a:ext cx="7823522" cy="1846264"/>
          </a:xfrm>
        </p:spPr>
        <p:txBody>
          <a:bodyPr rtlCol="0" anchor="b"/>
          <a:lstStyle>
            <a:lvl1pPr algn="l">
              <a:spcBef>
                <a:spcPts val="400"/>
              </a:spcBef>
              <a:defRPr sz="4800" baseline="0">
                <a:solidFill>
                  <a:schemeClr val="accent2"/>
                </a:solidFill>
              </a:defRPr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96267" y="3680864"/>
            <a:ext cx="7823522" cy="524933"/>
          </a:xfrm>
        </p:spPr>
        <p:txBody>
          <a:bodyPr rtlCol="0"/>
          <a:lstStyle>
            <a:lvl1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None/>
              <a:defRPr sz="3300">
                <a:solidFill>
                  <a:schemeClr val="accent1"/>
                </a:solidFill>
              </a:defRPr>
            </a:lvl1pPr>
            <a:lvl2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2pPr>
            <a:lvl3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3pPr>
            <a:lvl4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4pPr>
            <a:lvl5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5pPr>
            <a:lvl6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6pPr>
            <a:lvl7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7pPr>
            <a:lvl8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8pPr>
            <a:lvl9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9pPr>
          </a:lstStyle>
          <a:p>
            <a:pPr rtl="0"/>
            <a:r>
              <a:rPr lang="en-gb"/>
              <a:t>Indsæt underoverskrift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37" y="4349729"/>
            <a:ext cx="7824075" cy="458788"/>
          </a:xfrm>
        </p:spPr>
        <p:txBody>
          <a:bodyPr rtlCol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i="1">
                <a:solidFill>
                  <a:schemeClr val="tx2">
                    <a:lumMod val="75000"/>
                  </a:schemeClr>
                </a:solidFill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buFont typeface="Arial" panose="020B0604020202020204" pitchFamily="34" charset="0"/>
              <a:buChar char="​"/>
              <a:defRPr sz="2400"/>
            </a:lvl3pPr>
            <a:lvl4pPr marL="0" indent="0">
              <a:buFont typeface="Arial" panose="020B0604020202020204" pitchFamily="34" charset="0"/>
              <a:buChar char="​"/>
              <a:defRPr sz="2400"/>
            </a:lvl4pPr>
            <a:lvl5pPr marL="0" indent="0">
              <a:buFont typeface="Arial" panose="020B0604020202020204" pitchFamily="34" charset="0"/>
              <a:buChar char="​"/>
              <a:defRPr sz="2400"/>
            </a:lvl5pPr>
            <a:lvl6pPr marL="0" indent="0">
              <a:buFont typeface="Arial" panose="020B0604020202020204" pitchFamily="34" charset="0"/>
              <a:buChar char="​"/>
              <a:defRPr sz="2400"/>
            </a:lvl6pPr>
            <a:lvl7pPr marL="0" indent="0">
              <a:buFont typeface="Arial" panose="020B0604020202020204" pitchFamily="34" charset="0"/>
              <a:buChar char="​"/>
              <a:defRPr sz="2400"/>
            </a:lvl7pPr>
            <a:lvl8pPr marL="0" indent="0">
              <a:buFont typeface="Arial" panose="020B0604020202020204" pitchFamily="34" charset="0"/>
              <a:buChar char="​"/>
              <a:defRPr sz="2400"/>
            </a:lvl8pPr>
          </a:lstStyle>
          <a:p>
            <a:pPr lvl="0" rtl="0"/>
            <a:r>
              <a:rPr lang="en-gb"/>
              <a:t>Indsæt navn og efternavn</a:t>
            </a:r>
          </a:p>
        </p:txBody>
      </p:sp>
    </p:spTree>
    <p:extLst>
      <p:ext uri="{BB962C8B-B14F-4D97-AF65-F5344CB8AC3E}">
        <p14:creationId xmlns:p14="http://schemas.microsoft.com/office/powerpoint/2010/main" val="98044014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 baseline="0"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10226674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3" y="2024063"/>
            <a:ext cx="10214464" cy="72072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205475327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7" y="1196975"/>
            <a:ext cx="4921739" cy="4959350"/>
          </a:xfrm>
          <a:solidFill>
            <a:schemeClr val="bg1">
              <a:lumMod val="95000"/>
            </a:schemeClr>
          </a:solidFill>
        </p:spPr>
        <p:txBody>
          <a:bodyPr tIns="1080000" rtlCol="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rtl="0"/>
            <a:r>
              <a:rPr lang="en-gb"/>
              <a:t>Træk billede til pladsholder eller klik på symbol for at tilføje billede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82663" y="1196975"/>
            <a:ext cx="4933337" cy="719138"/>
          </a:xfrm>
        </p:spPr>
        <p:txBody>
          <a:bodyPr rtlCol="0"/>
          <a:lstStyle>
            <a:lvl1pPr>
              <a:defRPr baseline="0"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4" y="2852739"/>
            <a:ext cx="4933336" cy="3303586"/>
          </a:xfrm>
        </p:spPr>
        <p:txBody>
          <a:bodyPr rtlCol="0"/>
          <a:lstStyle/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4933337" cy="72072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126729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4860000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337127" y="2852738"/>
            <a:ext cx="4860000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1829202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3217864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487069" y="2852738"/>
            <a:ext cx="3217864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7991474" y="2852738"/>
            <a:ext cx="3217864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366171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22772A8C-5A1B-E74C-98FD-E87FD5A80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255663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B56B0860-E2FC-4046-BE7C-E6EA1D3C7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86B7801-E3B9-8C49-9C6E-CA2439CD3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486B617-819F-D54A-871B-B63CD3758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4D1D345-D353-6F4A-A586-8E5CDA0F43FC}"/>
              </a:ext>
            </a:extLst>
          </p:cNvPr>
          <p:cNvSpPr/>
          <p:nvPr userDrawn="1"/>
        </p:nvSpPr>
        <p:spPr>
          <a:xfrm>
            <a:off x="949705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Pladsholder til tekst 15">
            <a:extLst>
              <a:ext uri="{FF2B5EF4-FFF2-40B4-BE49-F238E27FC236}">
                <a16:creationId xmlns:a16="http://schemas.microsoft.com/office/drawing/2014/main" id="{8E6A2F22-BEF4-6543-97DA-88F5BA3B8E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9705" y="2488040"/>
            <a:ext cx="4920028" cy="1405232"/>
          </a:xfrm>
        </p:spPr>
        <p:txBody>
          <a:bodyPr rtlCol="0"/>
          <a:lstStyle>
            <a:lvl1pPr algn="ctr">
              <a:defRPr sz="750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PROGRAM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D815E82-1046-D241-BFCC-C6BAD16F7C90}"/>
              </a:ext>
            </a:extLst>
          </p:cNvPr>
          <p:cNvSpPr/>
          <p:nvPr userDrawn="1"/>
        </p:nvSpPr>
        <p:spPr>
          <a:xfrm>
            <a:off x="6181582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2" name="Pladsholder til tekst 13">
            <a:extLst>
              <a:ext uri="{FF2B5EF4-FFF2-40B4-BE49-F238E27FC236}">
                <a16:creationId xmlns:a16="http://schemas.microsoft.com/office/drawing/2014/main" id="{3F7C6172-494C-DD44-8F59-32C8484CFA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2152" y="2108027"/>
            <a:ext cx="3798888" cy="3101517"/>
          </a:xfrm>
        </p:spPr>
        <p:txBody>
          <a:bodyPr rtlCol="0"/>
          <a:lstStyle>
            <a:lvl1pPr marL="342900" indent="-342900">
              <a:buFont typeface="Arial" panose="020B0604020202020204" pitchFamily="34" charset="0"/>
              <a:buChar char="•"/>
              <a:defRPr sz="250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Tekst
Tekst 
Tekst 
 Tekst 
 Tekst</a:t>
            </a:r>
          </a:p>
          <a:p>
            <a:pPr rtl="0"/>
            <a:r>
              <a:rPr lang="en-gb"/>
              <a:t> Tekst</a:t>
            </a:r>
          </a:p>
          <a:p>
            <a:pPr rtl="0"/>
            <a:r>
              <a:rPr lang="en-gb"/>
              <a:t> Tekst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C036E63E-0936-6E48-B39F-028BB2CB9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158" y="3714967"/>
            <a:ext cx="2520372" cy="2398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45862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em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8C022D2-711D-3B48-9664-6E97484392F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3AD1A35-4CCE-1C47-BAAC-A29B69D42F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6231" y="3780149"/>
            <a:ext cx="6232180" cy="1470041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5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overskrift for nyt tema/emne</a:t>
            </a:r>
          </a:p>
        </p:txBody>
      </p:sp>
      <p:sp>
        <p:nvSpPr>
          <p:cNvPr id="11" name="Pladsholder til billede 21">
            <a:extLst>
              <a:ext uri="{FF2B5EF4-FFF2-40B4-BE49-F238E27FC236}">
                <a16:creationId xmlns:a16="http://schemas.microsoft.com/office/drawing/2014/main" id="{79C2A64C-C131-7147-B71D-EF7FA287183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61675" y="1580349"/>
            <a:ext cx="1861293" cy="1861293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5A1DB3C-A15F-F44C-B74D-5E8BAEC926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6231" y="5355771"/>
            <a:ext cx="6232180" cy="837848"/>
          </a:xfrm>
        </p:spPr>
        <p:txBody>
          <a:bodyPr rtlCol="0" anchor="t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2000" cap="none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evt. kort understøttende tekst</a:t>
            </a:r>
          </a:p>
        </p:txBody>
      </p:sp>
    </p:spTree>
    <p:extLst>
      <p:ext uri="{BB962C8B-B14F-4D97-AF65-F5344CB8AC3E}">
        <p14:creationId xmlns:p14="http://schemas.microsoft.com/office/powerpoint/2010/main" val="27676719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8" y="0"/>
            <a:ext cx="5916612" cy="6858000"/>
          </a:xfrm>
          <a:solidFill>
            <a:schemeClr val="bg1">
              <a:lumMod val="95000"/>
            </a:schemeClr>
          </a:solidFill>
        </p:spPr>
        <p:txBody>
          <a:bodyPr tIns="900000" rtlCol="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rtl="0"/>
            <a:r>
              <a:rPr lang="en-gb"/>
              <a:t>Træk billede til pladsholder eller klik på symbol for at tilføje billed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6275388" cy="685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58814" y="1196976"/>
            <a:ext cx="4204132" cy="1547812"/>
          </a:xfrm>
        </p:spPr>
        <p:txBody>
          <a:bodyPr rtlCol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52739"/>
            <a:ext cx="4214944" cy="3303586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25616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856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94486" y="1196976"/>
            <a:ext cx="4204132" cy="1547812"/>
          </a:xfrm>
        </p:spPr>
        <p:txBody>
          <a:bodyPr rtlCol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83673" y="2852739"/>
            <a:ext cx="4214944" cy="3303586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45C937D3-2FD3-D148-9B52-28210AC27B20}"/>
              </a:ext>
            </a:extLst>
          </p:cNvPr>
          <p:cNvSpPr/>
          <p:nvPr userDrawn="1"/>
        </p:nvSpPr>
        <p:spPr>
          <a:xfrm>
            <a:off x="6108568" y="0"/>
            <a:ext cx="606143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03A224DA-2850-CB41-8EBA-23FB13A4A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1092" y="2852739"/>
            <a:ext cx="4214944" cy="3303586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EB37FB4A-7EE7-7342-AF40-FDD92B4E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03054" y="1196976"/>
            <a:ext cx="4222982" cy="1547812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2956965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kta bok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lå baggrund"/>
          <p:cNvSpPr/>
          <p:nvPr userDrawn="1"/>
        </p:nvSpPr>
        <p:spPr>
          <a:xfrm>
            <a:off x="-1" y="0"/>
            <a:ext cx="40644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8" name="Mørk blå baggrund"/>
          <p:cNvSpPr/>
          <p:nvPr userDrawn="1"/>
        </p:nvSpPr>
        <p:spPr>
          <a:xfrm>
            <a:off x="4063800" y="0"/>
            <a:ext cx="40644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9" name="Grøn baggrund"/>
          <p:cNvSpPr/>
          <p:nvPr userDrawn="1"/>
        </p:nvSpPr>
        <p:spPr>
          <a:xfrm>
            <a:off x="8128200" y="0"/>
            <a:ext cx="4064400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199" y="1196975"/>
            <a:ext cx="2880000" cy="1044000"/>
          </a:xfrm>
        </p:spPr>
        <p:txBody>
          <a:bodyPr rtlCol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en-gb"/>
              <a:t>Indsæt fakta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2199" y="2335214"/>
            <a:ext cx="2880000" cy="3821112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Klik for at indsætte teks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41608" y="1196975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fakta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37758" y="2335213"/>
            <a:ext cx="2880000" cy="3821112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Klik for at indsætte teks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701559" y="2335213"/>
            <a:ext cx="2880000" cy="3821112"/>
          </a:xfrm>
        </p:spPr>
        <p:txBody>
          <a:bodyPr rtlCol="0"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Klik for at indsætt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#›</a:t>
            </a:fld>
            <a:endParaRPr lang="da-DK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26458" y="2635420"/>
            <a:ext cx="646112" cy="24288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0589394-5D7C-2F4F-8AB5-24F785BCD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98453" y="1196975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fakta</a:t>
            </a:r>
          </a:p>
        </p:txBody>
      </p:sp>
    </p:spTree>
    <p:extLst>
      <p:ext uri="{BB962C8B-B14F-4D97-AF65-F5344CB8AC3E}">
        <p14:creationId xmlns:p14="http://schemas.microsoft.com/office/powerpoint/2010/main" val="2967903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akta bokse med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1184C-B22A-AD40-8EC2-6DB7F8554D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20" name="Pladsholder til tekst 20">
            <a:extLst>
              <a:ext uri="{FF2B5EF4-FFF2-40B4-BE49-F238E27FC236}">
                <a16:creationId xmlns:a16="http://schemas.microsoft.com/office/drawing/2014/main" id="{589E580B-CAF0-0843-9549-CC4DC8EB83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2" y="2227943"/>
            <a:ext cx="3248251" cy="4126359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E173464F-0D76-D747-8AD0-2735D2AA33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65769" y="2227943"/>
            <a:ext cx="3248251" cy="4126359"/>
          </a:xfrm>
          <a:solidFill>
            <a:schemeClr val="accent2"/>
          </a:solidFill>
        </p:spPr>
        <p:txBody>
          <a:bodyPr rtlCol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2" name="Pladsholder til tekst 20">
            <a:extLst>
              <a:ext uri="{FF2B5EF4-FFF2-40B4-BE49-F238E27FC236}">
                <a16:creationId xmlns:a16="http://schemas.microsoft.com/office/drawing/2014/main" id="{D7009CD0-C6D3-DA47-9564-AA91F054FE8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48876" y="2227943"/>
            <a:ext cx="3248251" cy="4126359"/>
          </a:xfrm>
          <a:solidFill>
            <a:schemeClr val="accent6">
              <a:lumMod val="75000"/>
            </a:schemeClr>
          </a:solidFill>
        </p:spPr>
        <p:txBody>
          <a:bodyPr rtlCol="0"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B673409-9F47-FB45-A48A-89910EF4B4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4667" y="2547538"/>
            <a:ext cx="2725789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74B29C6-58EB-D34C-9127-ACEA3C8422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27295" y="2547538"/>
            <a:ext cx="2725789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1A87E3-BEAA-A645-A475-1D81C3B496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17980" y="2547538"/>
            <a:ext cx="2725789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2" name="Pladsholder til dato 2">
            <a:extLst>
              <a:ext uri="{FF2B5EF4-FFF2-40B4-BE49-F238E27FC236}">
                <a16:creationId xmlns:a16="http://schemas.microsoft.com/office/drawing/2014/main" id="{6163A414-1DB0-E44F-AA68-084AD5F92A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</p:spPr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33" name="Pladsholder til sidefod 3">
            <a:extLst>
              <a:ext uri="{FF2B5EF4-FFF2-40B4-BE49-F238E27FC236}">
                <a16:creationId xmlns:a16="http://schemas.microsoft.com/office/drawing/2014/main" id="{D5BDAAB7-64D3-6F4A-B353-FD3D427AA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</p:spPr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34" name="Pladsholder til slidenummer 4">
            <a:extLst>
              <a:ext uri="{FF2B5EF4-FFF2-40B4-BE49-F238E27FC236}">
                <a16:creationId xmlns:a16="http://schemas.microsoft.com/office/drawing/2014/main" id="{69B55418-5C62-9B4C-862D-AC2428413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</p:spPr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ADE3066-ED1D-4F49-93F8-391ABD55C0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90818" y="3521431"/>
            <a:ext cx="2725789" cy="2545540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7F8424-2719-084A-B7D9-9177E1063F2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19818" y="3521431"/>
            <a:ext cx="2725789" cy="2545540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6C2F8DB8-478D-2747-97E7-34A79FA6D6D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11880" y="3521431"/>
            <a:ext cx="2725789" cy="2545540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8787398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ktangel 23">
            <a:extLst>
              <a:ext uri="{FF2B5EF4-FFF2-40B4-BE49-F238E27FC236}">
                <a16:creationId xmlns:a16="http://schemas.microsoft.com/office/drawing/2014/main" id="{A70984DD-6FD6-BD49-9823-E01C00074D58}"/>
              </a:ext>
            </a:extLst>
          </p:cNvPr>
          <p:cNvSpPr/>
          <p:nvPr userDrawn="1"/>
        </p:nvSpPr>
        <p:spPr>
          <a:xfrm>
            <a:off x="0" y="0"/>
            <a:ext cx="6102000" cy="343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B49CAF25-176E-5A4D-9CBF-5CBAFF28450B}"/>
              </a:ext>
            </a:extLst>
          </p:cNvPr>
          <p:cNvSpPr/>
          <p:nvPr userDrawn="1"/>
        </p:nvSpPr>
        <p:spPr>
          <a:xfrm>
            <a:off x="6102000" y="0"/>
            <a:ext cx="6102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2675EE6C-9AF8-5640-8C49-6FCA0D37E4BD}"/>
              </a:ext>
            </a:extLst>
          </p:cNvPr>
          <p:cNvSpPr/>
          <p:nvPr userDrawn="1"/>
        </p:nvSpPr>
        <p:spPr>
          <a:xfrm>
            <a:off x="0" y="3438000"/>
            <a:ext cx="6102000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0250F1C9-E8CA-1D4D-A702-30E9656301CB}"/>
              </a:ext>
            </a:extLst>
          </p:cNvPr>
          <p:cNvSpPr/>
          <p:nvPr userDrawn="1"/>
        </p:nvSpPr>
        <p:spPr>
          <a:xfrm>
            <a:off x="6102000" y="3438000"/>
            <a:ext cx="6102000" cy="343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2C280509-312C-EC4E-9055-368511E7B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242" y="521417"/>
            <a:ext cx="4812631" cy="1044000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overskrif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E5BCC922-2B97-6D45-B26E-C9DCD91CA6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86475" y="3890259"/>
            <a:ext cx="4812631" cy="1044000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overskrif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F1A17406-FA28-AF46-87B0-90C9678BE3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6475" y="521417"/>
            <a:ext cx="4812631" cy="1044000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overskrif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974BBC5-8EA0-F544-8FD6-3D20CB74A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6392" y="1659655"/>
            <a:ext cx="4812631" cy="1496259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B58BAF-EB02-584B-8F8E-308E103900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6475" y="1659655"/>
            <a:ext cx="4812631" cy="1496259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04355197-8B32-A144-8021-CBD5A16714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6475" y="5033476"/>
            <a:ext cx="4812631" cy="1496259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1270C9-01F1-7647-BB60-707726D0B4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6392" y="3890259"/>
            <a:ext cx="4812631" cy="1044000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overskrif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097DD830-2D9D-0F4F-AB87-6A0DF610B3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6392" y="5033476"/>
            <a:ext cx="4812631" cy="1496259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4086847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4231207E-52DE-7743-B71F-230159D42985}"/>
              </a:ext>
            </a:extLst>
          </p:cNvPr>
          <p:cNvSpPr/>
          <p:nvPr userDrawn="1"/>
        </p:nvSpPr>
        <p:spPr>
          <a:xfrm>
            <a:off x="0" y="3438854"/>
            <a:ext cx="4064399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363B3948-444E-AA45-B1E9-7EDF40549589}"/>
              </a:ext>
            </a:extLst>
          </p:cNvPr>
          <p:cNvSpPr/>
          <p:nvPr userDrawn="1"/>
        </p:nvSpPr>
        <p:spPr>
          <a:xfrm>
            <a:off x="4060281" y="3438854"/>
            <a:ext cx="4064399" cy="343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5F8A012-C0A3-7947-83C8-A529753F4C0A}"/>
              </a:ext>
            </a:extLst>
          </p:cNvPr>
          <p:cNvSpPr/>
          <p:nvPr userDrawn="1"/>
        </p:nvSpPr>
        <p:spPr>
          <a:xfrm>
            <a:off x="8123999" y="3438854"/>
            <a:ext cx="4068000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BC0267F-007F-3641-8922-B7E2F637F90A}"/>
              </a:ext>
            </a:extLst>
          </p:cNvPr>
          <p:cNvSpPr/>
          <p:nvPr userDrawn="1"/>
        </p:nvSpPr>
        <p:spPr>
          <a:xfrm>
            <a:off x="0" y="0"/>
            <a:ext cx="4064399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D5C2644-5515-1A4C-861C-7326752F58CA}"/>
              </a:ext>
            </a:extLst>
          </p:cNvPr>
          <p:cNvSpPr/>
          <p:nvPr userDrawn="1"/>
        </p:nvSpPr>
        <p:spPr>
          <a:xfrm>
            <a:off x="4060281" y="0"/>
            <a:ext cx="4064399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49124EA-328E-544F-8063-AD5A0253A45B}"/>
              </a:ext>
            </a:extLst>
          </p:cNvPr>
          <p:cNvSpPr/>
          <p:nvPr userDrawn="1"/>
        </p:nvSpPr>
        <p:spPr>
          <a:xfrm>
            <a:off x="8123999" y="0"/>
            <a:ext cx="4068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90D8679-556B-8A40-899D-9C84538CB7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199" y="2045388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4B3218E-0749-9E44-8EB8-F4A37D35C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6298" y="2045388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95927F8-1F62-F141-B530-0EFB97A9C3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87787" y="2045388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F466B7C-EB91-BF4C-AF64-2F54DF448F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199" y="5476746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39CC98F-B499-7842-957F-DE634767DF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6298" y="5476746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899C76E-502E-5F4D-965E-B2EE55D85B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87787" y="5476746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23" name="Pladsholder til billede 21">
            <a:extLst>
              <a:ext uri="{FF2B5EF4-FFF2-40B4-BE49-F238E27FC236}">
                <a16:creationId xmlns:a16="http://schemas.microsoft.com/office/drawing/2014/main" id="{DF55435F-ADCB-E04B-8525-F3542D26DA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444480" y="592134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32" name="Pladsholder til billede 21">
            <a:extLst>
              <a:ext uri="{FF2B5EF4-FFF2-40B4-BE49-F238E27FC236}">
                <a16:creationId xmlns:a16="http://schemas.microsoft.com/office/drawing/2014/main" id="{645988EB-136C-7B47-8BA1-CF5AFA25140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28662" y="592134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33" name="Pladsholder til billede 21">
            <a:extLst>
              <a:ext uri="{FF2B5EF4-FFF2-40B4-BE49-F238E27FC236}">
                <a16:creationId xmlns:a16="http://schemas.microsoft.com/office/drawing/2014/main" id="{25765CAD-7482-C640-9455-1D6708AA64F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592275" y="592134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34" name="Pladsholder til billede 21">
            <a:extLst>
              <a:ext uri="{FF2B5EF4-FFF2-40B4-BE49-F238E27FC236}">
                <a16:creationId xmlns:a16="http://schemas.microsoft.com/office/drawing/2014/main" id="{10C7017F-8D5D-1C4A-B3D6-C1EF8301B11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44480" y="4032919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35" name="Pladsholder til billede 21">
            <a:extLst>
              <a:ext uri="{FF2B5EF4-FFF2-40B4-BE49-F238E27FC236}">
                <a16:creationId xmlns:a16="http://schemas.microsoft.com/office/drawing/2014/main" id="{43FF324F-4E4B-1D43-8DE6-5DF412D016B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428662" y="4032919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36" name="Pladsholder til billede 21">
            <a:extLst>
              <a:ext uri="{FF2B5EF4-FFF2-40B4-BE49-F238E27FC236}">
                <a16:creationId xmlns:a16="http://schemas.microsoft.com/office/drawing/2014/main" id="{6840F908-7AC0-954D-87CD-F598A573381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92275" y="4032919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</p:spTree>
    <p:extLst>
      <p:ext uri="{BB962C8B-B14F-4D97-AF65-F5344CB8AC3E}">
        <p14:creationId xmlns:p14="http://schemas.microsoft.com/office/powerpoint/2010/main" val="3597111911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2916302"/>
            <a:ext cx="2398100" cy="3438000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2916302"/>
            <a:ext cx="2398100" cy="3438000"/>
          </a:xfrm>
          <a:solidFill>
            <a:schemeClr val="accent2"/>
          </a:solidFill>
        </p:spPr>
        <p:txBody>
          <a:bodyPr rtlCol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2916302"/>
            <a:ext cx="2398100" cy="3438000"/>
          </a:xfrm>
          <a:solidFill>
            <a:schemeClr val="bg2"/>
          </a:solidFill>
        </p:spPr>
        <p:txBody>
          <a:bodyPr rtlCol="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2916302"/>
            <a:ext cx="2398100" cy="3438000"/>
          </a:xfrm>
          <a:solidFill>
            <a:schemeClr val="accent5"/>
          </a:solidFill>
        </p:spPr>
        <p:txBody>
          <a:bodyPr rtlCol="0"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078760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000403"/>
            <a:ext cx="2140546" cy="225778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078760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000403"/>
            <a:ext cx="2140546" cy="225778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078760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000403"/>
            <a:ext cx="2140546" cy="225778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078760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000403"/>
            <a:ext cx="2140546" cy="225778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</p:spTree>
    <p:extLst>
      <p:ext uri="{BB962C8B-B14F-4D97-AF65-F5344CB8AC3E}">
        <p14:creationId xmlns:p14="http://schemas.microsoft.com/office/powerpoint/2010/main" val="419881113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40035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3657600"/>
            <a:ext cx="2398100" cy="2696702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3657600"/>
            <a:ext cx="2398100" cy="2696702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3657600"/>
            <a:ext cx="2398100" cy="2696702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3657600"/>
            <a:ext cx="2398100" cy="2696702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758269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679912"/>
            <a:ext cx="2140546" cy="1519553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758269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679912"/>
            <a:ext cx="2140546" cy="1519553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758269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679912"/>
            <a:ext cx="2140546" cy="1519553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758269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679912"/>
            <a:ext cx="2140546" cy="1519553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E1B3C7FE-A5C5-DB43-8F81-6B58E061747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82663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rtlCol="0" anchor="ctr"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ilføje billede</a:t>
            </a:r>
          </a:p>
        </p:txBody>
      </p:sp>
      <p:sp>
        <p:nvSpPr>
          <p:cNvPr id="23" name="Pladsholder til billede 6">
            <a:extLst>
              <a:ext uri="{FF2B5EF4-FFF2-40B4-BE49-F238E27FC236}">
                <a16:creationId xmlns:a16="http://schemas.microsoft.com/office/drawing/2014/main" id="{0DD12C78-FFFA-B441-91D8-3D10BA15064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0028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rtlCol="0"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ilføje billede</a:t>
            </a:r>
          </a:p>
        </p:txBody>
      </p:sp>
      <p:sp>
        <p:nvSpPr>
          <p:cNvPr id="35" name="Pladsholder til billede 6">
            <a:extLst>
              <a:ext uri="{FF2B5EF4-FFF2-40B4-BE49-F238E27FC236}">
                <a16:creationId xmlns:a16="http://schemas.microsoft.com/office/drawing/2014/main" id="{5433A101-EEC2-1A43-BCC6-EA29BC4C810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9005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rtlCol="0"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ilføje billede</a:t>
            </a:r>
          </a:p>
        </p:txBody>
      </p:sp>
      <p:sp>
        <p:nvSpPr>
          <p:cNvPr id="36" name="Pladsholder til billede 6">
            <a:extLst>
              <a:ext uri="{FF2B5EF4-FFF2-40B4-BE49-F238E27FC236}">
                <a16:creationId xmlns:a16="http://schemas.microsoft.com/office/drawing/2014/main" id="{C060D71F-6125-7045-8FC0-37F1BD04BF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826370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rtlCol="0"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ilføje billede</a:t>
            </a:r>
          </a:p>
        </p:txBody>
      </p:sp>
    </p:spTree>
    <p:extLst>
      <p:ext uri="{BB962C8B-B14F-4D97-AF65-F5344CB8AC3E}">
        <p14:creationId xmlns:p14="http://schemas.microsoft.com/office/powerpoint/2010/main" val="2660446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insert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1022667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insert body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</a:t>
            </a:r>
            <a:r>
              <a:rPr lang="en-GB" dirty="0"/>
              <a:t> subheading</a:t>
            </a:r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C7DDF925-C89D-8946-92D7-03CACECF1C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FLD_PresentationTitle">
            <a:extLst>
              <a:ext uri="{FF2B5EF4-FFF2-40B4-BE49-F238E27FC236}">
                <a16:creationId xmlns:a16="http://schemas.microsoft.com/office/drawing/2014/main" id="{26DFBE7D-AC9C-824B-A193-63B129AFB0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979C062-6BDC-CD4C-9D3F-EB00A5C319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34827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5F867355-AAA7-FD40-B0C3-7BAE5A5FC3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D8A753AC-05F3-AD4C-BF95-2BE4A21C048C}"/>
              </a:ext>
            </a:extLst>
          </p:cNvPr>
          <p:cNvSpPr txBox="1"/>
          <p:nvPr userDrawn="1"/>
        </p:nvSpPr>
        <p:spPr>
          <a:xfrm>
            <a:off x="3479800" y="1876695"/>
            <a:ext cx="5232400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5000" dirty="0">
                <a:solidFill>
                  <a:schemeClr val="bg1"/>
                </a:solidFill>
              </a:rPr>
              <a:t>BREAK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3DDF7F7-0AC1-C443-BA29-DD597A10C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575" y="2261415"/>
            <a:ext cx="4020155" cy="393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30216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rtlCol="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0436268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rtlCol="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#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761376"/>
            <a:ext cx="6749592" cy="2535237"/>
          </a:xfrm>
          <a:solidFill>
            <a:schemeClr val="accent1">
              <a:alpha val="82000"/>
            </a:schemeClr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5680" y="5249848"/>
            <a:ext cx="5364292" cy="839867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kort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680" y="4069772"/>
            <a:ext cx="5364291" cy="1030127"/>
          </a:xfrm>
        </p:spPr>
        <p:txBody>
          <a:bodyPr rtlCol="0"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207160461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rtlCol="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#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58639" y="0"/>
            <a:ext cx="4242062" cy="6858000"/>
          </a:xfrm>
          <a:solidFill>
            <a:schemeClr val="accent1">
              <a:alpha val="82000"/>
            </a:schemeClr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72980" y="2607740"/>
            <a:ext cx="3337528" cy="3519683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2980" y="789245"/>
            <a:ext cx="3337528" cy="1576883"/>
          </a:xfrm>
        </p:spPr>
        <p:txBody>
          <a:bodyPr rtlCol="0"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326017149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#›</a:t>
            </a:fld>
            <a:endParaRPr lang="da-DK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22772A8C-5A1B-E74C-98FD-E87FD5A80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90405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5F867355-AAA7-FD40-B0C3-7BAE5A5FC3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D8A753AC-05F3-AD4C-BF95-2BE4A21C048C}"/>
              </a:ext>
            </a:extLst>
          </p:cNvPr>
          <p:cNvSpPr txBox="1"/>
          <p:nvPr userDrawn="1"/>
        </p:nvSpPr>
        <p:spPr>
          <a:xfrm>
            <a:off x="3479800" y="1876695"/>
            <a:ext cx="5232400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5000">
                <a:solidFill>
                  <a:schemeClr val="bg1"/>
                </a:solidFill>
              </a:rPr>
              <a:t>PAUS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3DDF7F7-0AC1-C443-BA29-DD597A10C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575" y="2261415"/>
            <a:ext cx="4020155" cy="393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48347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ørgsmå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298" y="0"/>
            <a:ext cx="12208298" cy="6857999"/>
          </a:xfrm>
          <a:prstGeom prst="rect">
            <a:avLst/>
          </a:prstGeom>
        </p:spPr>
      </p:pic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389376" y="5822731"/>
            <a:ext cx="6410325" cy="377825"/>
          </a:xfrm>
        </p:spPr>
        <p:txBody>
          <a:bodyPr rtlCol="0"/>
          <a:lstStyle>
            <a:lvl1pPr>
              <a:defRPr sz="1800" baseline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en-gb"/>
              <a:t>KONTAKT: Tlf.: xx xx xx xx Mail: XXX@energinet.dk</a:t>
            </a:r>
            <a:endParaRPr lang="da-DK" dirty="0"/>
          </a:p>
        </p:txBody>
      </p:sp>
      <p:sp>
        <p:nvSpPr>
          <p:cNvPr id="4" name="Tekstfelt 3"/>
          <p:cNvSpPr txBox="1"/>
          <p:nvPr userDrawn="1"/>
        </p:nvSpPr>
        <p:spPr>
          <a:xfrm>
            <a:off x="2701158" y="2026750"/>
            <a:ext cx="6600497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gb" sz="10000">
                <a:solidFill>
                  <a:schemeClr val="bg1"/>
                </a:solidFill>
              </a:rPr>
              <a:t>SPØRGSMÅL</a:t>
            </a:r>
          </a:p>
        </p:txBody>
      </p:sp>
    </p:spTree>
    <p:extLst>
      <p:ext uri="{BB962C8B-B14F-4D97-AF65-F5344CB8AC3E}">
        <p14:creationId xmlns:p14="http://schemas.microsoft.com/office/powerpoint/2010/main" val="29042664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ast overskrift"/>
          <p:cNvSpPr txBox="1"/>
          <p:nvPr userDrawn="1"/>
        </p:nvSpPr>
        <p:spPr>
          <a:xfrm>
            <a:off x="982663" y="539750"/>
            <a:ext cx="9361487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en-gb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7" name="Text Box 2"/>
          <p:cNvSpPr txBox="1">
            <a:spLocks noChangeArrowheads="1"/>
          </p:cNvSpPr>
          <p:nvPr userDrawn="1"/>
        </p:nvSpPr>
        <p:spPr bwMode="auto">
          <a:xfrm>
            <a:off x="982667" y="1833789"/>
            <a:ext cx="2280360" cy="4678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rtlCol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eaLnBrk="1" hangingPunct="1">
              <a:spcAft>
                <a:spcPts val="600"/>
              </a:spcAft>
              <a:defRPr/>
            </a:pPr>
            <a:r>
              <a:rPr lang="en-gb" sz="1000" b="1" noProof="1">
                <a:latin typeface="Arial" panose="020B0604020202020204" pitchFamily="34" charset="0"/>
                <a:cs typeface="Arial" panose="020B0604020202020204" pitchFamily="34" charset="0"/>
              </a:rPr>
              <a:t>Brug tekst typografier</a:t>
            </a: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for at fjerne og sætte bullet på igen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layouts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side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punktet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dias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ndsætte nyt slide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det layout, du ønsker, for at ændre dit nuværende layout til et alternativt.</a:t>
            </a:r>
          </a:p>
          <a:p>
            <a:pPr rtl="0"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 .</a:t>
            </a:r>
          </a:p>
          <a:p>
            <a:pPr rtl="0"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3"/>
          <p:cNvSpPr txBox="1">
            <a:spLocks noChangeArrowheads="1"/>
          </p:cNvSpPr>
          <p:nvPr userDrawn="1"/>
        </p:nvSpPr>
        <p:spPr bwMode="auto">
          <a:xfrm>
            <a:off x="5039973" y="1833789"/>
            <a:ext cx="1927222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rtlCol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konet og væl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rtl="0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ér billedet. Klik på fanen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værktøjer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er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.</a:t>
            </a:r>
          </a:p>
        </p:txBody>
      </p:sp>
      <p:sp>
        <p:nvSpPr>
          <p:cNvPr id="19" name="Text Box 4"/>
          <p:cNvSpPr txBox="1">
            <a:spLocks noChangeArrowheads="1"/>
          </p:cNvSpPr>
          <p:nvPr userDrawn="1"/>
        </p:nvSpPr>
        <p:spPr bwMode="auto">
          <a:xfrm>
            <a:off x="9062174" y="1815926"/>
            <a:ext cx="2256615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rtlCol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 det sidste i din præsentation, så det slår igennem på alle slides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tast evt. tekst i sidefod)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.</a:t>
            </a:r>
          </a:p>
          <a:p>
            <a:pPr rtl="0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.</a:t>
            </a:r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.</a:t>
            </a:r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1 Forøg formindsk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43464" y="2877130"/>
            <a:ext cx="549328" cy="285228"/>
          </a:xfrm>
          <a:prstGeom prst="rect">
            <a:avLst/>
          </a:prstGeom>
        </p:spPr>
      </p:pic>
      <p:pic>
        <p:nvPicPr>
          <p:cNvPr id="26" name="2 Ny slide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57383" y="3958874"/>
            <a:ext cx="363713" cy="647461"/>
          </a:xfrm>
          <a:prstGeom prst="rect">
            <a:avLst/>
          </a:prstGeom>
        </p:spPr>
      </p:pic>
      <p:pic>
        <p:nvPicPr>
          <p:cNvPr id="27" name="4 Nulsti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45551" y="5464557"/>
            <a:ext cx="547241" cy="197798"/>
          </a:xfrm>
          <a:prstGeom prst="rect">
            <a:avLst/>
          </a:prstGeom>
        </p:spPr>
      </p:pic>
      <p:pic>
        <p:nvPicPr>
          <p:cNvPr id="30" name="5 Indsæt billed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7195" y="2075087"/>
            <a:ext cx="262151" cy="256054"/>
          </a:xfrm>
          <a:prstGeom prst="rect">
            <a:avLst/>
          </a:prstGeom>
        </p:spPr>
      </p:pic>
      <p:pic>
        <p:nvPicPr>
          <p:cNvPr id="31" name="6 Beskær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29570" y="3095427"/>
            <a:ext cx="337400" cy="321707"/>
          </a:xfrm>
          <a:prstGeom prst="rect">
            <a:avLst/>
          </a:prstGeom>
        </p:spPr>
      </p:pic>
      <p:pic>
        <p:nvPicPr>
          <p:cNvPr id="32" name="7 Skalér billed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5349" y="3543401"/>
            <a:ext cx="359695" cy="335309"/>
          </a:xfrm>
          <a:prstGeom prst="rect">
            <a:avLst/>
          </a:prstGeom>
        </p:spPr>
      </p:pic>
      <p:pic>
        <p:nvPicPr>
          <p:cNvPr id="33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39595" y="3321050"/>
            <a:ext cx="199287" cy="192169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5349" y="2723498"/>
            <a:ext cx="595309" cy="350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426761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ikkerhe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pic>
        <p:nvPicPr>
          <p:cNvPr id="6" name="Billed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3086" y="2146300"/>
            <a:ext cx="1655064" cy="1636776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50507" y="2146300"/>
            <a:ext cx="1655064" cy="1636776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7928" y="2146300"/>
            <a:ext cx="1655064" cy="1636776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5665" y="2146300"/>
            <a:ext cx="1655064" cy="1636776"/>
          </a:xfrm>
          <a:prstGeom prst="rect">
            <a:avLst/>
          </a:prstGeom>
        </p:spPr>
      </p:pic>
      <p:sp>
        <p:nvSpPr>
          <p:cNvPr id="10" name="Tekstfelt 9"/>
          <p:cNvSpPr txBox="1"/>
          <p:nvPr userDrawn="1"/>
        </p:nvSpPr>
        <p:spPr>
          <a:xfrm>
            <a:off x="1555054" y="4057651"/>
            <a:ext cx="207397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gb" sz="20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IKKERHEDSGUIDE</a:t>
            </a:r>
          </a:p>
          <a:p>
            <a:pPr rtl="0"/>
            <a:endParaRPr lang="da-DK" sz="2000" dirty="0" err="1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1" name="Tekstfelt 10"/>
          <p:cNvSpPr txBox="1"/>
          <p:nvPr userDrawn="1"/>
        </p:nvSpPr>
        <p:spPr>
          <a:xfrm>
            <a:off x="4118517" y="4057651"/>
            <a:ext cx="166792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NØDUDGANGE</a:t>
            </a:r>
          </a:p>
        </p:txBody>
      </p:sp>
      <p:sp>
        <p:nvSpPr>
          <p:cNvPr id="12" name="Tekstfelt 11"/>
          <p:cNvSpPr txBox="1"/>
          <p:nvPr userDrawn="1"/>
        </p:nvSpPr>
        <p:spPr>
          <a:xfrm>
            <a:off x="6188773" y="4057651"/>
            <a:ext cx="20739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HJERTESTARTER</a:t>
            </a:r>
          </a:p>
        </p:txBody>
      </p:sp>
      <p:sp>
        <p:nvSpPr>
          <p:cNvPr id="13" name="Tekstfelt 12"/>
          <p:cNvSpPr txBox="1"/>
          <p:nvPr userDrawn="1"/>
        </p:nvSpPr>
        <p:spPr>
          <a:xfrm>
            <a:off x="8674803" y="4057651"/>
            <a:ext cx="18645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AMLINGSSTED</a:t>
            </a:r>
          </a:p>
        </p:txBody>
      </p:sp>
    </p:spTree>
    <p:extLst>
      <p:ext uri="{BB962C8B-B14F-4D97-AF65-F5344CB8AC3E}">
        <p14:creationId xmlns:p14="http://schemas.microsoft.com/office/powerpoint/2010/main" val="109767004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Supergrafik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942999" cy="47810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96267" y="1575836"/>
            <a:ext cx="7823522" cy="1846264"/>
          </a:xfrm>
        </p:spPr>
        <p:txBody>
          <a:bodyPr rtlCol="0" anchor="b"/>
          <a:lstStyle>
            <a:lvl1pPr algn="l">
              <a:spcBef>
                <a:spcPts val="400"/>
              </a:spcBef>
              <a:defRPr sz="4800" baseline="0">
                <a:solidFill>
                  <a:schemeClr val="accent2"/>
                </a:solidFill>
              </a:defRPr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96267" y="3680864"/>
            <a:ext cx="7823522" cy="524933"/>
          </a:xfrm>
        </p:spPr>
        <p:txBody>
          <a:bodyPr rtlCol="0"/>
          <a:lstStyle>
            <a:lvl1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None/>
              <a:defRPr sz="3300">
                <a:solidFill>
                  <a:schemeClr val="accent1"/>
                </a:solidFill>
              </a:defRPr>
            </a:lvl1pPr>
            <a:lvl2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2pPr>
            <a:lvl3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3pPr>
            <a:lvl4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4pPr>
            <a:lvl5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5pPr>
            <a:lvl6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6pPr>
            <a:lvl7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7pPr>
            <a:lvl8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8pPr>
            <a:lvl9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9pPr>
          </a:lstStyle>
          <a:p>
            <a:pPr rtl="0"/>
            <a:r>
              <a:rPr lang="en-gb"/>
              <a:t>Indsæt underoverskrift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37" y="4349729"/>
            <a:ext cx="7824075" cy="458788"/>
          </a:xfrm>
        </p:spPr>
        <p:txBody>
          <a:bodyPr rtlCol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i="1">
                <a:solidFill>
                  <a:schemeClr val="tx2">
                    <a:lumMod val="75000"/>
                  </a:schemeClr>
                </a:solidFill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buFont typeface="Arial" panose="020B0604020202020204" pitchFamily="34" charset="0"/>
              <a:buChar char="​"/>
              <a:defRPr sz="2400"/>
            </a:lvl3pPr>
            <a:lvl4pPr marL="0" indent="0">
              <a:buFont typeface="Arial" panose="020B0604020202020204" pitchFamily="34" charset="0"/>
              <a:buChar char="​"/>
              <a:defRPr sz="2400"/>
            </a:lvl4pPr>
            <a:lvl5pPr marL="0" indent="0">
              <a:buFont typeface="Arial" panose="020B0604020202020204" pitchFamily="34" charset="0"/>
              <a:buChar char="​"/>
              <a:defRPr sz="2400"/>
            </a:lvl5pPr>
            <a:lvl6pPr marL="0" indent="0">
              <a:buFont typeface="Arial" panose="020B0604020202020204" pitchFamily="34" charset="0"/>
              <a:buChar char="​"/>
              <a:defRPr sz="2400"/>
            </a:lvl6pPr>
            <a:lvl7pPr marL="0" indent="0">
              <a:buFont typeface="Arial" panose="020B0604020202020204" pitchFamily="34" charset="0"/>
              <a:buChar char="​"/>
              <a:defRPr sz="2400"/>
            </a:lvl7pPr>
            <a:lvl8pPr marL="0" indent="0">
              <a:buFont typeface="Arial" panose="020B0604020202020204" pitchFamily="34" charset="0"/>
              <a:buChar char="​"/>
              <a:defRPr sz="2400"/>
            </a:lvl8pPr>
          </a:lstStyle>
          <a:p>
            <a:pPr lvl="0" rtl="0"/>
            <a:r>
              <a:rPr lang="en-gb"/>
              <a:t>Indsæt navn og efternavn</a:t>
            </a:r>
          </a:p>
        </p:txBody>
      </p:sp>
    </p:spTree>
    <p:extLst>
      <p:ext uri="{BB962C8B-B14F-4D97-AF65-F5344CB8AC3E}">
        <p14:creationId xmlns:p14="http://schemas.microsoft.com/office/powerpoint/2010/main" val="37098756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 baseline="0"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10226674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3" y="2024063"/>
            <a:ext cx="10214464" cy="72072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42352979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ørgsmå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99" b="1121"/>
          <a:stretch/>
        </p:blipFill>
        <p:spPr>
          <a:xfrm>
            <a:off x="-16298" y="0"/>
            <a:ext cx="12208298" cy="6857999"/>
          </a:xfrm>
          <a:prstGeom prst="rect">
            <a:avLst/>
          </a:prstGeom>
        </p:spPr>
      </p:pic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389377" y="5822731"/>
            <a:ext cx="4777710" cy="377825"/>
          </a:xfrm>
        </p:spPr>
        <p:txBody>
          <a:bodyPr/>
          <a:lstStyle>
            <a:lvl1pPr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Contact: Tel.: xx xx xx xx </a:t>
            </a:r>
            <a:r>
              <a:rPr lang="da-DK" dirty="0" err="1"/>
              <a:t>email</a:t>
            </a:r>
            <a:r>
              <a:rPr lang="da-DK" dirty="0"/>
              <a:t>: </a:t>
            </a:r>
            <a:r>
              <a:rPr lang="da-DK" dirty="0" err="1"/>
              <a:t>XXX@energinet.dk</a:t>
            </a:r>
            <a:endParaRPr lang="da-DK" dirty="0"/>
          </a:p>
        </p:txBody>
      </p:sp>
      <p:sp>
        <p:nvSpPr>
          <p:cNvPr id="4" name="Tekstfelt 3"/>
          <p:cNvSpPr txBox="1"/>
          <p:nvPr userDrawn="1"/>
        </p:nvSpPr>
        <p:spPr>
          <a:xfrm>
            <a:off x="2701158" y="2026750"/>
            <a:ext cx="6600497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0" dirty="0">
                <a:solidFill>
                  <a:schemeClr val="bg1"/>
                </a:solidFill>
              </a:rPr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3623231019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7" y="1196975"/>
            <a:ext cx="4921739" cy="4959350"/>
          </a:xfrm>
          <a:solidFill>
            <a:schemeClr val="bg1">
              <a:lumMod val="95000"/>
            </a:schemeClr>
          </a:solidFill>
        </p:spPr>
        <p:txBody>
          <a:bodyPr tIns="1080000" rtlCol="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rtl="0"/>
            <a:r>
              <a:rPr lang="en-gb"/>
              <a:t>Træk billede til pladsholder eller klik på symbol for at tilføje billede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82663" y="1196975"/>
            <a:ext cx="4933337" cy="719138"/>
          </a:xfrm>
        </p:spPr>
        <p:txBody>
          <a:bodyPr rtlCol="0"/>
          <a:lstStyle>
            <a:lvl1pPr>
              <a:defRPr baseline="0"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4" y="2852739"/>
            <a:ext cx="4933336" cy="3303586"/>
          </a:xfrm>
        </p:spPr>
        <p:txBody>
          <a:bodyPr rtlCol="0"/>
          <a:lstStyle/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4933337" cy="72072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3216216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4860000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337127" y="2852738"/>
            <a:ext cx="4860000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0441310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3217864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487069" y="2852738"/>
            <a:ext cx="3217864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7991474" y="2852738"/>
            <a:ext cx="3217864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15609039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B56B0860-E2FC-4046-BE7C-E6EA1D3C7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86B7801-E3B9-8C49-9C6E-CA2439CD3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486B617-819F-D54A-871B-B63CD3758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4D1D345-D353-6F4A-A586-8E5CDA0F43FC}"/>
              </a:ext>
            </a:extLst>
          </p:cNvPr>
          <p:cNvSpPr/>
          <p:nvPr userDrawn="1"/>
        </p:nvSpPr>
        <p:spPr>
          <a:xfrm>
            <a:off x="949705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Pladsholder til tekst 15">
            <a:extLst>
              <a:ext uri="{FF2B5EF4-FFF2-40B4-BE49-F238E27FC236}">
                <a16:creationId xmlns:a16="http://schemas.microsoft.com/office/drawing/2014/main" id="{8E6A2F22-BEF4-6543-97DA-88F5BA3B8E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9705" y="2488040"/>
            <a:ext cx="4920028" cy="1405232"/>
          </a:xfrm>
        </p:spPr>
        <p:txBody>
          <a:bodyPr rtlCol="0"/>
          <a:lstStyle>
            <a:lvl1pPr algn="ctr">
              <a:defRPr sz="750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PROGRAM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D815E82-1046-D241-BFCC-C6BAD16F7C90}"/>
              </a:ext>
            </a:extLst>
          </p:cNvPr>
          <p:cNvSpPr/>
          <p:nvPr userDrawn="1"/>
        </p:nvSpPr>
        <p:spPr>
          <a:xfrm>
            <a:off x="6181582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2" name="Pladsholder til tekst 13">
            <a:extLst>
              <a:ext uri="{FF2B5EF4-FFF2-40B4-BE49-F238E27FC236}">
                <a16:creationId xmlns:a16="http://schemas.microsoft.com/office/drawing/2014/main" id="{3F7C6172-494C-DD44-8F59-32C8484CFA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2152" y="2108027"/>
            <a:ext cx="3798888" cy="3101517"/>
          </a:xfrm>
        </p:spPr>
        <p:txBody>
          <a:bodyPr rtlCol="0"/>
          <a:lstStyle>
            <a:lvl1pPr marL="342900" indent="-342900">
              <a:buFont typeface="Arial" panose="020B0604020202020204" pitchFamily="34" charset="0"/>
              <a:buChar char="•"/>
              <a:defRPr sz="250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Tekst
Tekst 
Tekst 
 Tekst 
 Tekst</a:t>
            </a:r>
          </a:p>
          <a:p>
            <a:pPr rtl="0"/>
            <a:r>
              <a:rPr lang="en-gb"/>
              <a:t> Tekst</a:t>
            </a:r>
          </a:p>
          <a:p>
            <a:pPr rtl="0"/>
            <a:r>
              <a:rPr lang="en-gb"/>
              <a:t> Tekst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C036E63E-0936-6E48-B39F-028BB2CB9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158" y="3714967"/>
            <a:ext cx="2520372" cy="2398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13801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em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8C022D2-711D-3B48-9664-6E97484392F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3AD1A35-4CCE-1C47-BAAC-A29B69D42F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6231" y="3780149"/>
            <a:ext cx="6232180" cy="1470041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5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overskrift for nyt tema/emne</a:t>
            </a:r>
          </a:p>
        </p:txBody>
      </p:sp>
      <p:sp>
        <p:nvSpPr>
          <p:cNvPr id="11" name="Pladsholder til billede 21">
            <a:extLst>
              <a:ext uri="{FF2B5EF4-FFF2-40B4-BE49-F238E27FC236}">
                <a16:creationId xmlns:a16="http://schemas.microsoft.com/office/drawing/2014/main" id="{79C2A64C-C131-7147-B71D-EF7FA287183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61675" y="1580349"/>
            <a:ext cx="1861293" cy="1861293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5A1DB3C-A15F-F44C-B74D-5E8BAEC926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6231" y="5355771"/>
            <a:ext cx="6232180" cy="837848"/>
          </a:xfrm>
        </p:spPr>
        <p:txBody>
          <a:bodyPr rtlCol="0" anchor="t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2000" cap="none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evt. kort understøttende tekst</a:t>
            </a:r>
          </a:p>
        </p:txBody>
      </p:sp>
    </p:spTree>
    <p:extLst>
      <p:ext uri="{BB962C8B-B14F-4D97-AF65-F5344CB8AC3E}">
        <p14:creationId xmlns:p14="http://schemas.microsoft.com/office/powerpoint/2010/main" val="371842789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8" y="0"/>
            <a:ext cx="5916612" cy="6858000"/>
          </a:xfrm>
          <a:solidFill>
            <a:schemeClr val="bg1">
              <a:lumMod val="95000"/>
            </a:schemeClr>
          </a:solidFill>
        </p:spPr>
        <p:txBody>
          <a:bodyPr tIns="900000" rtlCol="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rtl="0"/>
            <a:r>
              <a:rPr lang="en-gb"/>
              <a:t>Træk billede til pladsholder eller klik på symbol for at tilføje billed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6275388" cy="685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58814" y="1196976"/>
            <a:ext cx="4204132" cy="1547812"/>
          </a:xfrm>
        </p:spPr>
        <p:txBody>
          <a:bodyPr rtlCol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52739"/>
            <a:ext cx="4214944" cy="3303586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56346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856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94486" y="1196976"/>
            <a:ext cx="4204132" cy="1547812"/>
          </a:xfrm>
        </p:spPr>
        <p:txBody>
          <a:bodyPr rtlCol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83673" y="2852739"/>
            <a:ext cx="4214944" cy="3303586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45C937D3-2FD3-D148-9B52-28210AC27B20}"/>
              </a:ext>
            </a:extLst>
          </p:cNvPr>
          <p:cNvSpPr/>
          <p:nvPr userDrawn="1"/>
        </p:nvSpPr>
        <p:spPr>
          <a:xfrm>
            <a:off x="6108568" y="0"/>
            <a:ext cx="606143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03A224DA-2850-CB41-8EBA-23FB13A4A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1092" y="2852739"/>
            <a:ext cx="4214944" cy="3303586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EB37FB4A-7EE7-7342-AF40-FDD92B4E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03054" y="1196976"/>
            <a:ext cx="4222982" cy="1547812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1685345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kta bok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lå baggrund"/>
          <p:cNvSpPr/>
          <p:nvPr userDrawn="1"/>
        </p:nvSpPr>
        <p:spPr>
          <a:xfrm>
            <a:off x="-1" y="0"/>
            <a:ext cx="40644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8" name="Mørk blå baggrund"/>
          <p:cNvSpPr/>
          <p:nvPr userDrawn="1"/>
        </p:nvSpPr>
        <p:spPr>
          <a:xfrm>
            <a:off x="4063800" y="0"/>
            <a:ext cx="40644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9" name="Grøn baggrund"/>
          <p:cNvSpPr/>
          <p:nvPr userDrawn="1"/>
        </p:nvSpPr>
        <p:spPr>
          <a:xfrm>
            <a:off x="8128200" y="0"/>
            <a:ext cx="4064400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199" y="1196975"/>
            <a:ext cx="2880000" cy="1044000"/>
          </a:xfrm>
        </p:spPr>
        <p:txBody>
          <a:bodyPr rtlCol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en-gb"/>
              <a:t>Indsæt fakta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2199" y="2335214"/>
            <a:ext cx="2880000" cy="3821112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Klik for at indsætte teks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41608" y="1196975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fakta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37758" y="2335213"/>
            <a:ext cx="2880000" cy="3821112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Klik for at indsætte teks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701559" y="2335213"/>
            <a:ext cx="2880000" cy="3821112"/>
          </a:xfrm>
        </p:spPr>
        <p:txBody>
          <a:bodyPr rtlCol="0"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Klik for at indsætt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#›</a:t>
            </a:fld>
            <a:endParaRPr lang="da-DK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26458" y="2635420"/>
            <a:ext cx="646112" cy="24288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0589394-5D7C-2F4F-8AB5-24F785BCD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98453" y="1196975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fakta</a:t>
            </a:r>
          </a:p>
        </p:txBody>
      </p:sp>
    </p:spTree>
    <p:extLst>
      <p:ext uri="{BB962C8B-B14F-4D97-AF65-F5344CB8AC3E}">
        <p14:creationId xmlns:p14="http://schemas.microsoft.com/office/powerpoint/2010/main" val="229668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akta bokse med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1184C-B22A-AD40-8EC2-6DB7F8554D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20" name="Pladsholder til tekst 20">
            <a:extLst>
              <a:ext uri="{FF2B5EF4-FFF2-40B4-BE49-F238E27FC236}">
                <a16:creationId xmlns:a16="http://schemas.microsoft.com/office/drawing/2014/main" id="{589E580B-CAF0-0843-9549-CC4DC8EB83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2" y="2227943"/>
            <a:ext cx="3248251" cy="4126359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E173464F-0D76-D747-8AD0-2735D2AA33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65769" y="2227943"/>
            <a:ext cx="3248251" cy="4126359"/>
          </a:xfrm>
          <a:solidFill>
            <a:schemeClr val="accent2"/>
          </a:solidFill>
        </p:spPr>
        <p:txBody>
          <a:bodyPr rtlCol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2" name="Pladsholder til tekst 20">
            <a:extLst>
              <a:ext uri="{FF2B5EF4-FFF2-40B4-BE49-F238E27FC236}">
                <a16:creationId xmlns:a16="http://schemas.microsoft.com/office/drawing/2014/main" id="{D7009CD0-C6D3-DA47-9564-AA91F054FE8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48876" y="2227943"/>
            <a:ext cx="3248251" cy="4126359"/>
          </a:xfrm>
          <a:solidFill>
            <a:schemeClr val="accent6">
              <a:lumMod val="75000"/>
            </a:schemeClr>
          </a:solidFill>
        </p:spPr>
        <p:txBody>
          <a:bodyPr rtlCol="0"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B673409-9F47-FB45-A48A-89910EF4B4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4667" y="2547538"/>
            <a:ext cx="2725789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74B29C6-58EB-D34C-9127-ACEA3C8422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27295" y="2547538"/>
            <a:ext cx="2725789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1A87E3-BEAA-A645-A475-1D81C3B496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17980" y="2547538"/>
            <a:ext cx="2725789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2" name="Pladsholder til dato 2">
            <a:extLst>
              <a:ext uri="{FF2B5EF4-FFF2-40B4-BE49-F238E27FC236}">
                <a16:creationId xmlns:a16="http://schemas.microsoft.com/office/drawing/2014/main" id="{6163A414-1DB0-E44F-AA68-084AD5F92A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</p:spPr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33" name="Pladsholder til sidefod 3">
            <a:extLst>
              <a:ext uri="{FF2B5EF4-FFF2-40B4-BE49-F238E27FC236}">
                <a16:creationId xmlns:a16="http://schemas.microsoft.com/office/drawing/2014/main" id="{D5BDAAB7-64D3-6F4A-B353-FD3D427AA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</p:spPr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34" name="Pladsholder til slidenummer 4">
            <a:extLst>
              <a:ext uri="{FF2B5EF4-FFF2-40B4-BE49-F238E27FC236}">
                <a16:creationId xmlns:a16="http://schemas.microsoft.com/office/drawing/2014/main" id="{69B55418-5C62-9B4C-862D-AC2428413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</p:spPr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ADE3066-ED1D-4F49-93F8-391ABD55C0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90818" y="3521431"/>
            <a:ext cx="2725789" cy="2545540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7F8424-2719-084A-B7D9-9177E1063F2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19818" y="3521431"/>
            <a:ext cx="2725789" cy="2545540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6C2F8DB8-478D-2747-97E7-34A79FA6D6D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11880" y="3521431"/>
            <a:ext cx="2725789" cy="2545540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21569649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ktangel 23">
            <a:extLst>
              <a:ext uri="{FF2B5EF4-FFF2-40B4-BE49-F238E27FC236}">
                <a16:creationId xmlns:a16="http://schemas.microsoft.com/office/drawing/2014/main" id="{A70984DD-6FD6-BD49-9823-E01C00074D58}"/>
              </a:ext>
            </a:extLst>
          </p:cNvPr>
          <p:cNvSpPr/>
          <p:nvPr userDrawn="1"/>
        </p:nvSpPr>
        <p:spPr>
          <a:xfrm>
            <a:off x="0" y="0"/>
            <a:ext cx="6102000" cy="343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B49CAF25-176E-5A4D-9CBF-5CBAFF28450B}"/>
              </a:ext>
            </a:extLst>
          </p:cNvPr>
          <p:cNvSpPr/>
          <p:nvPr userDrawn="1"/>
        </p:nvSpPr>
        <p:spPr>
          <a:xfrm>
            <a:off x="6102000" y="0"/>
            <a:ext cx="6102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2675EE6C-9AF8-5640-8C49-6FCA0D37E4BD}"/>
              </a:ext>
            </a:extLst>
          </p:cNvPr>
          <p:cNvSpPr/>
          <p:nvPr userDrawn="1"/>
        </p:nvSpPr>
        <p:spPr>
          <a:xfrm>
            <a:off x="0" y="3438000"/>
            <a:ext cx="6102000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0250F1C9-E8CA-1D4D-A702-30E9656301CB}"/>
              </a:ext>
            </a:extLst>
          </p:cNvPr>
          <p:cNvSpPr/>
          <p:nvPr userDrawn="1"/>
        </p:nvSpPr>
        <p:spPr>
          <a:xfrm>
            <a:off x="6102000" y="3438000"/>
            <a:ext cx="6102000" cy="343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2C280509-312C-EC4E-9055-368511E7B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242" y="521417"/>
            <a:ext cx="4812631" cy="1044000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overskrif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E5BCC922-2B97-6D45-B26E-C9DCD91CA6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86475" y="3890259"/>
            <a:ext cx="4812631" cy="1044000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overskrif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F1A17406-FA28-AF46-87B0-90C9678BE3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6475" y="521417"/>
            <a:ext cx="4812631" cy="1044000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overskrif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974BBC5-8EA0-F544-8FD6-3D20CB74A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6392" y="1659655"/>
            <a:ext cx="4812631" cy="1496259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B58BAF-EB02-584B-8F8E-308E103900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6475" y="1659655"/>
            <a:ext cx="4812631" cy="1496259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04355197-8B32-A144-8021-CBD5A16714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6475" y="5033476"/>
            <a:ext cx="4812631" cy="1496259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1270C9-01F1-7647-BB60-707726D0B4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6392" y="3890259"/>
            <a:ext cx="4812631" cy="1044000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overskrif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097DD830-2D9D-0F4F-AB87-6A0DF610B3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6392" y="5033476"/>
            <a:ext cx="4812631" cy="1496259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272883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ast overskrift"/>
          <p:cNvSpPr txBox="1"/>
          <p:nvPr userDrawn="1"/>
        </p:nvSpPr>
        <p:spPr>
          <a:xfrm>
            <a:off x="982663" y="539750"/>
            <a:ext cx="9361487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7" name="Text Box 2"/>
          <p:cNvSpPr txBox="1">
            <a:spLocks noChangeArrowheads="1"/>
          </p:cNvSpPr>
          <p:nvPr userDrawn="1"/>
        </p:nvSpPr>
        <p:spPr bwMode="auto">
          <a:xfrm>
            <a:off x="982667" y="1833789"/>
            <a:ext cx="2280360" cy="4678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10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for at fjerne og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ætte bullet på igen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s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dia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ndsætte nyt sl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det layout, du ønsker,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ændre dit nuværende layout til et alternativt.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 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3"/>
          <p:cNvSpPr txBox="1">
            <a:spLocks noChangeArrowheads="1"/>
          </p:cNvSpPr>
          <p:nvPr userDrawn="1"/>
        </p:nvSpPr>
        <p:spPr bwMode="auto">
          <a:xfrm>
            <a:off x="5039973" y="1833789"/>
            <a:ext cx="1927222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ér billedet. 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værktøj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.</a:t>
            </a:r>
          </a:p>
        </p:txBody>
      </p:sp>
      <p:sp>
        <p:nvSpPr>
          <p:cNvPr id="19" name="Text Box 4"/>
          <p:cNvSpPr txBox="1">
            <a:spLocks noChangeArrowheads="1"/>
          </p:cNvSpPr>
          <p:nvPr userDrawn="1"/>
        </p:nvSpPr>
        <p:spPr bwMode="auto">
          <a:xfrm>
            <a:off x="9062174" y="1815926"/>
            <a:ext cx="2256615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så det slår igennem på alle slides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tast evt. tekst i sidefod)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1 Forøg formindsk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43464" y="2877130"/>
            <a:ext cx="549328" cy="285228"/>
          </a:xfrm>
          <a:prstGeom prst="rect">
            <a:avLst/>
          </a:prstGeom>
        </p:spPr>
      </p:pic>
      <p:pic>
        <p:nvPicPr>
          <p:cNvPr id="26" name="2 Ny slide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57383" y="3958874"/>
            <a:ext cx="363713" cy="647461"/>
          </a:xfrm>
          <a:prstGeom prst="rect">
            <a:avLst/>
          </a:prstGeom>
        </p:spPr>
      </p:pic>
      <p:pic>
        <p:nvPicPr>
          <p:cNvPr id="27" name="4 Nulsti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45551" y="5464557"/>
            <a:ext cx="547241" cy="197798"/>
          </a:xfrm>
          <a:prstGeom prst="rect">
            <a:avLst/>
          </a:prstGeom>
        </p:spPr>
      </p:pic>
      <p:pic>
        <p:nvPicPr>
          <p:cNvPr id="30" name="5 Indsæt billed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7195" y="2075087"/>
            <a:ext cx="262151" cy="256054"/>
          </a:xfrm>
          <a:prstGeom prst="rect">
            <a:avLst/>
          </a:prstGeom>
        </p:spPr>
      </p:pic>
      <p:pic>
        <p:nvPicPr>
          <p:cNvPr id="31" name="6 Beskær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29570" y="3095427"/>
            <a:ext cx="337400" cy="321707"/>
          </a:xfrm>
          <a:prstGeom prst="rect">
            <a:avLst/>
          </a:prstGeom>
        </p:spPr>
      </p:pic>
      <p:pic>
        <p:nvPicPr>
          <p:cNvPr id="32" name="7 Skalér billed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5349" y="3543401"/>
            <a:ext cx="359695" cy="335309"/>
          </a:xfrm>
          <a:prstGeom prst="rect">
            <a:avLst/>
          </a:prstGeom>
        </p:spPr>
      </p:pic>
      <p:pic>
        <p:nvPicPr>
          <p:cNvPr id="33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39595" y="3321050"/>
            <a:ext cx="199287" cy="192169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5349" y="2723498"/>
            <a:ext cx="595309" cy="350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076299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4231207E-52DE-7743-B71F-230159D42985}"/>
              </a:ext>
            </a:extLst>
          </p:cNvPr>
          <p:cNvSpPr/>
          <p:nvPr userDrawn="1"/>
        </p:nvSpPr>
        <p:spPr>
          <a:xfrm>
            <a:off x="0" y="3438854"/>
            <a:ext cx="4064399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363B3948-444E-AA45-B1E9-7EDF40549589}"/>
              </a:ext>
            </a:extLst>
          </p:cNvPr>
          <p:cNvSpPr/>
          <p:nvPr userDrawn="1"/>
        </p:nvSpPr>
        <p:spPr>
          <a:xfrm>
            <a:off x="4060281" y="3438854"/>
            <a:ext cx="4064399" cy="343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5F8A012-C0A3-7947-83C8-A529753F4C0A}"/>
              </a:ext>
            </a:extLst>
          </p:cNvPr>
          <p:cNvSpPr/>
          <p:nvPr userDrawn="1"/>
        </p:nvSpPr>
        <p:spPr>
          <a:xfrm>
            <a:off x="8123999" y="3438854"/>
            <a:ext cx="4068000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BC0267F-007F-3641-8922-B7E2F637F90A}"/>
              </a:ext>
            </a:extLst>
          </p:cNvPr>
          <p:cNvSpPr/>
          <p:nvPr userDrawn="1"/>
        </p:nvSpPr>
        <p:spPr>
          <a:xfrm>
            <a:off x="0" y="0"/>
            <a:ext cx="4064399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D5C2644-5515-1A4C-861C-7326752F58CA}"/>
              </a:ext>
            </a:extLst>
          </p:cNvPr>
          <p:cNvSpPr/>
          <p:nvPr userDrawn="1"/>
        </p:nvSpPr>
        <p:spPr>
          <a:xfrm>
            <a:off x="4060281" y="0"/>
            <a:ext cx="4064399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49124EA-328E-544F-8063-AD5A0253A45B}"/>
              </a:ext>
            </a:extLst>
          </p:cNvPr>
          <p:cNvSpPr/>
          <p:nvPr userDrawn="1"/>
        </p:nvSpPr>
        <p:spPr>
          <a:xfrm>
            <a:off x="8123999" y="0"/>
            <a:ext cx="4068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90D8679-556B-8A40-899D-9C84538CB7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199" y="2045388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4B3218E-0749-9E44-8EB8-F4A37D35C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6298" y="2045388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95927F8-1F62-F141-B530-0EFB97A9C3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87787" y="2045388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F466B7C-EB91-BF4C-AF64-2F54DF448F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199" y="5476746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39CC98F-B499-7842-957F-DE634767DF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6298" y="5476746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899C76E-502E-5F4D-965E-B2EE55D85B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87787" y="5476746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23" name="Pladsholder til billede 21">
            <a:extLst>
              <a:ext uri="{FF2B5EF4-FFF2-40B4-BE49-F238E27FC236}">
                <a16:creationId xmlns:a16="http://schemas.microsoft.com/office/drawing/2014/main" id="{DF55435F-ADCB-E04B-8525-F3542D26DA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444480" y="592134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32" name="Pladsholder til billede 21">
            <a:extLst>
              <a:ext uri="{FF2B5EF4-FFF2-40B4-BE49-F238E27FC236}">
                <a16:creationId xmlns:a16="http://schemas.microsoft.com/office/drawing/2014/main" id="{645988EB-136C-7B47-8BA1-CF5AFA25140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28662" y="592134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33" name="Pladsholder til billede 21">
            <a:extLst>
              <a:ext uri="{FF2B5EF4-FFF2-40B4-BE49-F238E27FC236}">
                <a16:creationId xmlns:a16="http://schemas.microsoft.com/office/drawing/2014/main" id="{25765CAD-7482-C640-9455-1D6708AA64F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592275" y="592134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34" name="Pladsholder til billede 21">
            <a:extLst>
              <a:ext uri="{FF2B5EF4-FFF2-40B4-BE49-F238E27FC236}">
                <a16:creationId xmlns:a16="http://schemas.microsoft.com/office/drawing/2014/main" id="{10C7017F-8D5D-1C4A-B3D6-C1EF8301B11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44480" y="4032919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35" name="Pladsholder til billede 21">
            <a:extLst>
              <a:ext uri="{FF2B5EF4-FFF2-40B4-BE49-F238E27FC236}">
                <a16:creationId xmlns:a16="http://schemas.microsoft.com/office/drawing/2014/main" id="{43FF324F-4E4B-1D43-8DE6-5DF412D016B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428662" y="4032919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36" name="Pladsholder til billede 21">
            <a:extLst>
              <a:ext uri="{FF2B5EF4-FFF2-40B4-BE49-F238E27FC236}">
                <a16:creationId xmlns:a16="http://schemas.microsoft.com/office/drawing/2014/main" id="{6840F908-7AC0-954D-87CD-F598A573381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92275" y="4032919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</p:spTree>
    <p:extLst>
      <p:ext uri="{BB962C8B-B14F-4D97-AF65-F5344CB8AC3E}">
        <p14:creationId xmlns:p14="http://schemas.microsoft.com/office/powerpoint/2010/main" val="116730461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2916302"/>
            <a:ext cx="2398100" cy="3438000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2916302"/>
            <a:ext cx="2398100" cy="3438000"/>
          </a:xfrm>
          <a:solidFill>
            <a:schemeClr val="accent2"/>
          </a:solidFill>
        </p:spPr>
        <p:txBody>
          <a:bodyPr rtlCol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2916302"/>
            <a:ext cx="2398100" cy="3438000"/>
          </a:xfrm>
          <a:solidFill>
            <a:schemeClr val="bg2"/>
          </a:solidFill>
        </p:spPr>
        <p:txBody>
          <a:bodyPr rtlCol="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2916302"/>
            <a:ext cx="2398100" cy="3438000"/>
          </a:xfrm>
          <a:solidFill>
            <a:schemeClr val="accent5"/>
          </a:solidFill>
        </p:spPr>
        <p:txBody>
          <a:bodyPr rtlCol="0"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078760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000403"/>
            <a:ext cx="2140546" cy="225778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078760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000403"/>
            <a:ext cx="2140546" cy="225778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078760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000403"/>
            <a:ext cx="2140546" cy="225778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078760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000403"/>
            <a:ext cx="2140546" cy="225778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</p:spTree>
    <p:extLst>
      <p:ext uri="{BB962C8B-B14F-4D97-AF65-F5344CB8AC3E}">
        <p14:creationId xmlns:p14="http://schemas.microsoft.com/office/powerpoint/2010/main" val="280961977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40035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3657600"/>
            <a:ext cx="2398100" cy="2696702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3657600"/>
            <a:ext cx="2398100" cy="2696702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3657600"/>
            <a:ext cx="2398100" cy="2696702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3657600"/>
            <a:ext cx="2398100" cy="2696702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758269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679912"/>
            <a:ext cx="2140546" cy="1519553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758269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679912"/>
            <a:ext cx="2140546" cy="1519553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758269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679912"/>
            <a:ext cx="2140546" cy="1519553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758269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679912"/>
            <a:ext cx="2140546" cy="1519553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E1B3C7FE-A5C5-DB43-8F81-6B58E061747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82663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rtlCol="0" anchor="ctr"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ilføje billede</a:t>
            </a:r>
          </a:p>
        </p:txBody>
      </p:sp>
      <p:sp>
        <p:nvSpPr>
          <p:cNvPr id="23" name="Pladsholder til billede 6">
            <a:extLst>
              <a:ext uri="{FF2B5EF4-FFF2-40B4-BE49-F238E27FC236}">
                <a16:creationId xmlns:a16="http://schemas.microsoft.com/office/drawing/2014/main" id="{0DD12C78-FFFA-B441-91D8-3D10BA15064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0028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rtlCol="0"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ilføje billede</a:t>
            </a:r>
          </a:p>
        </p:txBody>
      </p:sp>
      <p:sp>
        <p:nvSpPr>
          <p:cNvPr id="35" name="Pladsholder til billede 6">
            <a:extLst>
              <a:ext uri="{FF2B5EF4-FFF2-40B4-BE49-F238E27FC236}">
                <a16:creationId xmlns:a16="http://schemas.microsoft.com/office/drawing/2014/main" id="{5433A101-EEC2-1A43-BCC6-EA29BC4C810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9005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rtlCol="0"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ilføje billede</a:t>
            </a:r>
          </a:p>
        </p:txBody>
      </p:sp>
      <p:sp>
        <p:nvSpPr>
          <p:cNvPr id="36" name="Pladsholder til billede 6">
            <a:extLst>
              <a:ext uri="{FF2B5EF4-FFF2-40B4-BE49-F238E27FC236}">
                <a16:creationId xmlns:a16="http://schemas.microsoft.com/office/drawing/2014/main" id="{C060D71F-6125-7045-8FC0-37F1BD04BF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826370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rtlCol="0"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ilføje billede</a:t>
            </a:r>
          </a:p>
        </p:txBody>
      </p:sp>
    </p:spTree>
    <p:extLst>
      <p:ext uri="{BB962C8B-B14F-4D97-AF65-F5344CB8AC3E}">
        <p14:creationId xmlns:p14="http://schemas.microsoft.com/office/powerpoint/2010/main" val="886614859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rtlCol="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7038855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rtlCol="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#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761376"/>
            <a:ext cx="6749592" cy="2535237"/>
          </a:xfrm>
          <a:solidFill>
            <a:schemeClr val="accent1">
              <a:alpha val="82000"/>
            </a:schemeClr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5680" y="5249848"/>
            <a:ext cx="5364292" cy="839867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kort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680" y="4069772"/>
            <a:ext cx="5364291" cy="1030127"/>
          </a:xfrm>
        </p:spPr>
        <p:txBody>
          <a:bodyPr rtlCol="0"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286254665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rtlCol="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#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58639" y="0"/>
            <a:ext cx="4242062" cy="6858000"/>
          </a:xfrm>
          <a:solidFill>
            <a:schemeClr val="accent1">
              <a:alpha val="82000"/>
            </a:schemeClr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72980" y="2607740"/>
            <a:ext cx="3337528" cy="3519683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2980" y="789245"/>
            <a:ext cx="3337528" cy="1576883"/>
          </a:xfrm>
        </p:spPr>
        <p:txBody>
          <a:bodyPr rtlCol="0"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1029160139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#›</a:t>
            </a:fld>
            <a:endParaRPr lang="da-DK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22772A8C-5A1B-E74C-98FD-E87FD5A80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53506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5F867355-AAA7-FD40-B0C3-7BAE5A5FC3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D8A753AC-05F3-AD4C-BF95-2BE4A21C048C}"/>
              </a:ext>
            </a:extLst>
          </p:cNvPr>
          <p:cNvSpPr txBox="1"/>
          <p:nvPr userDrawn="1"/>
        </p:nvSpPr>
        <p:spPr>
          <a:xfrm>
            <a:off x="3479800" y="1876695"/>
            <a:ext cx="5232400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5000">
                <a:solidFill>
                  <a:schemeClr val="bg1"/>
                </a:solidFill>
              </a:rPr>
              <a:t>PAUS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3DDF7F7-0AC1-C443-BA29-DD597A10C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575" y="2261415"/>
            <a:ext cx="4020155" cy="393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07759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ørgsmå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298" y="0"/>
            <a:ext cx="12208298" cy="6857999"/>
          </a:xfrm>
          <a:prstGeom prst="rect">
            <a:avLst/>
          </a:prstGeom>
        </p:spPr>
      </p:pic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389376" y="5822731"/>
            <a:ext cx="6410325" cy="377825"/>
          </a:xfrm>
        </p:spPr>
        <p:txBody>
          <a:bodyPr rtlCol="0"/>
          <a:lstStyle>
            <a:lvl1pPr>
              <a:defRPr sz="1800" baseline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en-gb"/>
              <a:t>KONTAKT: Tlf.: xx xx xx xx Mail: XXX@energinet.dk</a:t>
            </a:r>
            <a:endParaRPr lang="da-DK" dirty="0"/>
          </a:p>
        </p:txBody>
      </p:sp>
      <p:sp>
        <p:nvSpPr>
          <p:cNvPr id="4" name="Tekstfelt 3"/>
          <p:cNvSpPr txBox="1"/>
          <p:nvPr userDrawn="1"/>
        </p:nvSpPr>
        <p:spPr>
          <a:xfrm>
            <a:off x="2701158" y="2026750"/>
            <a:ext cx="6600497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gb" sz="10000" dirty="0">
                <a:solidFill>
                  <a:schemeClr val="bg1"/>
                </a:solidFill>
              </a:rPr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2851671340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ast overskrift"/>
          <p:cNvSpPr txBox="1"/>
          <p:nvPr userDrawn="1"/>
        </p:nvSpPr>
        <p:spPr>
          <a:xfrm>
            <a:off x="982663" y="539750"/>
            <a:ext cx="9361487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en-gb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7" name="Text Box 2"/>
          <p:cNvSpPr txBox="1">
            <a:spLocks noChangeArrowheads="1"/>
          </p:cNvSpPr>
          <p:nvPr userDrawn="1"/>
        </p:nvSpPr>
        <p:spPr bwMode="auto">
          <a:xfrm>
            <a:off x="982667" y="1833789"/>
            <a:ext cx="2280360" cy="4678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rtlCol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eaLnBrk="1" hangingPunct="1">
              <a:spcAft>
                <a:spcPts val="600"/>
              </a:spcAft>
              <a:defRPr/>
            </a:pPr>
            <a:r>
              <a:rPr lang="en-gb" sz="1000" b="1" noProof="1">
                <a:latin typeface="Arial" panose="020B0604020202020204" pitchFamily="34" charset="0"/>
                <a:cs typeface="Arial" panose="020B0604020202020204" pitchFamily="34" charset="0"/>
              </a:rPr>
              <a:t>Brug tekst typografier</a:t>
            </a: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for at fjerne og sætte bullet på igen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layouts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side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punktet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dias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ndsætte nyt slide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det layout, du ønsker, for at ændre dit nuværende layout til et alternativt.</a:t>
            </a:r>
          </a:p>
          <a:p>
            <a:pPr rtl="0"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 .</a:t>
            </a:r>
          </a:p>
          <a:p>
            <a:pPr rtl="0"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3"/>
          <p:cNvSpPr txBox="1">
            <a:spLocks noChangeArrowheads="1"/>
          </p:cNvSpPr>
          <p:nvPr userDrawn="1"/>
        </p:nvSpPr>
        <p:spPr bwMode="auto">
          <a:xfrm>
            <a:off x="5039973" y="1833789"/>
            <a:ext cx="1927222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rtlCol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konet og væl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rtl="0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ér billedet. Klik på fanen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værktøjer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er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.</a:t>
            </a:r>
          </a:p>
        </p:txBody>
      </p:sp>
      <p:sp>
        <p:nvSpPr>
          <p:cNvPr id="19" name="Text Box 4"/>
          <p:cNvSpPr txBox="1">
            <a:spLocks noChangeArrowheads="1"/>
          </p:cNvSpPr>
          <p:nvPr userDrawn="1"/>
        </p:nvSpPr>
        <p:spPr bwMode="auto">
          <a:xfrm>
            <a:off x="9062174" y="1815926"/>
            <a:ext cx="2256615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rtlCol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 det sidste i din præsentation, så det slår igennem på alle slides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tast evt. tekst i sidefod)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.</a:t>
            </a:r>
          </a:p>
          <a:p>
            <a:pPr rtl="0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.</a:t>
            </a:r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.</a:t>
            </a:r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1 Forøg formindsk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43464" y="2877130"/>
            <a:ext cx="549328" cy="285228"/>
          </a:xfrm>
          <a:prstGeom prst="rect">
            <a:avLst/>
          </a:prstGeom>
        </p:spPr>
      </p:pic>
      <p:pic>
        <p:nvPicPr>
          <p:cNvPr id="26" name="2 Ny slide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57383" y="3958874"/>
            <a:ext cx="363713" cy="647461"/>
          </a:xfrm>
          <a:prstGeom prst="rect">
            <a:avLst/>
          </a:prstGeom>
        </p:spPr>
      </p:pic>
      <p:pic>
        <p:nvPicPr>
          <p:cNvPr id="27" name="4 Nulsti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45551" y="5464557"/>
            <a:ext cx="547241" cy="197798"/>
          </a:xfrm>
          <a:prstGeom prst="rect">
            <a:avLst/>
          </a:prstGeom>
        </p:spPr>
      </p:pic>
      <p:pic>
        <p:nvPicPr>
          <p:cNvPr id="30" name="5 Indsæt billed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7195" y="2075087"/>
            <a:ext cx="262151" cy="256054"/>
          </a:xfrm>
          <a:prstGeom prst="rect">
            <a:avLst/>
          </a:prstGeom>
        </p:spPr>
      </p:pic>
      <p:pic>
        <p:nvPicPr>
          <p:cNvPr id="31" name="6 Beskær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29570" y="3095427"/>
            <a:ext cx="337400" cy="321707"/>
          </a:xfrm>
          <a:prstGeom prst="rect">
            <a:avLst/>
          </a:prstGeom>
        </p:spPr>
      </p:pic>
      <p:pic>
        <p:nvPicPr>
          <p:cNvPr id="32" name="7 Skalér billed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5349" y="3543401"/>
            <a:ext cx="359695" cy="335309"/>
          </a:xfrm>
          <a:prstGeom prst="rect">
            <a:avLst/>
          </a:prstGeom>
        </p:spPr>
      </p:pic>
      <p:pic>
        <p:nvPicPr>
          <p:cNvPr id="33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39595" y="3321050"/>
            <a:ext cx="199287" cy="192169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5349" y="2723498"/>
            <a:ext cx="595309" cy="350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98214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ikkerhe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pic>
        <p:nvPicPr>
          <p:cNvPr id="6" name="Billed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3086" y="2146300"/>
            <a:ext cx="1655064" cy="1636776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50507" y="2146300"/>
            <a:ext cx="1655064" cy="1636776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7928" y="2146300"/>
            <a:ext cx="1655064" cy="1636776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5665" y="2146300"/>
            <a:ext cx="1655064" cy="1636776"/>
          </a:xfrm>
          <a:prstGeom prst="rect">
            <a:avLst/>
          </a:prstGeom>
        </p:spPr>
      </p:pic>
      <p:sp>
        <p:nvSpPr>
          <p:cNvPr id="10" name="Tekstfelt 9"/>
          <p:cNvSpPr txBox="1"/>
          <p:nvPr userDrawn="1"/>
        </p:nvSpPr>
        <p:spPr>
          <a:xfrm>
            <a:off x="1511512" y="4057651"/>
            <a:ext cx="20739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HOST</a:t>
            </a:r>
          </a:p>
        </p:txBody>
      </p:sp>
      <p:sp>
        <p:nvSpPr>
          <p:cNvPr id="11" name="Tekstfelt 10"/>
          <p:cNvSpPr txBox="1"/>
          <p:nvPr userDrawn="1"/>
        </p:nvSpPr>
        <p:spPr>
          <a:xfrm>
            <a:off x="3998177" y="4057651"/>
            <a:ext cx="177573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EMERGENCY EXIT</a:t>
            </a:r>
          </a:p>
        </p:txBody>
      </p:sp>
      <p:sp>
        <p:nvSpPr>
          <p:cNvPr id="12" name="Tekstfelt 11"/>
          <p:cNvSpPr txBox="1"/>
          <p:nvPr userDrawn="1"/>
        </p:nvSpPr>
        <p:spPr>
          <a:xfrm>
            <a:off x="6282413" y="4057651"/>
            <a:ext cx="188389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DEFIBRILLATOR (AED)</a:t>
            </a:r>
          </a:p>
        </p:txBody>
      </p:sp>
      <p:sp>
        <p:nvSpPr>
          <p:cNvPr id="13" name="Tekstfelt 12"/>
          <p:cNvSpPr txBox="1"/>
          <p:nvPr userDrawn="1"/>
        </p:nvSpPr>
        <p:spPr>
          <a:xfrm>
            <a:off x="8674803" y="4057651"/>
            <a:ext cx="18645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MEETING POINT</a:t>
            </a:r>
          </a:p>
        </p:txBody>
      </p:sp>
    </p:spTree>
    <p:extLst>
      <p:ext uri="{BB962C8B-B14F-4D97-AF65-F5344CB8AC3E}">
        <p14:creationId xmlns:p14="http://schemas.microsoft.com/office/powerpoint/2010/main" val="96668426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ikkerhe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pic>
        <p:nvPicPr>
          <p:cNvPr id="6" name="Billed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3086" y="2146300"/>
            <a:ext cx="1655064" cy="1636776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50507" y="2146300"/>
            <a:ext cx="1655064" cy="1636776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7928" y="2146300"/>
            <a:ext cx="1655064" cy="1636776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5665" y="2146300"/>
            <a:ext cx="1655064" cy="1636776"/>
          </a:xfrm>
          <a:prstGeom prst="rect">
            <a:avLst/>
          </a:prstGeom>
        </p:spPr>
      </p:pic>
      <p:sp>
        <p:nvSpPr>
          <p:cNvPr id="10" name="Tekstfelt 9"/>
          <p:cNvSpPr txBox="1"/>
          <p:nvPr userDrawn="1"/>
        </p:nvSpPr>
        <p:spPr>
          <a:xfrm>
            <a:off x="1555054" y="4057651"/>
            <a:ext cx="207397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gb" sz="20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IKKERHEDSGUIDE</a:t>
            </a:r>
          </a:p>
          <a:p>
            <a:pPr rtl="0"/>
            <a:endParaRPr lang="da-DK" sz="2000" dirty="0" err="1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1" name="Tekstfelt 10"/>
          <p:cNvSpPr txBox="1"/>
          <p:nvPr userDrawn="1"/>
        </p:nvSpPr>
        <p:spPr>
          <a:xfrm>
            <a:off x="4118517" y="4057651"/>
            <a:ext cx="166792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NØDUDGANGE</a:t>
            </a:r>
          </a:p>
        </p:txBody>
      </p:sp>
      <p:sp>
        <p:nvSpPr>
          <p:cNvPr id="12" name="Tekstfelt 11"/>
          <p:cNvSpPr txBox="1"/>
          <p:nvPr userDrawn="1"/>
        </p:nvSpPr>
        <p:spPr>
          <a:xfrm>
            <a:off x="6188773" y="4057651"/>
            <a:ext cx="20739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HJERTESTARTER</a:t>
            </a:r>
          </a:p>
        </p:txBody>
      </p:sp>
      <p:sp>
        <p:nvSpPr>
          <p:cNvPr id="13" name="Tekstfelt 12"/>
          <p:cNvSpPr txBox="1"/>
          <p:nvPr userDrawn="1"/>
        </p:nvSpPr>
        <p:spPr>
          <a:xfrm>
            <a:off x="8674803" y="4057651"/>
            <a:ext cx="18645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AMLINGSSTED</a:t>
            </a:r>
          </a:p>
        </p:txBody>
      </p:sp>
    </p:spTree>
    <p:extLst>
      <p:ext uri="{BB962C8B-B14F-4D97-AF65-F5344CB8AC3E}">
        <p14:creationId xmlns:p14="http://schemas.microsoft.com/office/powerpoint/2010/main" val="156706852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Supergrafik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942999" cy="47810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96267" y="1575836"/>
            <a:ext cx="7823522" cy="1846264"/>
          </a:xfrm>
        </p:spPr>
        <p:txBody>
          <a:bodyPr anchor="b"/>
          <a:lstStyle>
            <a:lvl1pPr algn="l">
              <a:spcBef>
                <a:spcPts val="400"/>
              </a:spcBef>
              <a:defRPr sz="4800" baseline="0">
                <a:solidFill>
                  <a:schemeClr val="accent2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96267" y="3680864"/>
            <a:ext cx="7823522" cy="524933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None/>
              <a:defRPr sz="3300">
                <a:solidFill>
                  <a:schemeClr val="accent1"/>
                </a:solidFill>
              </a:defRPr>
            </a:lvl1pPr>
            <a:lvl2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2pPr>
            <a:lvl3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3pPr>
            <a:lvl4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4pPr>
            <a:lvl5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5pPr>
            <a:lvl6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6pPr>
            <a:lvl7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7pPr>
            <a:lvl8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8pPr>
            <a:lvl9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9pPr>
          </a:lstStyle>
          <a:p>
            <a:r>
              <a:rPr lang="da-DK" dirty="0"/>
              <a:t>Indsæt underoverskrift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37" y="4349729"/>
            <a:ext cx="7824075" cy="45878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i="1">
                <a:solidFill>
                  <a:schemeClr val="tx2">
                    <a:lumMod val="75000"/>
                  </a:schemeClr>
                </a:solidFill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buFont typeface="Arial" panose="020B0604020202020204" pitchFamily="34" charset="0"/>
              <a:buChar char="​"/>
              <a:defRPr sz="2400"/>
            </a:lvl3pPr>
            <a:lvl4pPr marL="0" indent="0">
              <a:buFont typeface="Arial" panose="020B0604020202020204" pitchFamily="34" charset="0"/>
              <a:buChar char="​"/>
              <a:defRPr sz="2400"/>
            </a:lvl4pPr>
            <a:lvl5pPr marL="0" indent="0">
              <a:buFont typeface="Arial" panose="020B0604020202020204" pitchFamily="34" charset="0"/>
              <a:buChar char="​"/>
              <a:defRPr sz="2400"/>
            </a:lvl5pPr>
            <a:lvl6pPr marL="0" indent="0">
              <a:buFont typeface="Arial" panose="020B0604020202020204" pitchFamily="34" charset="0"/>
              <a:buChar char="​"/>
              <a:defRPr sz="2400"/>
            </a:lvl6pPr>
            <a:lvl7pPr marL="0" indent="0">
              <a:buFont typeface="Arial" panose="020B0604020202020204" pitchFamily="34" charset="0"/>
              <a:buChar char="​"/>
              <a:defRPr sz="2400"/>
            </a:lvl7pPr>
            <a:lvl8pPr marL="0" indent="0">
              <a:buFont typeface="Arial" panose="020B0604020202020204" pitchFamily="34" charset="0"/>
              <a:buChar char="​"/>
              <a:defRPr sz="2400"/>
            </a:lvl8pPr>
          </a:lstStyle>
          <a:p>
            <a:pPr lvl="0"/>
            <a:r>
              <a:rPr lang="da-DK" dirty="0"/>
              <a:t>Indsæt navn og efternavn</a:t>
            </a:r>
          </a:p>
        </p:txBody>
      </p:sp>
    </p:spTree>
    <p:extLst>
      <p:ext uri="{BB962C8B-B14F-4D97-AF65-F5344CB8AC3E}">
        <p14:creationId xmlns:p14="http://schemas.microsoft.com/office/powerpoint/2010/main" val="162534085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1022667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64350206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7" y="1196975"/>
            <a:ext cx="4921739" cy="4959350"/>
          </a:xfrm>
          <a:solidFill>
            <a:schemeClr val="bg1">
              <a:lumMod val="95000"/>
            </a:schemeClr>
          </a:solidFill>
        </p:spPr>
        <p:txBody>
          <a:bodyPr tIns="108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82663" y="1196975"/>
            <a:ext cx="4933337" cy="71913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4" y="2852739"/>
            <a:ext cx="4933336" cy="3303586"/>
          </a:xfrm>
        </p:spPr>
        <p:txBody>
          <a:bodyPr/>
          <a:lstStyle/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4933337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1823398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337127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336053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487069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799147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8688146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B56B0860-E2FC-4046-BE7C-E6EA1D3C7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86B7801-E3B9-8C49-9C6E-CA2439CD3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486B617-819F-D54A-871B-B63CD3758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4D1D345-D353-6F4A-A586-8E5CDA0F43FC}"/>
              </a:ext>
            </a:extLst>
          </p:cNvPr>
          <p:cNvSpPr/>
          <p:nvPr userDrawn="1"/>
        </p:nvSpPr>
        <p:spPr>
          <a:xfrm>
            <a:off x="949705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Pladsholder til tekst 15">
            <a:extLst>
              <a:ext uri="{FF2B5EF4-FFF2-40B4-BE49-F238E27FC236}">
                <a16:creationId xmlns:a16="http://schemas.microsoft.com/office/drawing/2014/main" id="{8E6A2F22-BEF4-6543-97DA-88F5BA3B8E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9705" y="2488040"/>
            <a:ext cx="4920028" cy="1405232"/>
          </a:xfrm>
        </p:spPr>
        <p:txBody>
          <a:bodyPr/>
          <a:lstStyle>
            <a:lvl1pPr algn="ctr">
              <a:defRPr sz="7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OGRAM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D815E82-1046-D241-BFCC-C6BAD16F7C90}"/>
              </a:ext>
            </a:extLst>
          </p:cNvPr>
          <p:cNvSpPr/>
          <p:nvPr userDrawn="1"/>
        </p:nvSpPr>
        <p:spPr>
          <a:xfrm>
            <a:off x="6181582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2" name="Pladsholder til tekst 13">
            <a:extLst>
              <a:ext uri="{FF2B5EF4-FFF2-40B4-BE49-F238E27FC236}">
                <a16:creationId xmlns:a16="http://schemas.microsoft.com/office/drawing/2014/main" id="{3F7C6172-494C-DD44-8F59-32C8484CFA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2152" y="2108027"/>
            <a:ext cx="3798888" cy="3101517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Tekst
Tekst 
Tekst 
 Tekst 
 Tekst</a:t>
            </a:r>
          </a:p>
          <a:p>
            <a:r>
              <a:rPr lang="da-DK" dirty="0"/>
              <a:t> Tekst</a:t>
            </a:r>
          </a:p>
          <a:p>
            <a:r>
              <a:rPr lang="da-DK" dirty="0"/>
              <a:t> Tekst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C036E63E-0936-6E48-B39F-028BB2CB9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158" y="3714967"/>
            <a:ext cx="2520372" cy="2398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862325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em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8C022D2-711D-3B48-9664-6E97484392F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3AD1A35-4CCE-1C47-BAAC-A29B69D42F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6231" y="3780149"/>
            <a:ext cx="6232180" cy="1470041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5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 for nyt tema/emne</a:t>
            </a:r>
          </a:p>
        </p:txBody>
      </p:sp>
      <p:sp>
        <p:nvSpPr>
          <p:cNvPr id="11" name="Pladsholder til billede 21">
            <a:extLst>
              <a:ext uri="{FF2B5EF4-FFF2-40B4-BE49-F238E27FC236}">
                <a16:creationId xmlns:a16="http://schemas.microsoft.com/office/drawing/2014/main" id="{79C2A64C-C131-7147-B71D-EF7FA287183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61675" y="1580349"/>
            <a:ext cx="1861293" cy="1861293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5A1DB3C-A15F-F44C-B74D-5E8BAEC926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6231" y="5355771"/>
            <a:ext cx="6232180" cy="837848"/>
          </a:xfrm>
        </p:spPr>
        <p:txBody>
          <a:bodyPr anchor="t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2000" cap="none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evt. kort understøttende tekst</a:t>
            </a:r>
          </a:p>
        </p:txBody>
      </p:sp>
    </p:spTree>
    <p:extLst>
      <p:ext uri="{BB962C8B-B14F-4D97-AF65-F5344CB8AC3E}">
        <p14:creationId xmlns:p14="http://schemas.microsoft.com/office/powerpoint/2010/main" val="75093403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8" y="0"/>
            <a:ext cx="5916612" cy="6858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6275388" cy="685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58814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36653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856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94486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83673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45C937D3-2FD3-D148-9B52-28210AC27B20}"/>
              </a:ext>
            </a:extLst>
          </p:cNvPr>
          <p:cNvSpPr/>
          <p:nvPr userDrawn="1"/>
        </p:nvSpPr>
        <p:spPr>
          <a:xfrm>
            <a:off x="6108568" y="0"/>
            <a:ext cx="608343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03A224DA-2850-CB41-8EBA-23FB13A4A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1092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EB37FB4A-7EE7-7342-AF40-FDD92B4E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03054" y="1196976"/>
            <a:ext cx="4222982" cy="1547812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3760836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4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ktangel 23">
            <a:extLst>
              <a:ext uri="{FF2B5EF4-FFF2-40B4-BE49-F238E27FC236}">
                <a16:creationId xmlns:a16="http://schemas.microsoft.com/office/drawing/2014/main" id="{A70984DD-6FD6-BD49-9823-E01C00074D58}"/>
              </a:ext>
            </a:extLst>
          </p:cNvPr>
          <p:cNvSpPr/>
          <p:nvPr userDrawn="1"/>
        </p:nvSpPr>
        <p:spPr>
          <a:xfrm>
            <a:off x="0" y="0"/>
            <a:ext cx="6102000" cy="343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B49CAF25-176E-5A4D-9CBF-5CBAFF28450B}"/>
              </a:ext>
            </a:extLst>
          </p:cNvPr>
          <p:cNvSpPr/>
          <p:nvPr userDrawn="1"/>
        </p:nvSpPr>
        <p:spPr>
          <a:xfrm>
            <a:off x="6102000" y="0"/>
            <a:ext cx="6102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2675EE6C-9AF8-5640-8C49-6FCA0D37E4BD}"/>
              </a:ext>
            </a:extLst>
          </p:cNvPr>
          <p:cNvSpPr/>
          <p:nvPr userDrawn="1"/>
        </p:nvSpPr>
        <p:spPr>
          <a:xfrm>
            <a:off x="0" y="3438000"/>
            <a:ext cx="6102000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0250F1C9-E8CA-1D4D-A702-30E9656301CB}"/>
              </a:ext>
            </a:extLst>
          </p:cNvPr>
          <p:cNvSpPr/>
          <p:nvPr userDrawn="1"/>
        </p:nvSpPr>
        <p:spPr>
          <a:xfrm>
            <a:off x="6102000" y="3438000"/>
            <a:ext cx="6102000" cy="343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2C280509-312C-EC4E-9055-368511E7B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242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E5BCC922-2B97-6D45-B26E-C9DCD91CA6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86475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F1A17406-FA28-AF46-87B0-90C9678BE3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6475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974BBC5-8EA0-F544-8FD6-3D20CB74A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6392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B58BAF-EB02-584B-8F8E-308E103900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6475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04355197-8B32-A144-8021-CBD5A16714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6475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1270C9-01F1-7647-BB60-707726D0B4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6392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097DD830-2D9D-0F4F-AB87-6A0DF610B3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6392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38057237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kta bok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lå baggrund"/>
          <p:cNvSpPr/>
          <p:nvPr userDrawn="1"/>
        </p:nvSpPr>
        <p:spPr>
          <a:xfrm>
            <a:off x="-1" y="0"/>
            <a:ext cx="40644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" name="Mørk blå baggrund"/>
          <p:cNvSpPr/>
          <p:nvPr userDrawn="1"/>
        </p:nvSpPr>
        <p:spPr>
          <a:xfrm>
            <a:off x="4063800" y="0"/>
            <a:ext cx="40644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Grøn baggrund"/>
          <p:cNvSpPr/>
          <p:nvPr userDrawn="1"/>
        </p:nvSpPr>
        <p:spPr>
          <a:xfrm>
            <a:off x="8128200" y="0"/>
            <a:ext cx="4064400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199" y="1196975"/>
            <a:ext cx="2880000" cy="104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Indsæt fakta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2199" y="2335214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41608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37758" y="2335213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701559" y="2335213"/>
            <a:ext cx="2880000" cy="3821112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26458" y="2635420"/>
            <a:ext cx="646112" cy="24288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0589394-5D7C-2F4F-8AB5-24F785BCD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98453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</p:spTree>
    <p:extLst>
      <p:ext uri="{BB962C8B-B14F-4D97-AF65-F5344CB8AC3E}">
        <p14:creationId xmlns:p14="http://schemas.microsoft.com/office/powerpoint/2010/main" val="39793319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akta bokse med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1184C-B22A-AD40-8EC2-6DB7F8554D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20" name="Pladsholder til tekst 20">
            <a:extLst>
              <a:ext uri="{FF2B5EF4-FFF2-40B4-BE49-F238E27FC236}">
                <a16:creationId xmlns:a16="http://schemas.microsoft.com/office/drawing/2014/main" id="{589E580B-CAF0-0843-9549-CC4DC8EB83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2" y="2227943"/>
            <a:ext cx="3248251" cy="4126359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E173464F-0D76-D747-8AD0-2735D2AA33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65769" y="2227943"/>
            <a:ext cx="3248251" cy="4126359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Pladsholder til tekst 20">
            <a:extLst>
              <a:ext uri="{FF2B5EF4-FFF2-40B4-BE49-F238E27FC236}">
                <a16:creationId xmlns:a16="http://schemas.microsoft.com/office/drawing/2014/main" id="{D7009CD0-C6D3-DA47-9564-AA91F054FE8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48876" y="2227943"/>
            <a:ext cx="3248251" cy="4126359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B673409-9F47-FB45-A48A-89910EF4B4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4667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74B29C6-58EB-D34C-9127-ACEA3C8422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27295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1A87E3-BEAA-A645-A475-1D81C3B496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17980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Pladsholder til dato 2">
            <a:extLst>
              <a:ext uri="{FF2B5EF4-FFF2-40B4-BE49-F238E27FC236}">
                <a16:creationId xmlns:a16="http://schemas.microsoft.com/office/drawing/2014/main" id="{6163A414-1DB0-E44F-AA68-084AD5F92A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3" name="Pladsholder til sidefod 3">
            <a:extLst>
              <a:ext uri="{FF2B5EF4-FFF2-40B4-BE49-F238E27FC236}">
                <a16:creationId xmlns:a16="http://schemas.microsoft.com/office/drawing/2014/main" id="{D5BDAAB7-64D3-6F4A-B353-FD3D427AA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4" name="Pladsholder til slidenummer 4">
            <a:extLst>
              <a:ext uri="{FF2B5EF4-FFF2-40B4-BE49-F238E27FC236}">
                <a16:creationId xmlns:a16="http://schemas.microsoft.com/office/drawing/2014/main" id="{69B55418-5C62-9B4C-862D-AC2428413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ADE3066-ED1D-4F49-93F8-391ABD55C0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90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7F8424-2719-084A-B7D9-9177E1063F2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19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6C2F8DB8-478D-2747-97E7-34A79FA6D6D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11880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67431092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ktangel 23">
            <a:extLst>
              <a:ext uri="{FF2B5EF4-FFF2-40B4-BE49-F238E27FC236}">
                <a16:creationId xmlns:a16="http://schemas.microsoft.com/office/drawing/2014/main" id="{A70984DD-6FD6-BD49-9823-E01C00074D58}"/>
              </a:ext>
            </a:extLst>
          </p:cNvPr>
          <p:cNvSpPr/>
          <p:nvPr userDrawn="1"/>
        </p:nvSpPr>
        <p:spPr>
          <a:xfrm>
            <a:off x="0" y="0"/>
            <a:ext cx="6102000" cy="343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B49CAF25-176E-5A4D-9CBF-5CBAFF28450B}"/>
              </a:ext>
            </a:extLst>
          </p:cNvPr>
          <p:cNvSpPr/>
          <p:nvPr userDrawn="1"/>
        </p:nvSpPr>
        <p:spPr>
          <a:xfrm>
            <a:off x="6102000" y="0"/>
            <a:ext cx="6102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2675EE6C-9AF8-5640-8C49-6FCA0D37E4BD}"/>
              </a:ext>
            </a:extLst>
          </p:cNvPr>
          <p:cNvSpPr/>
          <p:nvPr userDrawn="1"/>
        </p:nvSpPr>
        <p:spPr>
          <a:xfrm>
            <a:off x="0" y="3438000"/>
            <a:ext cx="6102000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0250F1C9-E8CA-1D4D-A702-30E9656301CB}"/>
              </a:ext>
            </a:extLst>
          </p:cNvPr>
          <p:cNvSpPr/>
          <p:nvPr userDrawn="1"/>
        </p:nvSpPr>
        <p:spPr>
          <a:xfrm>
            <a:off x="6102000" y="3438000"/>
            <a:ext cx="6102000" cy="343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2C280509-312C-EC4E-9055-368511E7B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242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E5BCC922-2B97-6D45-B26E-C9DCD91CA6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86475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F1A17406-FA28-AF46-87B0-90C9678BE3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6475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974BBC5-8EA0-F544-8FD6-3D20CB74A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6392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B58BAF-EB02-584B-8F8E-308E103900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6475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04355197-8B32-A144-8021-CBD5A16714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6475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1270C9-01F1-7647-BB60-707726D0B4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6392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097DD830-2D9D-0F4F-AB87-6A0DF610B3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6392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06619257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4231207E-52DE-7743-B71F-230159D42985}"/>
              </a:ext>
            </a:extLst>
          </p:cNvPr>
          <p:cNvSpPr/>
          <p:nvPr userDrawn="1"/>
        </p:nvSpPr>
        <p:spPr>
          <a:xfrm>
            <a:off x="0" y="3438854"/>
            <a:ext cx="4064399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363B3948-444E-AA45-B1E9-7EDF40549589}"/>
              </a:ext>
            </a:extLst>
          </p:cNvPr>
          <p:cNvSpPr/>
          <p:nvPr userDrawn="1"/>
        </p:nvSpPr>
        <p:spPr>
          <a:xfrm>
            <a:off x="4060281" y="3438854"/>
            <a:ext cx="4064399" cy="343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5F8A012-C0A3-7947-83C8-A529753F4C0A}"/>
              </a:ext>
            </a:extLst>
          </p:cNvPr>
          <p:cNvSpPr/>
          <p:nvPr userDrawn="1"/>
        </p:nvSpPr>
        <p:spPr>
          <a:xfrm>
            <a:off x="8123999" y="3438854"/>
            <a:ext cx="4068000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BC0267F-007F-3641-8922-B7E2F637F90A}"/>
              </a:ext>
            </a:extLst>
          </p:cNvPr>
          <p:cNvSpPr/>
          <p:nvPr userDrawn="1"/>
        </p:nvSpPr>
        <p:spPr>
          <a:xfrm>
            <a:off x="0" y="0"/>
            <a:ext cx="4064399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D5C2644-5515-1A4C-861C-7326752F58CA}"/>
              </a:ext>
            </a:extLst>
          </p:cNvPr>
          <p:cNvSpPr/>
          <p:nvPr userDrawn="1"/>
        </p:nvSpPr>
        <p:spPr>
          <a:xfrm>
            <a:off x="4060281" y="0"/>
            <a:ext cx="4064399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49124EA-328E-544F-8063-AD5A0253A45B}"/>
              </a:ext>
            </a:extLst>
          </p:cNvPr>
          <p:cNvSpPr/>
          <p:nvPr userDrawn="1"/>
        </p:nvSpPr>
        <p:spPr>
          <a:xfrm>
            <a:off x="8123999" y="0"/>
            <a:ext cx="4068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90D8679-556B-8A40-899D-9C84538CB7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199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4B3218E-0749-9E44-8EB8-F4A37D35C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6298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95927F8-1F62-F141-B530-0EFB97A9C3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87787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F466B7C-EB91-BF4C-AF64-2F54DF448F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199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39CC98F-B499-7842-957F-DE634767DF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6298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899C76E-502E-5F4D-965E-B2EE55D85B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87787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3" name="Pladsholder til billede 21">
            <a:extLst>
              <a:ext uri="{FF2B5EF4-FFF2-40B4-BE49-F238E27FC236}">
                <a16:creationId xmlns:a16="http://schemas.microsoft.com/office/drawing/2014/main" id="{DF55435F-ADCB-E04B-8525-F3542D26DA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444480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2" name="Pladsholder til billede 21">
            <a:extLst>
              <a:ext uri="{FF2B5EF4-FFF2-40B4-BE49-F238E27FC236}">
                <a16:creationId xmlns:a16="http://schemas.microsoft.com/office/drawing/2014/main" id="{645988EB-136C-7B47-8BA1-CF5AFA25140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28662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3" name="Pladsholder til billede 21">
            <a:extLst>
              <a:ext uri="{FF2B5EF4-FFF2-40B4-BE49-F238E27FC236}">
                <a16:creationId xmlns:a16="http://schemas.microsoft.com/office/drawing/2014/main" id="{25765CAD-7482-C640-9455-1D6708AA64F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592275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4" name="Pladsholder til billede 21">
            <a:extLst>
              <a:ext uri="{FF2B5EF4-FFF2-40B4-BE49-F238E27FC236}">
                <a16:creationId xmlns:a16="http://schemas.microsoft.com/office/drawing/2014/main" id="{10C7017F-8D5D-1C4A-B3D6-C1EF8301B11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44480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5" name="Pladsholder til billede 21">
            <a:extLst>
              <a:ext uri="{FF2B5EF4-FFF2-40B4-BE49-F238E27FC236}">
                <a16:creationId xmlns:a16="http://schemas.microsoft.com/office/drawing/2014/main" id="{43FF324F-4E4B-1D43-8DE6-5DF412D016B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428662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6" name="Pladsholder til billede 21">
            <a:extLst>
              <a:ext uri="{FF2B5EF4-FFF2-40B4-BE49-F238E27FC236}">
                <a16:creationId xmlns:a16="http://schemas.microsoft.com/office/drawing/2014/main" id="{6840F908-7AC0-954D-87CD-F598A573381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92275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</p:spTree>
    <p:extLst>
      <p:ext uri="{BB962C8B-B14F-4D97-AF65-F5344CB8AC3E}">
        <p14:creationId xmlns:p14="http://schemas.microsoft.com/office/powerpoint/2010/main" val="15020510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2916302"/>
            <a:ext cx="2398100" cy="3438000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2916302"/>
            <a:ext cx="2398100" cy="3438000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2916302"/>
            <a:ext cx="2398100" cy="343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2916302"/>
            <a:ext cx="2398100" cy="3438000"/>
          </a:xfrm>
          <a:solidFill>
            <a:schemeClr val="accent5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</p:spTree>
    <p:extLst>
      <p:ext uri="{BB962C8B-B14F-4D97-AF65-F5344CB8AC3E}">
        <p14:creationId xmlns:p14="http://schemas.microsoft.com/office/powerpoint/2010/main" val="426986819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40035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E1B3C7FE-A5C5-DB43-8F81-6B58E061747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82663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23" name="Pladsholder til billede 6">
            <a:extLst>
              <a:ext uri="{FF2B5EF4-FFF2-40B4-BE49-F238E27FC236}">
                <a16:creationId xmlns:a16="http://schemas.microsoft.com/office/drawing/2014/main" id="{0DD12C78-FFFA-B441-91D8-3D10BA15064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0028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5" name="Pladsholder til billede 6">
            <a:extLst>
              <a:ext uri="{FF2B5EF4-FFF2-40B4-BE49-F238E27FC236}">
                <a16:creationId xmlns:a16="http://schemas.microsoft.com/office/drawing/2014/main" id="{5433A101-EEC2-1A43-BCC6-EA29BC4C810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9005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6" name="Pladsholder til billede 6">
            <a:extLst>
              <a:ext uri="{FF2B5EF4-FFF2-40B4-BE49-F238E27FC236}">
                <a16:creationId xmlns:a16="http://schemas.microsoft.com/office/drawing/2014/main" id="{C060D71F-6125-7045-8FC0-37F1BD04BF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826370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</p:spTree>
    <p:extLst>
      <p:ext uri="{BB962C8B-B14F-4D97-AF65-F5344CB8AC3E}">
        <p14:creationId xmlns:p14="http://schemas.microsoft.com/office/powerpoint/2010/main" val="69832872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852303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761376"/>
            <a:ext cx="6749592" cy="2535237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5680" y="5249848"/>
            <a:ext cx="5364292" cy="839867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kort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680" y="4069772"/>
            <a:ext cx="5364291" cy="1030127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485094038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58639" y="0"/>
            <a:ext cx="4242062" cy="6858000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72980" y="2607740"/>
            <a:ext cx="3337528" cy="351968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2980" y="789245"/>
            <a:ext cx="3337528" cy="1576883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4009601325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22772A8C-5A1B-E74C-98FD-E87FD5A80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7215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Supergrafik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942999" cy="47810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96267" y="1575836"/>
            <a:ext cx="7823522" cy="1846264"/>
          </a:xfrm>
        </p:spPr>
        <p:txBody>
          <a:bodyPr anchor="b"/>
          <a:lstStyle>
            <a:lvl1pPr algn="l">
              <a:spcBef>
                <a:spcPts val="400"/>
              </a:spcBef>
              <a:defRPr sz="4800" baseline="0">
                <a:solidFill>
                  <a:schemeClr val="accent2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96267" y="3680864"/>
            <a:ext cx="7823522" cy="524933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None/>
              <a:defRPr sz="3300">
                <a:solidFill>
                  <a:schemeClr val="accent1"/>
                </a:solidFill>
              </a:defRPr>
            </a:lvl1pPr>
            <a:lvl2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2pPr>
            <a:lvl3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3pPr>
            <a:lvl4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4pPr>
            <a:lvl5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5pPr>
            <a:lvl6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6pPr>
            <a:lvl7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7pPr>
            <a:lvl8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8pPr>
            <a:lvl9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9pPr>
          </a:lstStyle>
          <a:p>
            <a:r>
              <a:rPr lang="da-DK" dirty="0"/>
              <a:t>Indsæt underoverskrift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37" y="4349729"/>
            <a:ext cx="7824075" cy="45878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i="1">
                <a:solidFill>
                  <a:schemeClr val="tx2">
                    <a:lumMod val="75000"/>
                  </a:schemeClr>
                </a:solidFill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buFont typeface="Arial" panose="020B0604020202020204" pitchFamily="34" charset="0"/>
              <a:buChar char="​"/>
              <a:defRPr sz="2400"/>
            </a:lvl3pPr>
            <a:lvl4pPr marL="0" indent="0">
              <a:buFont typeface="Arial" panose="020B0604020202020204" pitchFamily="34" charset="0"/>
              <a:buChar char="​"/>
              <a:defRPr sz="2400"/>
            </a:lvl4pPr>
            <a:lvl5pPr marL="0" indent="0">
              <a:buFont typeface="Arial" panose="020B0604020202020204" pitchFamily="34" charset="0"/>
              <a:buChar char="​"/>
              <a:defRPr sz="2400"/>
            </a:lvl5pPr>
            <a:lvl6pPr marL="0" indent="0">
              <a:buFont typeface="Arial" panose="020B0604020202020204" pitchFamily="34" charset="0"/>
              <a:buChar char="​"/>
              <a:defRPr sz="2400"/>
            </a:lvl6pPr>
            <a:lvl7pPr marL="0" indent="0">
              <a:buFont typeface="Arial" panose="020B0604020202020204" pitchFamily="34" charset="0"/>
              <a:buChar char="​"/>
              <a:defRPr sz="2400"/>
            </a:lvl7pPr>
            <a:lvl8pPr marL="0" indent="0">
              <a:buFont typeface="Arial" panose="020B0604020202020204" pitchFamily="34" charset="0"/>
              <a:buChar char="​"/>
              <a:defRPr sz="2400"/>
            </a:lvl8pPr>
          </a:lstStyle>
          <a:p>
            <a:pPr lvl="0"/>
            <a:r>
              <a:rPr lang="da-DK" dirty="0"/>
              <a:t>Indsæt navn og efternavn</a:t>
            </a:r>
          </a:p>
        </p:txBody>
      </p:sp>
    </p:spTree>
    <p:extLst>
      <p:ext uri="{BB962C8B-B14F-4D97-AF65-F5344CB8AC3E}">
        <p14:creationId xmlns:p14="http://schemas.microsoft.com/office/powerpoint/2010/main" val="291409269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5F867355-AAA7-FD40-B0C3-7BAE5A5FC3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D8A753AC-05F3-AD4C-BF95-2BE4A21C048C}"/>
              </a:ext>
            </a:extLst>
          </p:cNvPr>
          <p:cNvSpPr txBox="1"/>
          <p:nvPr userDrawn="1"/>
        </p:nvSpPr>
        <p:spPr>
          <a:xfrm>
            <a:off x="3479800" y="1876695"/>
            <a:ext cx="5232400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5000" dirty="0">
                <a:solidFill>
                  <a:schemeClr val="bg1"/>
                </a:solidFill>
              </a:rPr>
              <a:t>PAUS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3DDF7F7-0AC1-C443-BA29-DD597A10C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575" y="2261415"/>
            <a:ext cx="4020155" cy="393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283229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ørgsmå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99" b="1121"/>
          <a:stretch/>
        </p:blipFill>
        <p:spPr>
          <a:xfrm>
            <a:off x="-16298" y="0"/>
            <a:ext cx="12208298" cy="6857999"/>
          </a:xfrm>
          <a:prstGeom prst="rect">
            <a:avLst/>
          </a:prstGeom>
        </p:spPr>
      </p:pic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389376" y="5822731"/>
            <a:ext cx="6410325" cy="377825"/>
          </a:xfrm>
        </p:spPr>
        <p:txBody>
          <a:bodyPr/>
          <a:lstStyle>
            <a:lvl1pPr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ONTAKT: Tlf.: xx xx xx xx Mail: </a:t>
            </a:r>
            <a:r>
              <a:rPr lang="da-DK" dirty="0" err="1"/>
              <a:t>XXX@energinet.dk</a:t>
            </a:r>
            <a:endParaRPr lang="da-DK" dirty="0"/>
          </a:p>
        </p:txBody>
      </p:sp>
      <p:sp>
        <p:nvSpPr>
          <p:cNvPr id="4" name="Tekstfelt 3"/>
          <p:cNvSpPr txBox="1"/>
          <p:nvPr userDrawn="1"/>
        </p:nvSpPr>
        <p:spPr>
          <a:xfrm>
            <a:off x="2701158" y="2026750"/>
            <a:ext cx="6600497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0" dirty="0">
                <a:solidFill>
                  <a:schemeClr val="bg1"/>
                </a:solidFill>
              </a:rPr>
              <a:t>SPØRGSMÅL</a:t>
            </a:r>
          </a:p>
        </p:txBody>
      </p:sp>
    </p:spTree>
    <p:extLst>
      <p:ext uri="{BB962C8B-B14F-4D97-AF65-F5344CB8AC3E}">
        <p14:creationId xmlns:p14="http://schemas.microsoft.com/office/powerpoint/2010/main" val="1054018761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ast overskrift"/>
          <p:cNvSpPr txBox="1"/>
          <p:nvPr userDrawn="1"/>
        </p:nvSpPr>
        <p:spPr>
          <a:xfrm>
            <a:off x="982663" y="539750"/>
            <a:ext cx="9361487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7" name="Text Box 2"/>
          <p:cNvSpPr txBox="1">
            <a:spLocks noChangeArrowheads="1"/>
          </p:cNvSpPr>
          <p:nvPr userDrawn="1"/>
        </p:nvSpPr>
        <p:spPr bwMode="auto">
          <a:xfrm>
            <a:off x="982667" y="1833789"/>
            <a:ext cx="2280360" cy="4678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10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for at fjerne og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ætte bullet på igen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s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dia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ndsætte nyt sl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det layout, du ønsker,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ændre dit nuværende layout til et alternativt.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 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3"/>
          <p:cNvSpPr txBox="1">
            <a:spLocks noChangeArrowheads="1"/>
          </p:cNvSpPr>
          <p:nvPr userDrawn="1"/>
        </p:nvSpPr>
        <p:spPr bwMode="auto">
          <a:xfrm>
            <a:off x="5039973" y="1833789"/>
            <a:ext cx="1927222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ér billedet. 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værktøj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.</a:t>
            </a:r>
          </a:p>
        </p:txBody>
      </p:sp>
      <p:sp>
        <p:nvSpPr>
          <p:cNvPr id="19" name="Text Box 4"/>
          <p:cNvSpPr txBox="1">
            <a:spLocks noChangeArrowheads="1"/>
          </p:cNvSpPr>
          <p:nvPr userDrawn="1"/>
        </p:nvSpPr>
        <p:spPr bwMode="auto">
          <a:xfrm>
            <a:off x="9062174" y="1815926"/>
            <a:ext cx="2256615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så det slår igennem på alle slides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tast evt. tekst i sidefod)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1 Forøg formindsk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43464" y="2877130"/>
            <a:ext cx="549328" cy="285228"/>
          </a:xfrm>
          <a:prstGeom prst="rect">
            <a:avLst/>
          </a:prstGeom>
        </p:spPr>
      </p:pic>
      <p:pic>
        <p:nvPicPr>
          <p:cNvPr id="26" name="2 Ny slide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57383" y="3958874"/>
            <a:ext cx="363713" cy="647461"/>
          </a:xfrm>
          <a:prstGeom prst="rect">
            <a:avLst/>
          </a:prstGeom>
        </p:spPr>
      </p:pic>
      <p:pic>
        <p:nvPicPr>
          <p:cNvPr id="27" name="4 Nulsti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45551" y="5464557"/>
            <a:ext cx="547241" cy="197798"/>
          </a:xfrm>
          <a:prstGeom prst="rect">
            <a:avLst/>
          </a:prstGeom>
        </p:spPr>
      </p:pic>
      <p:pic>
        <p:nvPicPr>
          <p:cNvPr id="30" name="5 Indsæt billed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7195" y="2075087"/>
            <a:ext cx="262151" cy="256054"/>
          </a:xfrm>
          <a:prstGeom prst="rect">
            <a:avLst/>
          </a:prstGeom>
        </p:spPr>
      </p:pic>
      <p:pic>
        <p:nvPicPr>
          <p:cNvPr id="31" name="6 Beskær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29570" y="3095427"/>
            <a:ext cx="337400" cy="321707"/>
          </a:xfrm>
          <a:prstGeom prst="rect">
            <a:avLst/>
          </a:prstGeom>
        </p:spPr>
      </p:pic>
      <p:pic>
        <p:nvPicPr>
          <p:cNvPr id="32" name="7 Skalér billed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5349" y="3543401"/>
            <a:ext cx="359695" cy="335309"/>
          </a:xfrm>
          <a:prstGeom prst="rect">
            <a:avLst/>
          </a:prstGeom>
        </p:spPr>
      </p:pic>
      <p:pic>
        <p:nvPicPr>
          <p:cNvPr id="33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39595" y="3321050"/>
            <a:ext cx="199287" cy="192169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5349" y="2723498"/>
            <a:ext cx="595309" cy="350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9961300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ikkerhe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1" name="Tekstfelt 10"/>
          <p:cNvSpPr txBox="1"/>
          <p:nvPr userDrawn="1"/>
        </p:nvSpPr>
        <p:spPr>
          <a:xfrm>
            <a:off x="2749328" y="4057651"/>
            <a:ext cx="166792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NØDUDGANGE</a:t>
            </a:r>
          </a:p>
        </p:txBody>
      </p:sp>
      <p:sp>
        <p:nvSpPr>
          <p:cNvPr id="12" name="Tekstfelt 11"/>
          <p:cNvSpPr txBox="1"/>
          <p:nvPr userDrawn="1"/>
        </p:nvSpPr>
        <p:spPr>
          <a:xfrm>
            <a:off x="5219443" y="4057651"/>
            <a:ext cx="20739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HJERTESTARTER</a:t>
            </a:r>
          </a:p>
        </p:txBody>
      </p:sp>
      <p:sp>
        <p:nvSpPr>
          <p:cNvPr id="13" name="Tekstfelt 12"/>
          <p:cNvSpPr txBox="1"/>
          <p:nvPr userDrawn="1"/>
        </p:nvSpPr>
        <p:spPr>
          <a:xfrm>
            <a:off x="7968792" y="4057651"/>
            <a:ext cx="18645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AMLINGSSTED</a:t>
            </a:r>
          </a:p>
        </p:txBody>
      </p:sp>
      <p:pic>
        <p:nvPicPr>
          <p:cNvPr id="3" name="Billede 2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44F8C9F1-2E7E-B348-9536-95B3E0340C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78" r="669"/>
          <a:stretch/>
        </p:blipFill>
        <p:spPr>
          <a:xfrm>
            <a:off x="2714158" y="2146300"/>
            <a:ext cx="1650438" cy="1636776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F91BF282-FC60-7E4F-8ED4-8CFE6E76CD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8" t="1358" r="1509"/>
          <a:stretch/>
        </p:blipFill>
        <p:spPr>
          <a:xfrm>
            <a:off x="5410200" y="2168524"/>
            <a:ext cx="1593850" cy="1614551"/>
          </a:xfrm>
          <a:prstGeom prst="rect">
            <a:avLst/>
          </a:prstGeom>
        </p:spPr>
      </p:pic>
      <p:pic>
        <p:nvPicPr>
          <p:cNvPr id="17" name="Billede 16" descr="Et billede, der indeholder tekst, skilt, førstehjælpssæt, clipart&#10;&#10;Automatisk genereret beskrivelse">
            <a:extLst>
              <a:ext uri="{FF2B5EF4-FFF2-40B4-BE49-F238E27FC236}">
                <a16:creationId xmlns:a16="http://schemas.microsoft.com/office/drawing/2014/main" id="{948BE73B-F68F-9746-A38C-C0BEBB6BB3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1" t="1779" r="2336" b="-1"/>
          <a:stretch/>
        </p:blipFill>
        <p:spPr>
          <a:xfrm>
            <a:off x="8049654" y="2168524"/>
            <a:ext cx="1595235" cy="161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309053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 hidden="1"/>
          <p:cNvSpPr>
            <a:spLocks noGrp="1"/>
          </p:cNvSpPr>
          <p:nvPr>
            <p:ph type="dt" sz="half" idx="10"/>
          </p:nvPr>
        </p:nvSpPr>
        <p:spPr>
          <a:xfrm>
            <a:off x="13326565" y="6398800"/>
            <a:ext cx="2844800" cy="365125"/>
          </a:xfrm>
          <a:prstGeom prst="rect">
            <a:avLst/>
          </a:prstGeom>
        </p:spPr>
        <p:txBody>
          <a:bodyPr/>
          <a:lstStyle/>
          <a:p>
            <a:fld id="{F66CA07D-64E1-034A-8F24-0DAB39FC3D07}" type="datetime3">
              <a:t>08.06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FFC2FA75-A41F-AF45-B044-73D2FD7526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713" y="4365104"/>
            <a:ext cx="2251259" cy="540000"/>
          </a:xfrm>
        </p:spPr>
        <p:txBody>
          <a:bodyPr anchor="b" anchorCtr="0"/>
          <a:lstStyle>
            <a:lvl1pPr algn="r">
              <a:defRPr lang="da-DK" sz="1189" b="1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8" name="Pladsholder til tekst 4">
            <a:extLst>
              <a:ext uri="{FF2B5EF4-FFF2-40B4-BE49-F238E27FC236}">
                <a16:creationId xmlns:a16="http://schemas.microsoft.com/office/drawing/2014/main" id="{36D652E3-BAFC-964A-B2C9-1952C9AAF6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713" y="5173236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44E55857-C7BD-CD49-9DDF-FE95D8EE2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5936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454F0FB0-0930-E74E-8BCD-237833E2E8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713" y="4929433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1593734772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779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5936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5426B8D0-6451-734B-AB7E-3E8886D805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713" y="4365104"/>
            <a:ext cx="2251259" cy="540000"/>
          </a:xfrm>
        </p:spPr>
        <p:txBody>
          <a:bodyPr anchor="b" anchorCtr="0"/>
          <a:lstStyle>
            <a:lvl1pPr algn="r">
              <a:defRPr lang="da-DK" sz="1189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7576BDBF-B923-3D47-9E0B-2061C34A06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713" y="5173236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F56EFBC7-2209-6D48-B526-57ABE1AC4C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713" y="4929433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321507333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2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779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5936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5426B8D0-6451-734B-AB7E-3E8886D805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713" y="4365104"/>
            <a:ext cx="2251259" cy="540000"/>
          </a:xfrm>
        </p:spPr>
        <p:txBody>
          <a:bodyPr anchor="b" anchorCtr="0"/>
          <a:lstStyle>
            <a:lvl1pPr algn="r">
              <a:defRPr lang="da-DK" sz="1189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7576BDBF-B923-3D47-9E0B-2061C34A06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713" y="5173236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F56EFBC7-2209-6D48-B526-57ABE1AC4C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713" y="4929433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121334143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19" y="34"/>
            <a:ext cx="12191999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779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6" name="Titel 10">
            <a:extLst>
              <a:ext uri="{FF2B5EF4-FFF2-40B4-BE49-F238E27FC236}">
                <a16:creationId xmlns:a16="http://schemas.microsoft.com/office/drawing/2014/main" id="{A618B4AE-9447-C943-8C77-78BA514BB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5936">
                <a:solidFill>
                  <a:schemeClr val="accent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42B49B3D-4866-474E-B5F1-BC5836BAAD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713" y="4365104"/>
            <a:ext cx="2251259" cy="540000"/>
          </a:xfrm>
        </p:spPr>
        <p:txBody>
          <a:bodyPr anchor="b" anchorCtr="0"/>
          <a:lstStyle>
            <a:lvl1pPr algn="r">
              <a:defRPr lang="da-DK" sz="1189" b="1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3" name="Pladsholder til tekst 4">
            <a:extLst>
              <a:ext uri="{FF2B5EF4-FFF2-40B4-BE49-F238E27FC236}">
                <a16:creationId xmlns:a16="http://schemas.microsoft.com/office/drawing/2014/main" id="{28B61AEC-F957-7E4A-8764-380FB29C31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713" y="5173236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5" name="Pladsholder til tekst 4">
            <a:extLst>
              <a:ext uri="{FF2B5EF4-FFF2-40B4-BE49-F238E27FC236}">
                <a16:creationId xmlns:a16="http://schemas.microsoft.com/office/drawing/2014/main" id="{240A9312-A4D3-6C4C-9289-47F9CFB5DE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713" y="4929433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254108713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mørk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34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989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mørkt billede, via fanen Indsæt, Billeder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B7F9C7AC-DC81-ED40-9796-33611B5DB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5936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0FE724D6-0010-3743-B773-F1E842B91E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713" y="4365104"/>
            <a:ext cx="2251259" cy="540000"/>
          </a:xfrm>
        </p:spPr>
        <p:txBody>
          <a:bodyPr anchor="b" anchorCtr="0"/>
          <a:lstStyle>
            <a:lvl1pPr algn="r">
              <a:defRPr lang="da-DK" sz="1189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0" name="Pladsholder til tekst 4">
            <a:extLst>
              <a:ext uri="{FF2B5EF4-FFF2-40B4-BE49-F238E27FC236}">
                <a16:creationId xmlns:a16="http://schemas.microsoft.com/office/drawing/2014/main" id="{BE265931-DAC6-D44C-A798-75A6AEDB7B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713" y="5173236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3A38A144-48BD-4840-B806-50FD592F2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713" y="4929433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3120698822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lys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34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989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lyst billede, via fanen Indsæt, Billeder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0D1A318C-794C-8F43-BB2A-5B5C17C66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5936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E2DB6ED-3774-F147-BC5B-CBB2C762BF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713" y="4365104"/>
            <a:ext cx="2251259" cy="540000"/>
          </a:xfrm>
        </p:spPr>
        <p:txBody>
          <a:bodyPr anchor="b" anchorCtr="0"/>
          <a:lstStyle>
            <a:lvl1pPr algn="r">
              <a:defRPr lang="da-DK" sz="1189" b="1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0" name="Pladsholder til tekst 4">
            <a:extLst>
              <a:ext uri="{FF2B5EF4-FFF2-40B4-BE49-F238E27FC236}">
                <a16:creationId xmlns:a16="http://schemas.microsoft.com/office/drawing/2014/main" id="{243ED9BF-2A3C-6049-A1E1-AB5D7B574C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713" y="5173236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5C5A113F-50FD-ED43-8C56-0A78605B7F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713" y="4929433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40307365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1022667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33587664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gsorde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2C2D31F3-CACE-E542-8D63-F51828BAB7CB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51705" y="1557867"/>
            <a:ext cx="5083772" cy="3742267"/>
          </a:xfrm>
        </p:spPr>
        <p:txBody>
          <a:bodyPr anchor="ctr"/>
          <a:lstStyle>
            <a:lvl1pPr marL="0" marR="0" indent="0" algn="l" defTabSz="904161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04161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  <p:sp>
        <p:nvSpPr>
          <p:cNvPr id="9" name="Pladsholder til tabel 3">
            <a:extLst>
              <a:ext uri="{FF2B5EF4-FFF2-40B4-BE49-F238E27FC236}">
                <a16:creationId xmlns:a16="http://schemas.microsoft.com/office/drawing/2014/main" id="{552EDF94-9408-1844-A084-BB4D7A171B0D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5850" y="1557867"/>
            <a:ext cx="5083772" cy="3742267"/>
          </a:xfrm>
        </p:spPr>
        <p:txBody>
          <a:bodyPr anchor="ctr"/>
          <a:lstStyle>
            <a:lvl1pPr marL="0" marR="0" indent="0" algn="l" defTabSz="904161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04161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</p:spTree>
    <p:extLst>
      <p:ext uri="{BB962C8B-B14F-4D97-AF65-F5344CB8AC3E}">
        <p14:creationId xmlns:p14="http://schemas.microsoft.com/office/powerpoint/2010/main" val="227364619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7" name="Pladsholder til tekst 2">
            <a:extLst>
              <a:ext uri="{FF2B5EF4-FFF2-40B4-BE49-F238E27FC236}">
                <a16:creationId xmlns:a16="http://schemas.microsoft.com/office/drawing/2014/main" id="{2B905F23-B72E-2848-8F49-90F1C7478C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58660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09982424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høj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6456459" y="34"/>
            <a:ext cx="5084499" cy="6081713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77A5E23-3409-F646-BCD4-73EEB471E1DF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84409546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venst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74AD5B-8FEC-8D44-AC75-C1F527063C07}" type="datetime3">
              <a:t>08.06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56456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9475" y="34"/>
            <a:ext cx="5083775" cy="6081713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476" y="779463"/>
            <a:ext cx="5084497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761474883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2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34" y="4868333"/>
            <a:ext cx="10890249" cy="1212851"/>
          </a:xfrm>
        </p:spPr>
        <p:txBody>
          <a:bodyPr anchor="ctr" anchorCtr="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1771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56294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2870661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2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34" y="4868333"/>
            <a:ext cx="10890249" cy="1212851"/>
          </a:xfrm>
        </p:spPr>
        <p:txBody>
          <a:bodyPr anchor="ctr" anchorCtr="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 rot="5400000">
            <a:off x="3097647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1771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56294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Højrepil 7">
            <a:extLst>
              <a:ext uri="{FF2B5EF4-FFF2-40B4-BE49-F238E27FC236}">
                <a16:creationId xmlns:a16="http://schemas.microsoft.com/office/drawing/2014/main" id="{75257325-A8A5-DD44-BA20-840B4FC669FE}"/>
              </a:ext>
            </a:extLst>
          </p:cNvPr>
          <p:cNvSpPr/>
          <p:nvPr userDrawn="1"/>
        </p:nvSpPr>
        <p:spPr>
          <a:xfrm rot="5400000">
            <a:off x="8902170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</p:spTree>
    <p:extLst>
      <p:ext uri="{BB962C8B-B14F-4D97-AF65-F5344CB8AC3E}">
        <p14:creationId xmlns:p14="http://schemas.microsoft.com/office/powerpoint/2010/main" val="1728231490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2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34" y="4868333"/>
            <a:ext cx="10890249" cy="1212851"/>
          </a:xfrm>
        </p:spPr>
        <p:txBody>
          <a:bodyPr anchor="ctr" anchorCtr="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5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63927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0940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406429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7925423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</p:spTree>
    <p:extLst>
      <p:ext uri="{BB962C8B-B14F-4D97-AF65-F5344CB8AC3E}">
        <p14:creationId xmlns:p14="http://schemas.microsoft.com/office/powerpoint/2010/main" val="396215269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2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34" y="4868333"/>
            <a:ext cx="10890249" cy="1212851"/>
          </a:xfrm>
        </p:spPr>
        <p:txBody>
          <a:bodyPr anchor="ctr" anchorCtr="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5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63927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0940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2137804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11" name="Højrepil 10">
            <a:extLst>
              <a:ext uri="{FF2B5EF4-FFF2-40B4-BE49-F238E27FC236}">
                <a16:creationId xmlns:a16="http://schemas.microsoft.com/office/drawing/2014/main" id="{BD0089C5-39E9-C745-A39F-3CD7D32908D7}"/>
              </a:ext>
            </a:extLst>
          </p:cNvPr>
          <p:cNvSpPr/>
          <p:nvPr userDrawn="1"/>
        </p:nvSpPr>
        <p:spPr>
          <a:xfrm rot="5400000">
            <a:off x="5998930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1B398A9-5D04-164D-BB75-5BFDF2E7EB1A}"/>
              </a:ext>
            </a:extLst>
          </p:cNvPr>
          <p:cNvSpPr/>
          <p:nvPr userDrawn="1"/>
        </p:nvSpPr>
        <p:spPr>
          <a:xfrm rot="5400000">
            <a:off x="9851916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</p:spTree>
    <p:extLst>
      <p:ext uri="{BB962C8B-B14F-4D97-AF65-F5344CB8AC3E}">
        <p14:creationId xmlns:p14="http://schemas.microsoft.com/office/powerpoint/2010/main" val="262112027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2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34" y="4868333"/>
            <a:ext cx="10890249" cy="1212851"/>
          </a:xfrm>
        </p:spPr>
        <p:txBody>
          <a:bodyPr anchor="ctr" anchorCtr="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34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2716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67462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85088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3181302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881655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</p:spTree>
    <p:extLst>
      <p:ext uri="{BB962C8B-B14F-4D97-AF65-F5344CB8AC3E}">
        <p14:creationId xmlns:p14="http://schemas.microsoft.com/office/powerpoint/2010/main" val="3478589856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2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34" y="4868333"/>
            <a:ext cx="10890249" cy="1212851"/>
          </a:xfrm>
        </p:spPr>
        <p:txBody>
          <a:bodyPr anchor="ctr" anchorCtr="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34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  <a:ln w="6350">
            <a:noFill/>
          </a:ln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2716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67462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85088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1723571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F819482-7C14-7E43-A620-0B19F87364BA}"/>
              </a:ext>
            </a:extLst>
          </p:cNvPr>
          <p:cNvSpPr/>
          <p:nvPr userDrawn="1"/>
        </p:nvSpPr>
        <p:spPr>
          <a:xfrm rot="5400000">
            <a:off x="4541199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15" name="Højrepil 14">
            <a:extLst>
              <a:ext uri="{FF2B5EF4-FFF2-40B4-BE49-F238E27FC236}">
                <a16:creationId xmlns:a16="http://schemas.microsoft.com/office/drawing/2014/main" id="{29E70971-7A29-5B45-99ED-430CD18479DF}"/>
              </a:ext>
            </a:extLst>
          </p:cNvPr>
          <p:cNvSpPr/>
          <p:nvPr userDrawn="1"/>
        </p:nvSpPr>
        <p:spPr>
          <a:xfrm rot="5400000">
            <a:off x="7358827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16" name="Højrepil 15">
            <a:extLst>
              <a:ext uri="{FF2B5EF4-FFF2-40B4-BE49-F238E27FC236}">
                <a16:creationId xmlns:a16="http://schemas.microsoft.com/office/drawing/2014/main" id="{BEF88CB5-A1ED-2746-A344-31420505FA3C}"/>
              </a:ext>
            </a:extLst>
          </p:cNvPr>
          <p:cNvSpPr/>
          <p:nvPr userDrawn="1"/>
        </p:nvSpPr>
        <p:spPr>
          <a:xfrm rot="5400000">
            <a:off x="10176454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</p:spTree>
    <p:extLst>
      <p:ext uri="{BB962C8B-B14F-4D97-AF65-F5344CB8AC3E}">
        <p14:creationId xmlns:p14="http://schemas.microsoft.com/office/powerpoint/2010/main" val="11078256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7" y="1196975"/>
            <a:ext cx="4921739" cy="4959350"/>
          </a:xfrm>
          <a:solidFill>
            <a:schemeClr val="bg1">
              <a:lumMod val="95000"/>
            </a:schemeClr>
          </a:solidFill>
        </p:spPr>
        <p:txBody>
          <a:bodyPr tIns="108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82663" y="1196975"/>
            <a:ext cx="4933337" cy="71913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4" y="2852739"/>
            <a:ext cx="4933336" cy="3303586"/>
          </a:xfrm>
        </p:spPr>
        <p:txBody>
          <a:bodyPr/>
          <a:lstStyle/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4933337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498824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14831" y="1557340"/>
            <a:ext cx="9362339" cy="3743325"/>
          </a:xfrm>
        </p:spPr>
        <p:txBody>
          <a:bodyPr tIns="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4195401835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m iko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14831" y="779611"/>
            <a:ext cx="9362339" cy="4521087"/>
          </a:xfrm>
        </p:spPr>
        <p:txBody>
          <a:bodyPr tIns="108000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9E642AAF-364D-7D43-9F2A-A9F9E4874C3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195782" y="779576"/>
            <a:ext cx="1800469" cy="1800000"/>
          </a:xfrm>
        </p:spPr>
        <p:txBody>
          <a:bodyPr tIns="612000" anchor="ctr" anchorCtr="0"/>
          <a:lstStyle>
            <a:lvl1pPr algn="ctr"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32304959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B03487C-BD18-0048-9D0F-3C1D2ED597B4}" type="datetime3">
              <a:t>08.06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75" y="2204874"/>
            <a:ext cx="3240844" cy="876513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81868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29" y="2204874"/>
            <a:ext cx="3240844" cy="876513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95" y="2204874"/>
            <a:ext cx="3240844" cy="876513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>
            <a:extLst>
              <a:ext uri="{FF2B5EF4-FFF2-40B4-BE49-F238E27FC236}">
                <a16:creationId xmlns:a16="http://schemas.microsoft.com/office/drawing/2014/main" id="{C48F51AF-EE09-7640-985D-49A9AACC625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4480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9" name="Pladsholder til billede 3">
            <a:extLst>
              <a:ext uri="{FF2B5EF4-FFF2-40B4-BE49-F238E27FC236}">
                <a16:creationId xmlns:a16="http://schemas.microsoft.com/office/drawing/2014/main" id="{48734797-E8DF-014D-A55D-6BF430204DE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47092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7FD11B2D-4CCA-B241-84AE-FEEE1ABA1A4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9475" y="4869166"/>
            <a:ext cx="3240844" cy="876513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569D038D-5624-EF47-A522-C6916B347C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818680" y="3892240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305F192E-8164-454B-A226-E3A490C19B2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00129" y="4869166"/>
            <a:ext cx="3240844" cy="876513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4" name="Pladsholder til tekst 2">
            <a:extLst>
              <a:ext uri="{FF2B5EF4-FFF2-40B4-BE49-F238E27FC236}">
                <a16:creationId xmlns:a16="http://schemas.microsoft.com/office/drawing/2014/main" id="{29618506-C79D-9843-8CE5-115DF2F55A7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75595" y="4869166"/>
            <a:ext cx="3240844" cy="876513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EC2F9887-080D-2746-ACBF-1B62B1DAE9F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644800" y="3896363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5502AEEC-30C1-FC48-BEC4-560AB09C51C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469333" y="3892240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46460661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B1EC739-852F-EE44-8C9C-01284F54EED3}" type="datetime3">
              <a:t>08.06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75" y="3645025"/>
            <a:ext cx="3240844" cy="2436691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29" y="3645024"/>
            <a:ext cx="3240844" cy="2436691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95" y="3645024"/>
            <a:ext cx="3240844" cy="2436691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Pladsholder til billede 3">
            <a:extLst>
              <a:ext uri="{FF2B5EF4-FFF2-40B4-BE49-F238E27FC236}">
                <a16:creationId xmlns:a16="http://schemas.microsoft.com/office/drawing/2014/main" id="{BE374975-7548-DB43-B322-B05C57DFC86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4" name="Pladsholder til billede 3">
            <a:extLst>
              <a:ext uri="{FF2B5EF4-FFF2-40B4-BE49-F238E27FC236}">
                <a16:creationId xmlns:a16="http://schemas.microsoft.com/office/drawing/2014/main" id="{4DCAFDAA-8A78-CD42-932F-D2E25057BF2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F5603915-428E-3A4A-8A34-A63E0C91CB5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1211665210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34"/>
            <a:ext cx="12192000" cy="608171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340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75" y="3645025"/>
            <a:ext cx="3240844" cy="2436691"/>
          </a:xfrm>
        </p:spPr>
        <p:txBody>
          <a:bodyPr anchor="t" anchorCtr="0"/>
          <a:lstStyle>
            <a:lvl1pPr algn="ctr">
              <a:defRPr sz="1579">
                <a:solidFill>
                  <a:schemeClr val="bg1"/>
                </a:solidFill>
              </a:defRPr>
            </a:lvl1pPr>
            <a:lvl2pPr algn="ctr">
              <a:defRPr sz="1579">
                <a:solidFill>
                  <a:schemeClr val="bg1"/>
                </a:solidFill>
              </a:defRPr>
            </a:lvl2pPr>
            <a:lvl3pPr algn="ctr">
              <a:defRPr sz="1579">
                <a:solidFill>
                  <a:schemeClr val="bg1"/>
                </a:solidFill>
              </a:defRPr>
            </a:lvl3pPr>
            <a:lvl4pPr algn="ctr">
              <a:defRPr sz="1579">
                <a:solidFill>
                  <a:schemeClr val="bg1"/>
                </a:solidFill>
              </a:defRPr>
            </a:lvl4pPr>
            <a:lvl5pPr algn="ctr">
              <a:defRPr sz="1579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29" y="3645024"/>
            <a:ext cx="3240844" cy="2436691"/>
          </a:xfrm>
        </p:spPr>
        <p:txBody>
          <a:bodyPr anchor="t" anchorCtr="0"/>
          <a:lstStyle>
            <a:lvl1pPr algn="ctr">
              <a:defRPr sz="1579">
                <a:solidFill>
                  <a:schemeClr val="bg1"/>
                </a:solidFill>
              </a:defRPr>
            </a:lvl1pPr>
            <a:lvl2pPr algn="ctr">
              <a:defRPr sz="1579">
                <a:solidFill>
                  <a:schemeClr val="bg1"/>
                </a:solidFill>
              </a:defRPr>
            </a:lvl2pPr>
            <a:lvl3pPr algn="ctr">
              <a:defRPr sz="1579">
                <a:solidFill>
                  <a:schemeClr val="bg1"/>
                </a:solidFill>
              </a:defRPr>
            </a:lvl3pPr>
            <a:lvl4pPr algn="ctr">
              <a:defRPr sz="1579">
                <a:solidFill>
                  <a:schemeClr val="bg1"/>
                </a:solidFill>
              </a:defRPr>
            </a:lvl4pPr>
            <a:lvl5pPr algn="ctr">
              <a:defRPr sz="1579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95" y="3645024"/>
            <a:ext cx="3240844" cy="2436691"/>
          </a:xfrm>
        </p:spPr>
        <p:txBody>
          <a:bodyPr anchor="t" anchorCtr="0"/>
          <a:lstStyle>
            <a:lvl1pPr algn="ctr">
              <a:defRPr sz="1579">
                <a:solidFill>
                  <a:schemeClr val="bg1"/>
                </a:solidFill>
              </a:defRPr>
            </a:lvl1pPr>
            <a:lvl2pPr algn="ctr">
              <a:defRPr sz="1579">
                <a:solidFill>
                  <a:schemeClr val="bg1"/>
                </a:solidFill>
              </a:defRPr>
            </a:lvl2pPr>
            <a:lvl3pPr algn="ctr">
              <a:defRPr sz="1579">
                <a:solidFill>
                  <a:schemeClr val="bg1"/>
                </a:solidFill>
              </a:defRPr>
            </a:lvl3pPr>
            <a:lvl4pPr algn="ctr">
              <a:defRPr sz="1579">
                <a:solidFill>
                  <a:schemeClr val="bg1"/>
                </a:solidFill>
              </a:defRPr>
            </a:lvl4pPr>
            <a:lvl5pPr algn="ctr">
              <a:defRPr sz="1579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B0893C6-87C9-7F41-B621-3BE80FDFE46D}" type="datetime3">
              <a:t>08.06.2023</a:t>
            </a:fld>
            <a:endParaRPr lang="da-DK" dirty="0"/>
          </a:p>
        </p:txBody>
      </p:sp>
      <p:sp>
        <p:nvSpPr>
          <p:cNvPr id="11" name="Pladsholder til billede 3">
            <a:extLst>
              <a:ext uri="{FF2B5EF4-FFF2-40B4-BE49-F238E27FC236}">
                <a16:creationId xmlns:a16="http://schemas.microsoft.com/office/drawing/2014/main" id="{E0700900-EA42-9240-82A1-A3E92F01B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C06FFD9D-DB0A-2E49-8AA3-80E9DC64473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425A97FC-E0D2-714A-BD6F-6A5564969C2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1405339425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34"/>
            <a:ext cx="12192000" cy="608171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340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75" y="3645025"/>
            <a:ext cx="3240844" cy="2436691"/>
          </a:xfrm>
        </p:spPr>
        <p:txBody>
          <a:bodyPr anchor="t" anchorCtr="0"/>
          <a:lstStyle>
            <a:lvl1pPr algn="ctr">
              <a:defRPr sz="1579">
                <a:solidFill>
                  <a:schemeClr val="bg1"/>
                </a:solidFill>
              </a:defRPr>
            </a:lvl1pPr>
            <a:lvl2pPr algn="ctr">
              <a:defRPr sz="1579">
                <a:solidFill>
                  <a:schemeClr val="bg1"/>
                </a:solidFill>
              </a:defRPr>
            </a:lvl2pPr>
            <a:lvl3pPr algn="ctr">
              <a:defRPr sz="1579">
                <a:solidFill>
                  <a:schemeClr val="bg1"/>
                </a:solidFill>
              </a:defRPr>
            </a:lvl3pPr>
            <a:lvl4pPr algn="ctr">
              <a:defRPr sz="1579">
                <a:solidFill>
                  <a:schemeClr val="bg1"/>
                </a:solidFill>
              </a:defRPr>
            </a:lvl4pPr>
            <a:lvl5pPr algn="ctr">
              <a:defRPr sz="1579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29" y="3645024"/>
            <a:ext cx="3240844" cy="2436691"/>
          </a:xfrm>
        </p:spPr>
        <p:txBody>
          <a:bodyPr anchor="t" anchorCtr="0"/>
          <a:lstStyle>
            <a:lvl1pPr algn="ctr">
              <a:defRPr sz="1579">
                <a:solidFill>
                  <a:schemeClr val="bg1"/>
                </a:solidFill>
              </a:defRPr>
            </a:lvl1pPr>
            <a:lvl2pPr algn="ctr">
              <a:defRPr sz="1579">
                <a:solidFill>
                  <a:schemeClr val="bg1"/>
                </a:solidFill>
              </a:defRPr>
            </a:lvl2pPr>
            <a:lvl3pPr algn="ctr">
              <a:defRPr sz="1579">
                <a:solidFill>
                  <a:schemeClr val="bg1"/>
                </a:solidFill>
              </a:defRPr>
            </a:lvl3pPr>
            <a:lvl4pPr algn="ctr">
              <a:defRPr sz="1579">
                <a:solidFill>
                  <a:schemeClr val="bg1"/>
                </a:solidFill>
              </a:defRPr>
            </a:lvl4pPr>
            <a:lvl5pPr algn="ctr">
              <a:defRPr sz="1579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95" y="3645024"/>
            <a:ext cx="3240844" cy="2436691"/>
          </a:xfrm>
        </p:spPr>
        <p:txBody>
          <a:bodyPr anchor="t" anchorCtr="0"/>
          <a:lstStyle>
            <a:lvl1pPr algn="ctr">
              <a:defRPr sz="1579">
                <a:solidFill>
                  <a:schemeClr val="bg1"/>
                </a:solidFill>
              </a:defRPr>
            </a:lvl1pPr>
            <a:lvl2pPr algn="ctr">
              <a:defRPr sz="1579">
                <a:solidFill>
                  <a:schemeClr val="bg1"/>
                </a:solidFill>
              </a:defRPr>
            </a:lvl2pPr>
            <a:lvl3pPr algn="ctr">
              <a:defRPr sz="1579">
                <a:solidFill>
                  <a:schemeClr val="bg1"/>
                </a:solidFill>
              </a:defRPr>
            </a:lvl3pPr>
            <a:lvl4pPr algn="ctr">
              <a:defRPr sz="1579">
                <a:solidFill>
                  <a:schemeClr val="bg1"/>
                </a:solidFill>
              </a:defRPr>
            </a:lvl4pPr>
            <a:lvl5pPr algn="ctr">
              <a:defRPr sz="1579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B0893C6-87C9-7F41-B621-3BE80FDFE46D}" type="datetime3">
              <a:t>08.06.2023</a:t>
            </a:fld>
            <a:endParaRPr lang="da-DK" dirty="0"/>
          </a:p>
        </p:txBody>
      </p:sp>
      <p:sp>
        <p:nvSpPr>
          <p:cNvPr id="11" name="Pladsholder til billede 3">
            <a:extLst>
              <a:ext uri="{FF2B5EF4-FFF2-40B4-BE49-F238E27FC236}">
                <a16:creationId xmlns:a16="http://schemas.microsoft.com/office/drawing/2014/main" id="{E0700900-EA42-9240-82A1-A3E92F01B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C06FFD9D-DB0A-2E49-8AA3-80E9DC64473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425A97FC-E0D2-714A-BD6F-6A5564969C2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1381496552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B5CEAD66-5979-CB42-BDA1-48A3ABB5B93E}"/>
              </a:ext>
            </a:extLst>
          </p:cNvPr>
          <p:cNvSpPr/>
          <p:nvPr userDrawn="1"/>
        </p:nvSpPr>
        <p:spPr>
          <a:xfrm>
            <a:off x="0" y="34"/>
            <a:ext cx="12192000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340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75" y="3645025"/>
            <a:ext cx="3240844" cy="2436691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29" y="3645024"/>
            <a:ext cx="3240844" cy="2436691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95" y="3645024"/>
            <a:ext cx="3240844" cy="2436691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08CA1D-70A7-A240-8844-C946C6445AB0}" type="datetime3">
              <a:t>08.06.2023</a:t>
            </a:fld>
            <a:endParaRPr lang="da-DK" dirty="0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4C31B2DC-2512-6945-A2FF-C091351FA53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E0862E28-9EF0-F041-A943-357CA9977BB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7" name="Pladsholder til billede 3">
            <a:extLst>
              <a:ext uri="{FF2B5EF4-FFF2-40B4-BE49-F238E27FC236}">
                <a16:creationId xmlns:a16="http://schemas.microsoft.com/office/drawing/2014/main" id="{33E1156E-39E4-CB4A-819D-9293C065C5E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413673892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C25E9A2-3CD6-B841-BB4B-7865D9175DAE}" type="datetime3">
              <a:t>08.06.2023</a:t>
            </a:fld>
            <a:endParaRPr lang="da-DK" dirty="0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73" y="1557867"/>
            <a:ext cx="5084500" cy="4523847"/>
          </a:xfrm>
          <a:noFill/>
        </p:spPr>
        <p:txBody>
          <a:bodyPr vert="horz" lIns="0" tIns="612000" anchor="ctr" anchorCtr="0"/>
          <a:lstStyle>
            <a:lvl1pPr algn="ctr"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5" y="779463"/>
            <a:ext cx="5083857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B8B704C-C3C0-104D-B9FE-A0C35400DC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50" y="778933"/>
            <a:ext cx="5084233" cy="467784"/>
          </a:xfrm>
        </p:spPr>
        <p:txBody>
          <a:bodyPr/>
          <a:lstStyle>
            <a:lvl1pPr algn="r">
              <a:defRPr sz="1323"/>
            </a:lvl1pPr>
            <a:lvl2pPr algn="r">
              <a:defRPr sz="1323"/>
            </a:lvl2pPr>
            <a:lvl3pPr algn="r">
              <a:defRPr sz="1323"/>
            </a:lvl3pPr>
            <a:lvl4pPr algn="r">
              <a:defRPr sz="1323"/>
            </a:lvl4pPr>
            <a:lvl5pPr algn="r">
              <a:defRPr sz="132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4284202775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340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73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5" y="779463"/>
            <a:ext cx="5083857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C89AC91-4FCC-EF49-BA41-9CB46A9F1DD9}" type="datetime3">
              <a:t>08.06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50" y="778933"/>
            <a:ext cx="5084233" cy="467784"/>
          </a:xfrm>
        </p:spPr>
        <p:txBody>
          <a:bodyPr/>
          <a:lstStyle>
            <a:lvl1pPr algn="r">
              <a:defRPr sz="1323">
                <a:solidFill>
                  <a:schemeClr val="bg1"/>
                </a:solidFill>
              </a:defRPr>
            </a:lvl1pPr>
            <a:lvl2pPr algn="r">
              <a:defRPr sz="1323">
                <a:solidFill>
                  <a:schemeClr val="bg1"/>
                </a:solidFill>
              </a:defRPr>
            </a:lvl2pPr>
            <a:lvl3pPr algn="r">
              <a:defRPr sz="1323">
                <a:solidFill>
                  <a:schemeClr val="bg1"/>
                </a:solidFill>
              </a:defRPr>
            </a:lvl3pPr>
            <a:lvl4pPr algn="r">
              <a:defRPr sz="1323">
                <a:solidFill>
                  <a:schemeClr val="bg1"/>
                </a:solidFill>
              </a:defRPr>
            </a:lvl4pPr>
            <a:lvl5pPr algn="r"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005301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340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73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5" y="779463"/>
            <a:ext cx="5083857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C89AC91-4FCC-EF49-BA41-9CB46A9F1DD9}" type="datetime3">
              <a:t>08.06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50" y="778933"/>
            <a:ext cx="5084233" cy="467784"/>
          </a:xfrm>
        </p:spPr>
        <p:txBody>
          <a:bodyPr/>
          <a:lstStyle>
            <a:lvl1pPr algn="r">
              <a:defRPr sz="1323">
                <a:solidFill>
                  <a:schemeClr val="bg1"/>
                </a:solidFill>
              </a:defRPr>
            </a:lvl1pPr>
            <a:lvl2pPr algn="r">
              <a:defRPr sz="1323">
                <a:solidFill>
                  <a:schemeClr val="bg1"/>
                </a:solidFill>
              </a:defRPr>
            </a:lvl2pPr>
            <a:lvl3pPr algn="r">
              <a:defRPr sz="1323">
                <a:solidFill>
                  <a:schemeClr val="bg1"/>
                </a:solidFill>
              </a:defRPr>
            </a:lvl3pPr>
            <a:lvl4pPr algn="r">
              <a:defRPr sz="1323">
                <a:solidFill>
                  <a:schemeClr val="bg1"/>
                </a:solidFill>
              </a:defRPr>
            </a:lvl4pPr>
            <a:lvl5pPr algn="r"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4541907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337127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48470327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340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73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8D264B-0937-A140-ABAC-40D682193E49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6883171-03D4-FA47-9204-9F3A686B1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763EDBD3-33CC-B34A-8855-2882F1E498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50" y="778933"/>
            <a:ext cx="5084233" cy="467784"/>
          </a:xfrm>
        </p:spPr>
        <p:txBody>
          <a:bodyPr/>
          <a:lstStyle>
            <a:lvl1pPr algn="r">
              <a:defRPr sz="1323"/>
            </a:lvl1pPr>
            <a:lvl2pPr algn="r">
              <a:defRPr sz="1323"/>
            </a:lvl2pPr>
            <a:lvl3pPr algn="r">
              <a:defRPr sz="1323"/>
            </a:lvl3pPr>
            <a:lvl4pPr algn="r">
              <a:defRPr sz="1323"/>
            </a:lvl4pPr>
            <a:lvl5pPr algn="r">
              <a:defRPr sz="132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0656362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C25E9A2-3CD6-B841-BB4B-7865D9175DAE}" type="datetime3">
              <a:t>08.06.2023</a:t>
            </a:fld>
            <a:endParaRPr lang="da-DK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5" y="779463"/>
            <a:ext cx="5804145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iagram 2">
            <a:extLst>
              <a:ext uri="{FF2B5EF4-FFF2-40B4-BE49-F238E27FC236}">
                <a16:creationId xmlns:a16="http://schemas.microsoft.com/office/drawing/2014/main" id="{DE19A8A7-F159-AA41-A318-2F1E24433A73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49834" y="1557867"/>
            <a:ext cx="10890249" cy="4523317"/>
          </a:xfrm>
        </p:spPr>
        <p:txBody>
          <a:bodyPr/>
          <a:lstStyle>
            <a:lvl1pPr marL="0" marR="0" indent="0" algn="l" defTabSz="904161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04161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t diagram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725C3BD1-93AB-E34D-89B2-48C316ECDA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50" y="778933"/>
            <a:ext cx="5084233" cy="467784"/>
          </a:xfrm>
        </p:spPr>
        <p:txBody>
          <a:bodyPr/>
          <a:lstStyle>
            <a:lvl1pPr algn="r">
              <a:defRPr sz="1323"/>
            </a:lvl1pPr>
            <a:lvl2pPr algn="r">
              <a:defRPr sz="1323"/>
            </a:lvl2pPr>
            <a:lvl3pPr algn="r">
              <a:defRPr sz="1323"/>
            </a:lvl3pPr>
            <a:lvl4pPr algn="r">
              <a:defRPr sz="1323"/>
            </a:lvl4pPr>
            <a:lvl5pPr algn="r">
              <a:defRPr sz="132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542305058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149D3B-849F-0A4D-A824-3A8042197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080C5317-E351-3E4F-910E-18F821FD9BAC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/>
        <p:txBody>
          <a:bodyPr/>
          <a:lstStyle>
            <a:lvl1pPr marL="0" marR="0" indent="0" algn="l" defTabSz="904161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04161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54890635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3" y="779462"/>
            <a:ext cx="10889269" cy="5302251"/>
          </a:xfrm>
        </p:spPr>
        <p:txBody>
          <a:bodyPr anchor="ctr"/>
          <a:lstStyle>
            <a:lvl1pPr algn="ctr">
              <a:defRPr sz="5936">
                <a:solidFill>
                  <a:schemeClr val="bg2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87149963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6BF9ADF-5782-FA46-A09C-46A4864FF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50860280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370101" y="2322504"/>
            <a:ext cx="7821900" cy="2211293"/>
          </a:xfrm>
          <a:prstGeom prst="rect">
            <a:avLst/>
          </a:prstGeom>
          <a:solidFill>
            <a:srgbClr val="41517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78416" y="2330971"/>
            <a:ext cx="3024440" cy="220398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370099" y="2356493"/>
            <a:ext cx="7821900" cy="1089939"/>
          </a:xfrm>
          <a:prstGeom prst="rect">
            <a:avLst/>
          </a:prstGeom>
          <a:noFill/>
        </p:spPr>
        <p:txBody>
          <a:bodyPr lIns="108000" anchor="b">
            <a:normAutofit/>
          </a:bodyPr>
          <a:lstStyle>
            <a:lvl1pPr algn="l">
              <a:defRPr sz="3200" cap="all" baseline="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370100" y="4133725"/>
            <a:ext cx="7404712" cy="408392"/>
          </a:xfrm>
          <a:prstGeom prst="rect">
            <a:avLst/>
          </a:prstGeom>
        </p:spPr>
        <p:txBody>
          <a:bodyPr lIns="108000">
            <a:normAutofit/>
          </a:bodyPr>
          <a:lstStyle>
            <a:lvl1pPr marL="0" indent="0" algn="l">
              <a:buNone/>
              <a:defRPr sz="1333" cap="none" baseline="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Click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sub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917" y="3446432"/>
            <a:ext cx="7821083" cy="687293"/>
          </a:xfrm>
          <a:prstGeom prst="rect">
            <a:avLst/>
          </a:prstGeom>
        </p:spPr>
        <p:txBody>
          <a:bodyPr lIns="108000">
            <a:normAutofit/>
          </a:bodyPr>
          <a:lstStyle>
            <a:lvl1pPr>
              <a:defRPr sz="1867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902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400" y="2323200"/>
            <a:ext cx="7824000" cy="2218493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78416" y="2330971"/>
            <a:ext cx="3024440" cy="220398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370099" y="2356493"/>
            <a:ext cx="7821900" cy="1089939"/>
          </a:xfrm>
          <a:prstGeom prst="rect">
            <a:avLst/>
          </a:prstGeom>
          <a:noFill/>
        </p:spPr>
        <p:txBody>
          <a:bodyPr lIns="108000" anchor="b">
            <a:normAutofit/>
          </a:bodyPr>
          <a:lstStyle>
            <a:lvl1pPr algn="l">
              <a:defRPr sz="3200" cap="all" baseline="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4370100" y="4133725"/>
            <a:ext cx="7404712" cy="408392"/>
          </a:xfrm>
          <a:prstGeom prst="rect">
            <a:avLst/>
          </a:prstGeom>
        </p:spPr>
        <p:txBody>
          <a:bodyPr lIns="108000">
            <a:normAutofit/>
          </a:bodyPr>
          <a:lstStyle>
            <a:lvl1pPr marL="0" indent="0" algn="l">
              <a:buNone/>
              <a:defRPr sz="1333" cap="none" baseline="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Click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sub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917" y="3446432"/>
            <a:ext cx="7821083" cy="687293"/>
          </a:xfrm>
          <a:prstGeom prst="rect">
            <a:avLst/>
          </a:prstGeom>
        </p:spPr>
        <p:txBody>
          <a:bodyPr lIns="108000">
            <a:normAutofit/>
          </a:bodyPr>
          <a:lstStyle>
            <a:lvl1pPr>
              <a:defRPr sz="1867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349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82650" y="482600"/>
            <a:ext cx="11207012" cy="5878912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50" y="1919999"/>
            <a:ext cx="11233929" cy="4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82650" y="422461"/>
            <a:ext cx="10276668" cy="1200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cap="all" baseline="0"/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9448" y="6147716"/>
            <a:ext cx="957131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Pladsholder til tekst 8"/>
          <p:cNvSpPr>
            <a:spLocks noGrp="1"/>
          </p:cNvSpPr>
          <p:nvPr>
            <p:ph type="body" sz="quarter" idx="10" hasCustomPrompt="1"/>
          </p:nvPr>
        </p:nvSpPr>
        <p:spPr>
          <a:xfrm>
            <a:off x="2684733" y="6147717"/>
            <a:ext cx="797772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Doc. </a:t>
            </a:r>
            <a:r>
              <a:rPr lang="da-DK" dirty="0" err="1"/>
              <a:t>no</a:t>
            </a:r>
            <a:endParaRPr lang="da-DK" dirty="0"/>
          </a:p>
        </p:txBody>
      </p:sp>
      <p:sp>
        <p:nvSpPr>
          <p:cNvPr id="17" name="Pladsholder til tekst 8"/>
          <p:cNvSpPr>
            <a:spLocks noGrp="1"/>
          </p:cNvSpPr>
          <p:nvPr>
            <p:ph type="body" sz="quarter" idx="12" hasCustomPrompt="1"/>
          </p:nvPr>
        </p:nvSpPr>
        <p:spPr>
          <a:xfrm>
            <a:off x="2005001" y="6147717"/>
            <a:ext cx="671264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ID: </a:t>
            </a:r>
          </a:p>
        </p:txBody>
      </p:sp>
      <p:sp>
        <p:nvSpPr>
          <p:cNvPr id="18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143627" y="6147717"/>
            <a:ext cx="861375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Date:</a:t>
            </a:r>
          </a:p>
        </p:txBody>
      </p:sp>
    </p:spTree>
    <p:extLst>
      <p:ext uri="{BB962C8B-B14F-4D97-AF65-F5344CB8AC3E}">
        <p14:creationId xmlns:p14="http://schemas.microsoft.com/office/powerpoint/2010/main" val="2725011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2845">
          <p15:clr>
            <a:srgbClr val="FBAE40"/>
          </p15:clr>
        </p15:guide>
        <p15:guide id="3" orient="horz" pos="894">
          <p15:clr>
            <a:srgbClr val="FBAE40"/>
          </p15:clr>
        </p15:guide>
        <p15:guide id="4" pos="2880">
          <p15:clr>
            <a:srgbClr val="FBAE40"/>
          </p15:clr>
        </p15:guide>
        <p15:guide id="5" pos="226">
          <p15:clr>
            <a:srgbClr val="FBAE40"/>
          </p15:clr>
        </p15:guide>
        <p15:guide id="6" pos="5534">
          <p15:clr>
            <a:srgbClr val="FBAE40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dsholder til indhold 2"/>
          <p:cNvSpPr>
            <a:spLocks noGrp="1"/>
          </p:cNvSpPr>
          <p:nvPr>
            <p:ph idx="14" hasCustomPrompt="1"/>
          </p:nvPr>
        </p:nvSpPr>
        <p:spPr>
          <a:xfrm>
            <a:off x="912000" y="1745999"/>
            <a:ext cx="4608000" cy="4208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12000" y="1038227"/>
            <a:ext cx="9792000" cy="419863"/>
          </a:xfrm>
          <a:prstGeom prst="rect">
            <a:avLst/>
          </a:prstGeom>
        </p:spPr>
        <p:txBody>
          <a:bodyPr/>
          <a:lstStyle/>
          <a:p>
            <a:r>
              <a:rPr lang="da-DK" dirty="0"/>
              <a:t>Klik og indsæt overskrift</a:t>
            </a:r>
          </a:p>
        </p:txBody>
      </p:sp>
      <p:sp>
        <p:nvSpPr>
          <p:cNvPr id="8" name="Pladsholder til indhold 3"/>
          <p:cNvSpPr>
            <a:spLocks noGrp="1"/>
          </p:cNvSpPr>
          <p:nvPr>
            <p:ph idx="13" hasCustomPrompt="1"/>
          </p:nvPr>
        </p:nvSpPr>
        <p:spPr>
          <a:xfrm>
            <a:off x="6097381" y="1745999"/>
            <a:ext cx="4608000" cy="4208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64800" y="6480002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5587200" y="6480002"/>
            <a:ext cx="1468907" cy="365125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10944539" y="6480002"/>
            <a:ext cx="637861" cy="365125"/>
          </a:xfrm>
          <a:prstGeom prst="rect">
            <a:avLst/>
          </a:prstGeom>
        </p:spPr>
        <p:txBody>
          <a:bodyPr/>
          <a:lstStyle/>
          <a:p>
            <a:fld id="{667EC89C-17A0-4E64-A6D2-B825673CEEDF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2336000" y="0"/>
            <a:ext cx="2400000" cy="59093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6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endParaRPr lang="da-DK" sz="16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en kort og enkel overskrift.</a:t>
            </a:r>
          </a:p>
          <a:p>
            <a:pPr rtl="0"/>
            <a:endParaRPr lang="da-DK" sz="16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n kombination af tekst og billeder/diagrammer eller faktabokse gør præsentationen mere dynamisk.</a:t>
            </a:r>
          </a:p>
          <a:p>
            <a:pPr rtl="0"/>
            <a:endParaRPr lang="da-DK" sz="16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de foruddefinerede Energinet.dk farver i </a:t>
            </a: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tedet for standardfarver.</a:t>
            </a:r>
          </a:p>
          <a:p>
            <a:pPr rtl="0"/>
            <a:endParaRPr lang="da-DK" sz="16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gå for mange effekter.</a:t>
            </a:r>
          </a:p>
          <a:p>
            <a:pPr rtl="0"/>
            <a:endParaRPr lang="da-DK" sz="16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u kan finde billeder og grafiske elementer i Energinet.dk’s billeddatabase (</a:t>
            </a:r>
            <a:r>
              <a:rPr lang="da-DK" sz="16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umulus</a:t>
            </a:r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) på </a:t>
            </a:r>
            <a:r>
              <a:rPr lang="da-DK" sz="16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Site</a:t>
            </a:r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under Værktøjer – Kommunikation</a:t>
            </a:r>
          </a:p>
        </p:txBody>
      </p:sp>
    </p:spTree>
    <p:extLst>
      <p:ext uri="{BB962C8B-B14F-4D97-AF65-F5344CB8AC3E}">
        <p14:creationId xmlns:p14="http://schemas.microsoft.com/office/powerpoint/2010/main" val="407739129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tytułowy">
    <p:bg>
      <p:bgPr>
        <a:solidFill>
          <a:srgbClr val="F8F8F8">
            <a:alpha val="73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az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8" y="2627"/>
            <a:ext cx="12184092" cy="6852745"/>
          </a:xfrm>
          <a:prstGeom prst="rect">
            <a:avLst/>
          </a:prstGeom>
        </p:spPr>
      </p:pic>
      <p:sp>
        <p:nvSpPr>
          <p:cNvPr id="12" name="Prostokąt 11"/>
          <p:cNvSpPr/>
          <p:nvPr userDrawn="1"/>
        </p:nvSpPr>
        <p:spPr>
          <a:xfrm>
            <a:off x="-24680" y="1268760"/>
            <a:ext cx="12216680" cy="504056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ytuł 1"/>
          <p:cNvSpPr>
            <a:spLocks noGrp="1"/>
          </p:cNvSpPr>
          <p:nvPr>
            <p:ph type="ctrTitle" hasCustomPrompt="1"/>
          </p:nvPr>
        </p:nvSpPr>
        <p:spPr>
          <a:xfrm>
            <a:off x="1524000" y="2005980"/>
            <a:ext cx="9144000" cy="1089075"/>
          </a:xfrm>
        </p:spPr>
        <p:txBody>
          <a:bodyPr anchor="b">
            <a:normAutofit/>
          </a:bodyPr>
          <a:lstStyle>
            <a:lvl1pPr algn="ctr">
              <a:defRPr sz="3000" b="1" cap="all" spc="80" baseline="0">
                <a:solidFill>
                  <a:schemeClr val="accent3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292897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 cap="none" spc="220" baseline="0">
                <a:solidFill>
                  <a:srgbClr val="FF5D23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dirty="0"/>
              <a:t>KLIKNIJ, ABY EDYTOWAĆ STYL WZORCA PODTYTUŁU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889206-0902-43F0-936A-5E64CC8CDDA7}" type="slidenum">
              <a:rPr lang="pl-PL" smtClean="0"/>
              <a:t>‹#›</a:t>
            </a:fld>
            <a:endParaRPr lang="pl-PL"/>
          </a:p>
        </p:txBody>
      </p:sp>
      <p:grpSp>
        <p:nvGrpSpPr>
          <p:cNvPr id="20" name="Grupa 19"/>
          <p:cNvGrpSpPr/>
          <p:nvPr userDrawn="1"/>
        </p:nvGrpSpPr>
        <p:grpSpPr>
          <a:xfrm>
            <a:off x="4589107" y="4877354"/>
            <a:ext cx="2593975" cy="1006476"/>
            <a:chOff x="1503363" y="4875628"/>
            <a:chExt cx="2593975" cy="1006476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19067761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487069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799147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6531253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ajd tytułowy">
    <p:bg>
      <p:bgPr>
        <a:solidFill>
          <a:srgbClr val="F8F8F8">
            <a:alpha val="73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Obraz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rostokąt 11"/>
          <p:cNvSpPr/>
          <p:nvPr userDrawn="1"/>
        </p:nvSpPr>
        <p:spPr>
          <a:xfrm>
            <a:off x="-24680" y="1268760"/>
            <a:ext cx="12216680" cy="504056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ytuł 1"/>
          <p:cNvSpPr>
            <a:spLocks noGrp="1"/>
          </p:cNvSpPr>
          <p:nvPr>
            <p:ph type="ctrTitle" hasCustomPrompt="1"/>
          </p:nvPr>
        </p:nvSpPr>
        <p:spPr>
          <a:xfrm>
            <a:off x="1524000" y="2005980"/>
            <a:ext cx="9144000" cy="1089075"/>
          </a:xfrm>
        </p:spPr>
        <p:txBody>
          <a:bodyPr anchor="b">
            <a:normAutofit/>
          </a:bodyPr>
          <a:lstStyle>
            <a:lvl1pPr algn="ctr">
              <a:defRPr sz="3000" b="1" cap="all" spc="220" baseline="0">
                <a:solidFill>
                  <a:schemeClr val="accent3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292897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 cap="none" spc="220" baseline="0">
                <a:solidFill>
                  <a:srgbClr val="FF5D23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dirty="0"/>
              <a:t>KLIKNIJ, ABY EDYTOWAĆ STYL WZORCA PODTYTUŁU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889206-0902-43F0-936A-5E64CC8CDDA7}" type="slidenum">
              <a:rPr lang="pl-PL" smtClean="0"/>
              <a:t>‹#›</a:t>
            </a:fld>
            <a:endParaRPr lang="pl-PL"/>
          </a:p>
        </p:txBody>
      </p:sp>
      <p:grpSp>
        <p:nvGrpSpPr>
          <p:cNvPr id="20" name="Grupa 19"/>
          <p:cNvGrpSpPr/>
          <p:nvPr userDrawn="1"/>
        </p:nvGrpSpPr>
        <p:grpSpPr>
          <a:xfrm>
            <a:off x="4589107" y="4877354"/>
            <a:ext cx="2593975" cy="1006476"/>
            <a:chOff x="1503363" y="4875628"/>
            <a:chExt cx="2593975" cy="1006476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921656577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2"/>
          <p:cNvSpPr>
            <a:spLocks noGrp="1"/>
          </p:cNvSpPr>
          <p:nvPr>
            <p:ph type="title" hasCustomPrompt="1"/>
          </p:nvPr>
        </p:nvSpPr>
        <p:spPr>
          <a:xfrm>
            <a:off x="0" y="260648"/>
            <a:ext cx="12192000" cy="899665"/>
          </a:xfrm>
        </p:spPr>
        <p:txBody>
          <a:bodyPr/>
          <a:lstStyle>
            <a:lvl1pPr algn="ctr">
              <a:defRPr lang="pl-PL" sz="2206" b="1" kern="1200" cap="all" spc="221" dirty="0">
                <a:ln w="3175">
                  <a:noFill/>
                </a:ln>
                <a:solidFill>
                  <a:srgbClr val="505050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  <a:br>
              <a:rPr lang="pl-PL" dirty="0"/>
            </a:br>
            <a:endParaRPr lang="pl-PL" dirty="0"/>
          </a:p>
        </p:txBody>
      </p:sp>
      <p:pic>
        <p:nvPicPr>
          <p:cNvPr id="8" name="Obraz 7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600" b="27966"/>
          <a:stretch/>
        </p:blipFill>
        <p:spPr>
          <a:xfrm>
            <a:off x="0" y="6381328"/>
            <a:ext cx="12192000" cy="492968"/>
          </a:xfrm>
          <a:prstGeom prst="rect">
            <a:avLst/>
          </a:prstGeom>
        </p:spPr>
      </p:pic>
      <p:cxnSp>
        <p:nvCxnSpPr>
          <p:cNvPr id="9" name="Łącznik prosty 8"/>
          <p:cNvCxnSpPr/>
          <p:nvPr userDrawn="1"/>
        </p:nvCxnSpPr>
        <p:spPr>
          <a:xfrm>
            <a:off x="2423592" y="6381328"/>
            <a:ext cx="9145016" cy="0"/>
          </a:xfrm>
          <a:prstGeom prst="line">
            <a:avLst/>
          </a:prstGeom>
          <a:ln w="28575">
            <a:solidFill>
              <a:srgbClr val="FF5D2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upa 9"/>
          <p:cNvGrpSpPr/>
          <p:nvPr userDrawn="1"/>
        </p:nvGrpSpPr>
        <p:grpSpPr>
          <a:xfrm>
            <a:off x="263494" y="5861153"/>
            <a:ext cx="1938941" cy="752319"/>
            <a:chOff x="1503363" y="4875628"/>
            <a:chExt cx="2593975" cy="1006476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  <p:sp>
        <p:nvSpPr>
          <p:cNvPr id="17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7" y="1540527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19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452684"/>
            <a:ext cx="5157786" cy="341630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216117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2"/>
          <p:cNvSpPr>
            <a:spLocks noGrp="1"/>
          </p:cNvSpPr>
          <p:nvPr>
            <p:ph type="title" hasCustomPrompt="1"/>
          </p:nvPr>
        </p:nvSpPr>
        <p:spPr>
          <a:xfrm>
            <a:off x="0" y="260648"/>
            <a:ext cx="12192000" cy="899665"/>
          </a:xfrm>
        </p:spPr>
        <p:txBody>
          <a:bodyPr/>
          <a:lstStyle>
            <a:lvl1pPr algn="ctr">
              <a:defRPr lang="pl-PL" sz="2206" b="1" kern="1200" cap="all" spc="221" dirty="0">
                <a:ln w="3175">
                  <a:noFill/>
                </a:ln>
                <a:solidFill>
                  <a:srgbClr val="505050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  <a:br>
              <a:rPr lang="pl-PL" dirty="0"/>
            </a:br>
            <a:endParaRPr lang="pl-PL" dirty="0"/>
          </a:p>
        </p:txBody>
      </p:sp>
      <p:cxnSp>
        <p:nvCxnSpPr>
          <p:cNvPr id="9" name="Łącznik prosty 8"/>
          <p:cNvCxnSpPr/>
          <p:nvPr userDrawn="1"/>
        </p:nvCxnSpPr>
        <p:spPr>
          <a:xfrm>
            <a:off x="2423592" y="6381328"/>
            <a:ext cx="9145016" cy="0"/>
          </a:xfrm>
          <a:prstGeom prst="line">
            <a:avLst/>
          </a:prstGeom>
          <a:ln w="28575">
            <a:solidFill>
              <a:srgbClr val="FF5D2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upa 9"/>
          <p:cNvGrpSpPr/>
          <p:nvPr userDrawn="1"/>
        </p:nvGrpSpPr>
        <p:grpSpPr>
          <a:xfrm>
            <a:off x="263494" y="5861153"/>
            <a:ext cx="1938941" cy="752319"/>
            <a:chOff x="1503363" y="4875628"/>
            <a:chExt cx="2593975" cy="1006476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  <p:sp>
        <p:nvSpPr>
          <p:cNvPr id="17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7" y="1540527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18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452684"/>
            <a:ext cx="5157786" cy="341630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64876797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2"/>
          <p:cNvSpPr>
            <a:spLocks noGrp="1"/>
          </p:cNvSpPr>
          <p:nvPr>
            <p:ph type="title" hasCustomPrompt="1"/>
          </p:nvPr>
        </p:nvSpPr>
        <p:spPr>
          <a:xfrm>
            <a:off x="0" y="260648"/>
            <a:ext cx="12192000" cy="899665"/>
          </a:xfrm>
        </p:spPr>
        <p:txBody>
          <a:bodyPr/>
          <a:lstStyle>
            <a:lvl1pPr algn="ctr">
              <a:defRPr lang="pl-PL" sz="2206" b="1" kern="1200" cap="all" spc="221" dirty="0">
                <a:ln w="3175">
                  <a:noFill/>
                </a:ln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  <a:br>
              <a:rPr lang="pl-PL" dirty="0"/>
            </a:br>
            <a:endParaRPr lang="pl-PL" dirty="0"/>
          </a:p>
        </p:txBody>
      </p:sp>
      <p:cxnSp>
        <p:nvCxnSpPr>
          <p:cNvPr id="6" name="Łącznik prosty 5"/>
          <p:cNvCxnSpPr/>
          <p:nvPr userDrawn="1"/>
        </p:nvCxnSpPr>
        <p:spPr>
          <a:xfrm>
            <a:off x="2423592" y="6381328"/>
            <a:ext cx="9145016" cy="0"/>
          </a:xfrm>
          <a:prstGeom prst="line">
            <a:avLst/>
          </a:prstGeom>
          <a:ln w="285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Obraz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1384" y="6021288"/>
            <a:ext cx="1647783" cy="398662"/>
          </a:xfrm>
          <a:prstGeom prst="rect">
            <a:avLst/>
          </a:prstGeom>
        </p:spPr>
      </p:pic>
      <p:sp>
        <p:nvSpPr>
          <p:cNvPr id="8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7" y="1540527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9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452684"/>
            <a:ext cx="5157786" cy="341630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917723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Układ niestandardow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2"/>
          <p:cNvSpPr>
            <a:spLocks noGrp="1"/>
          </p:cNvSpPr>
          <p:nvPr>
            <p:ph type="title" hasCustomPrompt="1"/>
          </p:nvPr>
        </p:nvSpPr>
        <p:spPr>
          <a:xfrm>
            <a:off x="0" y="260648"/>
            <a:ext cx="12192000" cy="899665"/>
          </a:xfrm>
        </p:spPr>
        <p:txBody>
          <a:bodyPr/>
          <a:lstStyle>
            <a:lvl1pPr algn="ctr">
              <a:defRPr lang="pl-PL" sz="2206" b="1" kern="1200" cap="all" spc="221" dirty="0">
                <a:ln w="3175">
                  <a:noFill/>
                </a:ln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  <a:br>
              <a:rPr lang="pl-PL" dirty="0"/>
            </a:br>
            <a:br>
              <a:rPr lang="pl-PL" dirty="0"/>
            </a:br>
            <a:endParaRPr lang="pl-PL" dirty="0"/>
          </a:p>
        </p:txBody>
      </p:sp>
      <p:cxnSp>
        <p:nvCxnSpPr>
          <p:cNvPr id="6" name="Łącznik prosty 5"/>
          <p:cNvCxnSpPr/>
          <p:nvPr userDrawn="1"/>
        </p:nvCxnSpPr>
        <p:spPr>
          <a:xfrm>
            <a:off x="2423592" y="6381328"/>
            <a:ext cx="9145016" cy="0"/>
          </a:xfrm>
          <a:prstGeom prst="line">
            <a:avLst/>
          </a:prstGeom>
          <a:ln w="285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Obraz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1384" y="6021288"/>
            <a:ext cx="1647783" cy="398662"/>
          </a:xfrm>
          <a:prstGeom prst="rect">
            <a:avLst/>
          </a:prstGeom>
        </p:spPr>
      </p:pic>
      <p:sp>
        <p:nvSpPr>
          <p:cNvPr id="8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7" y="1540527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9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452684"/>
            <a:ext cx="5157786" cy="341630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7842956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lajd tytułowy">
    <p:bg>
      <p:bgPr>
        <a:pattFill prst="pct5">
          <a:fgClr>
            <a:srgbClr val="F8F8F8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66"/>
            <a:ext cx="12192000" cy="6857193"/>
          </a:xfrm>
          <a:prstGeom prst="rect">
            <a:avLst/>
          </a:prstGeom>
        </p:spPr>
      </p:pic>
      <p:sp>
        <p:nvSpPr>
          <p:cNvPr id="12" name="Prostokąt 11"/>
          <p:cNvSpPr/>
          <p:nvPr userDrawn="1"/>
        </p:nvSpPr>
        <p:spPr>
          <a:xfrm>
            <a:off x="0" y="1268760"/>
            <a:ext cx="12191999" cy="5040560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3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983432" y="2853358"/>
            <a:ext cx="10297144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 cap="all" spc="220" baseline="0">
                <a:solidFill>
                  <a:schemeClr val="accent3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dirty="0"/>
              <a:t>Kliknij, aby edytować treść slajdu końcowego</a:t>
            </a:r>
          </a:p>
        </p:txBody>
      </p:sp>
      <p:grpSp>
        <p:nvGrpSpPr>
          <p:cNvPr id="7" name="Grupa 6"/>
          <p:cNvGrpSpPr/>
          <p:nvPr userDrawn="1"/>
        </p:nvGrpSpPr>
        <p:grpSpPr>
          <a:xfrm>
            <a:off x="4582145" y="4942804"/>
            <a:ext cx="2593975" cy="1006476"/>
            <a:chOff x="1503363" y="4875628"/>
            <a:chExt cx="2593975" cy="1006476"/>
          </a:xfrm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1105360836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Slajd tytułowy">
    <p:bg>
      <p:bgPr>
        <a:pattFill prst="pct5">
          <a:fgClr>
            <a:srgbClr val="F8F8F8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raz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2" name="Prostokąt 11"/>
          <p:cNvSpPr/>
          <p:nvPr userDrawn="1"/>
        </p:nvSpPr>
        <p:spPr>
          <a:xfrm>
            <a:off x="0" y="1268760"/>
            <a:ext cx="12191999" cy="5040560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grpSp>
        <p:nvGrpSpPr>
          <p:cNvPr id="7" name="Grupa 6"/>
          <p:cNvGrpSpPr/>
          <p:nvPr userDrawn="1"/>
        </p:nvGrpSpPr>
        <p:grpSpPr>
          <a:xfrm>
            <a:off x="4582145" y="4942804"/>
            <a:ext cx="2593975" cy="1006476"/>
            <a:chOff x="1503363" y="4875628"/>
            <a:chExt cx="2593975" cy="1006476"/>
          </a:xfrm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  <p:sp>
        <p:nvSpPr>
          <p:cNvPr id="16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839416" y="2853358"/>
            <a:ext cx="10513168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 cap="all" spc="220" baseline="0">
                <a:solidFill>
                  <a:schemeClr val="accent3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dirty="0"/>
              <a:t>Kliknij, aby edytować treść slajdu końcowego</a:t>
            </a:r>
          </a:p>
        </p:txBody>
      </p:sp>
    </p:spTree>
    <p:extLst>
      <p:ext uri="{BB962C8B-B14F-4D97-AF65-F5344CB8AC3E}">
        <p14:creationId xmlns:p14="http://schemas.microsoft.com/office/powerpoint/2010/main" val="2321149400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BFD31-7E89-4BB8-BA7D-04BFAF475A5B}" type="datetimeFigureOut">
              <a:rPr lang="pl-PL" smtClean="0"/>
              <a:t>08.06.2023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82107962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BFD31-7E89-4BB8-BA7D-04BFAF475A5B}" type="datetimeFigureOut">
              <a:rPr lang="pl-PL" smtClean="0"/>
              <a:t>08.06.2023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17189823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Symbol zastępczy daty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BFD31-7E89-4BB8-BA7D-04BFAF475A5B}" type="datetimeFigureOut">
              <a:rPr lang="pl-PL" smtClean="0"/>
              <a:t>08.06.2023</a:t>
            </a:fld>
            <a:endParaRPr lang="pl-PL"/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393988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7" y="1196975"/>
            <a:ext cx="4921739" cy="4959350"/>
          </a:xfrm>
          <a:solidFill>
            <a:schemeClr val="bg1">
              <a:lumMod val="95000"/>
            </a:schemeClr>
          </a:solidFill>
        </p:spPr>
        <p:txBody>
          <a:bodyPr tIns="108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Drag image to placeholder or </a:t>
            </a:r>
            <a:r>
              <a:rPr lang="da-DK" dirty="0" err="1"/>
              <a:t>click</a:t>
            </a:r>
            <a:r>
              <a:rPr lang="da-DK" dirty="0"/>
              <a:t> on the symbol </a:t>
            </a:r>
            <a:br>
              <a:rPr lang="da-DK" dirty="0"/>
            </a:br>
            <a:r>
              <a:rPr lang="da-DK" dirty="0"/>
              <a:t>to </a:t>
            </a:r>
            <a:r>
              <a:rPr lang="da-DK" dirty="0" err="1"/>
              <a:t>add</a:t>
            </a:r>
            <a:r>
              <a:rPr lang="da-DK" dirty="0"/>
              <a:t>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82663" y="1196975"/>
            <a:ext cx="4933337" cy="71913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insert headlin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4" y="2852739"/>
            <a:ext cx="4933336" cy="330358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/>
              <a:t>Click to insert body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4933337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</a:t>
            </a:r>
            <a:r>
              <a:rPr lang="en-GB" dirty="0"/>
              <a:t> subheading</a:t>
            </a:r>
          </a:p>
        </p:txBody>
      </p:sp>
      <p:sp>
        <p:nvSpPr>
          <p:cNvPr id="10" name="Date_DateCustomA">
            <a:extLst>
              <a:ext uri="{FF2B5EF4-FFF2-40B4-BE49-F238E27FC236}">
                <a16:creationId xmlns:a16="http://schemas.microsoft.com/office/drawing/2014/main" id="{9907BF0A-E66C-1F48-9FEF-B6B09E156D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FLD_PresentationTitle">
            <a:extLst>
              <a:ext uri="{FF2B5EF4-FFF2-40B4-BE49-F238E27FC236}">
                <a16:creationId xmlns:a16="http://schemas.microsoft.com/office/drawing/2014/main" id="{B4168E9F-E802-2241-930F-D065BBB2C1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4D9D5DC-5015-E94B-86F5-27F2DB0DB6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903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B56B0860-E2FC-4046-BE7C-E6EA1D3C7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86B7801-E3B9-8C49-9C6E-CA2439CD3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486B617-819F-D54A-871B-B63CD3758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4D1D345-D353-6F4A-A586-8E5CDA0F43FC}"/>
              </a:ext>
            </a:extLst>
          </p:cNvPr>
          <p:cNvSpPr/>
          <p:nvPr userDrawn="1"/>
        </p:nvSpPr>
        <p:spPr>
          <a:xfrm>
            <a:off x="949705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Pladsholder til tekst 15">
            <a:extLst>
              <a:ext uri="{FF2B5EF4-FFF2-40B4-BE49-F238E27FC236}">
                <a16:creationId xmlns:a16="http://schemas.microsoft.com/office/drawing/2014/main" id="{8E6A2F22-BEF4-6543-97DA-88F5BA3B8E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9705" y="2488040"/>
            <a:ext cx="4920028" cy="1405232"/>
          </a:xfrm>
        </p:spPr>
        <p:txBody>
          <a:bodyPr/>
          <a:lstStyle>
            <a:lvl1pPr algn="ctr">
              <a:defRPr sz="7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OGRAM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D815E82-1046-D241-BFCC-C6BAD16F7C90}"/>
              </a:ext>
            </a:extLst>
          </p:cNvPr>
          <p:cNvSpPr/>
          <p:nvPr userDrawn="1"/>
        </p:nvSpPr>
        <p:spPr>
          <a:xfrm>
            <a:off x="6181582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2" name="Pladsholder til tekst 13">
            <a:extLst>
              <a:ext uri="{FF2B5EF4-FFF2-40B4-BE49-F238E27FC236}">
                <a16:creationId xmlns:a16="http://schemas.microsoft.com/office/drawing/2014/main" id="{3F7C6172-494C-DD44-8F59-32C8484CFA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2152" y="2108027"/>
            <a:ext cx="3798888" cy="3101517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Tekst
Tekst 
Tekst 
 Tekst 
 Tekst</a:t>
            </a:r>
          </a:p>
          <a:p>
            <a:r>
              <a:rPr lang="da-DK" dirty="0"/>
              <a:t> Tekst</a:t>
            </a:r>
          </a:p>
          <a:p>
            <a:r>
              <a:rPr lang="da-DK" dirty="0"/>
              <a:t> Tekst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C036E63E-0936-6E48-B39F-028BB2CB9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158" y="3714967"/>
            <a:ext cx="2520372" cy="2398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328772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BFD31-7E89-4BB8-BA7D-04BFAF475A5B}" type="datetimeFigureOut">
              <a:rPr lang="pl-PL" smtClean="0"/>
              <a:t>08.06.2023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034152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BFD31-7E89-4BB8-BA7D-04BFAF475A5B}" type="datetimeFigureOut">
              <a:rPr lang="pl-PL" smtClean="0"/>
              <a:t>08.06.2023</a:t>
            </a:fld>
            <a:endParaRPr lang="pl-PL"/>
          </a:p>
        </p:txBody>
      </p:sp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04792598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BFD31-7E89-4BB8-BA7D-04BFAF475A5B}" type="datetimeFigureOut">
              <a:rPr lang="pl-PL" smtClean="0"/>
              <a:t>08.06.2023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3746102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BFD31-7E89-4BB8-BA7D-04BFAF475A5B}" type="datetimeFigureOut">
              <a:rPr lang="pl-PL" smtClean="0"/>
              <a:t>08.06.2023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4700660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BFD31-7E89-4BB8-BA7D-04BFAF475A5B}" type="datetimeFigureOut">
              <a:rPr lang="pl-PL" smtClean="0"/>
              <a:t>08.06.2023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23124600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BFD31-7E89-4BB8-BA7D-04BFAF475A5B}" type="datetimeFigureOut">
              <a:rPr lang="pl-PL" smtClean="0"/>
              <a:t>08.06.2023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7048260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tytułowy">
    <p:bg>
      <p:bgPr>
        <a:solidFill>
          <a:srgbClr val="F8F8F8">
            <a:alpha val="73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az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8" y="2627"/>
            <a:ext cx="12184092" cy="6852745"/>
          </a:xfrm>
          <a:prstGeom prst="rect">
            <a:avLst/>
          </a:prstGeom>
        </p:spPr>
      </p:pic>
      <p:sp>
        <p:nvSpPr>
          <p:cNvPr id="12" name="Prostokąt 11"/>
          <p:cNvSpPr/>
          <p:nvPr userDrawn="1"/>
        </p:nvSpPr>
        <p:spPr>
          <a:xfrm>
            <a:off x="-24680" y="1268760"/>
            <a:ext cx="12216680" cy="504056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ytuł 1"/>
          <p:cNvSpPr>
            <a:spLocks noGrp="1"/>
          </p:cNvSpPr>
          <p:nvPr>
            <p:ph type="ctrTitle" hasCustomPrompt="1"/>
          </p:nvPr>
        </p:nvSpPr>
        <p:spPr>
          <a:xfrm>
            <a:off x="1524000" y="2005980"/>
            <a:ext cx="9144000" cy="1089075"/>
          </a:xfrm>
        </p:spPr>
        <p:txBody>
          <a:bodyPr anchor="b">
            <a:normAutofit/>
          </a:bodyPr>
          <a:lstStyle>
            <a:lvl1pPr algn="ctr">
              <a:defRPr sz="3000" b="1" cap="all" spc="80" baseline="0">
                <a:solidFill>
                  <a:schemeClr val="accent3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292897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 cap="none" spc="220" baseline="0">
                <a:solidFill>
                  <a:srgbClr val="FF5D23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dirty="0"/>
              <a:t>KLIKNIJ, ABY EDYTOWAĆ STYL WZORCA PODTYTUŁU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889206-0902-43F0-936A-5E64CC8CDDA7}" type="slidenum">
              <a:rPr lang="pl-PL" smtClean="0"/>
              <a:t>‹#›</a:t>
            </a:fld>
            <a:endParaRPr lang="pl-PL"/>
          </a:p>
        </p:txBody>
      </p:sp>
      <p:grpSp>
        <p:nvGrpSpPr>
          <p:cNvPr id="20" name="Grupa 19"/>
          <p:cNvGrpSpPr/>
          <p:nvPr userDrawn="1"/>
        </p:nvGrpSpPr>
        <p:grpSpPr>
          <a:xfrm>
            <a:off x="4589107" y="4877354"/>
            <a:ext cx="2593975" cy="1006476"/>
            <a:chOff x="1503363" y="4875628"/>
            <a:chExt cx="2593975" cy="1006476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1813775272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ajd tytułowy">
    <p:bg>
      <p:bgPr>
        <a:solidFill>
          <a:srgbClr val="F8F8F8">
            <a:alpha val="73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Obraz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rostokąt 11"/>
          <p:cNvSpPr/>
          <p:nvPr userDrawn="1"/>
        </p:nvSpPr>
        <p:spPr>
          <a:xfrm>
            <a:off x="-24680" y="1268760"/>
            <a:ext cx="12216680" cy="504056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ytuł 1"/>
          <p:cNvSpPr>
            <a:spLocks noGrp="1"/>
          </p:cNvSpPr>
          <p:nvPr>
            <p:ph type="ctrTitle" hasCustomPrompt="1"/>
          </p:nvPr>
        </p:nvSpPr>
        <p:spPr>
          <a:xfrm>
            <a:off x="1524000" y="2005980"/>
            <a:ext cx="9144000" cy="1089075"/>
          </a:xfrm>
        </p:spPr>
        <p:txBody>
          <a:bodyPr anchor="b">
            <a:normAutofit/>
          </a:bodyPr>
          <a:lstStyle>
            <a:lvl1pPr algn="ctr">
              <a:defRPr sz="3000" b="1" cap="all" spc="220" baseline="0">
                <a:solidFill>
                  <a:schemeClr val="accent3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292897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 cap="none" spc="220" baseline="0">
                <a:solidFill>
                  <a:srgbClr val="FF5D23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dirty="0"/>
              <a:t>KLIKNIJ, ABY EDYTOWAĆ STYL WZORCA PODTYTUŁU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889206-0902-43F0-936A-5E64CC8CDDA7}" type="slidenum">
              <a:rPr lang="pl-PL" smtClean="0"/>
              <a:t>‹#›</a:t>
            </a:fld>
            <a:endParaRPr lang="pl-PL"/>
          </a:p>
        </p:txBody>
      </p:sp>
      <p:grpSp>
        <p:nvGrpSpPr>
          <p:cNvPr id="20" name="Grupa 19"/>
          <p:cNvGrpSpPr/>
          <p:nvPr userDrawn="1"/>
        </p:nvGrpSpPr>
        <p:grpSpPr>
          <a:xfrm>
            <a:off x="4589107" y="4877354"/>
            <a:ext cx="2593975" cy="1006476"/>
            <a:chOff x="1503363" y="4875628"/>
            <a:chExt cx="2593975" cy="1006476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19035753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2"/>
          <p:cNvSpPr>
            <a:spLocks noGrp="1"/>
          </p:cNvSpPr>
          <p:nvPr>
            <p:ph type="title" hasCustomPrompt="1"/>
          </p:nvPr>
        </p:nvSpPr>
        <p:spPr>
          <a:xfrm>
            <a:off x="0" y="260648"/>
            <a:ext cx="12192000" cy="899665"/>
          </a:xfrm>
        </p:spPr>
        <p:txBody>
          <a:bodyPr/>
          <a:lstStyle>
            <a:lvl1pPr algn="ctr">
              <a:defRPr lang="pl-PL" sz="2206" b="1" kern="1200" cap="all" spc="221" dirty="0">
                <a:ln w="3175">
                  <a:noFill/>
                </a:ln>
                <a:solidFill>
                  <a:srgbClr val="505050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  <a:br>
              <a:rPr lang="pl-PL" dirty="0"/>
            </a:br>
            <a:endParaRPr lang="pl-PL" dirty="0"/>
          </a:p>
        </p:txBody>
      </p:sp>
      <p:pic>
        <p:nvPicPr>
          <p:cNvPr id="8" name="Obraz 7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600" b="27966"/>
          <a:stretch/>
        </p:blipFill>
        <p:spPr>
          <a:xfrm>
            <a:off x="0" y="6381328"/>
            <a:ext cx="12192000" cy="492968"/>
          </a:xfrm>
          <a:prstGeom prst="rect">
            <a:avLst/>
          </a:prstGeom>
        </p:spPr>
      </p:pic>
      <p:cxnSp>
        <p:nvCxnSpPr>
          <p:cNvPr id="9" name="Łącznik prosty 8"/>
          <p:cNvCxnSpPr/>
          <p:nvPr userDrawn="1"/>
        </p:nvCxnSpPr>
        <p:spPr>
          <a:xfrm>
            <a:off x="2423592" y="6381328"/>
            <a:ext cx="9145016" cy="0"/>
          </a:xfrm>
          <a:prstGeom prst="line">
            <a:avLst/>
          </a:prstGeom>
          <a:ln w="28575">
            <a:solidFill>
              <a:srgbClr val="FF5D2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upa 9"/>
          <p:cNvGrpSpPr/>
          <p:nvPr userDrawn="1"/>
        </p:nvGrpSpPr>
        <p:grpSpPr>
          <a:xfrm>
            <a:off x="263494" y="5861153"/>
            <a:ext cx="1938941" cy="752319"/>
            <a:chOff x="1503363" y="4875628"/>
            <a:chExt cx="2593975" cy="1006476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  <p:sp>
        <p:nvSpPr>
          <p:cNvPr id="17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7" y="1540527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19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452684"/>
            <a:ext cx="5157786" cy="341630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9590107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2"/>
          <p:cNvSpPr>
            <a:spLocks noGrp="1"/>
          </p:cNvSpPr>
          <p:nvPr>
            <p:ph type="title" hasCustomPrompt="1"/>
          </p:nvPr>
        </p:nvSpPr>
        <p:spPr>
          <a:xfrm>
            <a:off x="0" y="260648"/>
            <a:ext cx="12192000" cy="899665"/>
          </a:xfrm>
        </p:spPr>
        <p:txBody>
          <a:bodyPr/>
          <a:lstStyle>
            <a:lvl1pPr algn="ctr">
              <a:defRPr lang="pl-PL" sz="2206" b="1" kern="1200" cap="all" spc="221" dirty="0">
                <a:ln w="3175">
                  <a:noFill/>
                </a:ln>
                <a:solidFill>
                  <a:srgbClr val="505050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  <a:br>
              <a:rPr lang="pl-PL" dirty="0"/>
            </a:br>
            <a:endParaRPr lang="pl-PL" dirty="0"/>
          </a:p>
        </p:txBody>
      </p:sp>
      <p:cxnSp>
        <p:nvCxnSpPr>
          <p:cNvPr id="9" name="Łącznik prosty 8"/>
          <p:cNvCxnSpPr/>
          <p:nvPr userDrawn="1"/>
        </p:nvCxnSpPr>
        <p:spPr>
          <a:xfrm>
            <a:off x="2423592" y="6381328"/>
            <a:ext cx="9145016" cy="0"/>
          </a:xfrm>
          <a:prstGeom prst="line">
            <a:avLst/>
          </a:prstGeom>
          <a:ln w="28575">
            <a:solidFill>
              <a:srgbClr val="FF5D2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upa 9"/>
          <p:cNvGrpSpPr/>
          <p:nvPr userDrawn="1"/>
        </p:nvGrpSpPr>
        <p:grpSpPr>
          <a:xfrm>
            <a:off x="263494" y="5861153"/>
            <a:ext cx="1938941" cy="752319"/>
            <a:chOff x="1503363" y="4875628"/>
            <a:chExt cx="2593975" cy="1006476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  <p:sp>
        <p:nvSpPr>
          <p:cNvPr id="17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7" y="1540527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18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452684"/>
            <a:ext cx="5157786" cy="341630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690603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em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8C022D2-711D-3B48-9664-6E97484392F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3AD1A35-4CCE-1C47-BAAC-A29B69D42F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6231" y="3780149"/>
            <a:ext cx="6232180" cy="1470041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5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 for nyt tema/emne</a:t>
            </a:r>
          </a:p>
        </p:txBody>
      </p:sp>
      <p:sp>
        <p:nvSpPr>
          <p:cNvPr id="11" name="Pladsholder til billede 21">
            <a:extLst>
              <a:ext uri="{FF2B5EF4-FFF2-40B4-BE49-F238E27FC236}">
                <a16:creationId xmlns:a16="http://schemas.microsoft.com/office/drawing/2014/main" id="{79C2A64C-C131-7147-B71D-EF7FA287183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61675" y="1580349"/>
            <a:ext cx="1861293" cy="1861293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5A1DB3C-A15F-F44C-B74D-5E8BAEC926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6231" y="5355771"/>
            <a:ext cx="6232180" cy="837848"/>
          </a:xfrm>
        </p:spPr>
        <p:txBody>
          <a:bodyPr anchor="t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2000" cap="none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evt. kort understøttende tekst</a:t>
            </a:r>
          </a:p>
        </p:txBody>
      </p:sp>
    </p:spTree>
    <p:extLst>
      <p:ext uri="{BB962C8B-B14F-4D97-AF65-F5344CB8AC3E}">
        <p14:creationId xmlns:p14="http://schemas.microsoft.com/office/powerpoint/2010/main" val="421827808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2"/>
          <p:cNvSpPr>
            <a:spLocks noGrp="1"/>
          </p:cNvSpPr>
          <p:nvPr>
            <p:ph type="title" hasCustomPrompt="1"/>
          </p:nvPr>
        </p:nvSpPr>
        <p:spPr>
          <a:xfrm>
            <a:off x="0" y="260648"/>
            <a:ext cx="12192000" cy="899665"/>
          </a:xfrm>
        </p:spPr>
        <p:txBody>
          <a:bodyPr/>
          <a:lstStyle>
            <a:lvl1pPr algn="ctr">
              <a:defRPr lang="pl-PL" sz="2206" b="1" kern="1200" cap="all" spc="221" dirty="0">
                <a:ln w="3175">
                  <a:noFill/>
                </a:ln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  <a:br>
              <a:rPr lang="pl-PL" dirty="0"/>
            </a:br>
            <a:endParaRPr lang="pl-PL" dirty="0"/>
          </a:p>
        </p:txBody>
      </p:sp>
      <p:cxnSp>
        <p:nvCxnSpPr>
          <p:cNvPr id="6" name="Łącznik prosty 5"/>
          <p:cNvCxnSpPr/>
          <p:nvPr userDrawn="1"/>
        </p:nvCxnSpPr>
        <p:spPr>
          <a:xfrm>
            <a:off x="2423592" y="6381328"/>
            <a:ext cx="9145016" cy="0"/>
          </a:xfrm>
          <a:prstGeom prst="line">
            <a:avLst/>
          </a:prstGeom>
          <a:ln w="285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Obraz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1384" y="6021288"/>
            <a:ext cx="1647783" cy="398662"/>
          </a:xfrm>
          <a:prstGeom prst="rect">
            <a:avLst/>
          </a:prstGeom>
        </p:spPr>
      </p:pic>
      <p:sp>
        <p:nvSpPr>
          <p:cNvPr id="8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7" y="1540527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9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452684"/>
            <a:ext cx="5157786" cy="341630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73836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Układ niestandardow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2"/>
          <p:cNvSpPr>
            <a:spLocks noGrp="1"/>
          </p:cNvSpPr>
          <p:nvPr>
            <p:ph type="title" hasCustomPrompt="1"/>
          </p:nvPr>
        </p:nvSpPr>
        <p:spPr>
          <a:xfrm>
            <a:off x="0" y="260648"/>
            <a:ext cx="12192000" cy="899665"/>
          </a:xfrm>
        </p:spPr>
        <p:txBody>
          <a:bodyPr/>
          <a:lstStyle>
            <a:lvl1pPr algn="ctr">
              <a:defRPr lang="pl-PL" sz="2206" b="1" kern="1200" cap="all" spc="221" dirty="0">
                <a:ln w="3175">
                  <a:noFill/>
                </a:ln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  <a:br>
              <a:rPr lang="pl-PL" dirty="0"/>
            </a:br>
            <a:br>
              <a:rPr lang="pl-PL" dirty="0"/>
            </a:br>
            <a:endParaRPr lang="pl-PL" dirty="0"/>
          </a:p>
        </p:txBody>
      </p:sp>
      <p:cxnSp>
        <p:nvCxnSpPr>
          <p:cNvPr id="6" name="Łącznik prosty 5"/>
          <p:cNvCxnSpPr/>
          <p:nvPr userDrawn="1"/>
        </p:nvCxnSpPr>
        <p:spPr>
          <a:xfrm>
            <a:off x="2423592" y="6381328"/>
            <a:ext cx="9145016" cy="0"/>
          </a:xfrm>
          <a:prstGeom prst="line">
            <a:avLst/>
          </a:prstGeom>
          <a:ln w="285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Obraz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1384" y="6021288"/>
            <a:ext cx="1647783" cy="398662"/>
          </a:xfrm>
          <a:prstGeom prst="rect">
            <a:avLst/>
          </a:prstGeom>
        </p:spPr>
      </p:pic>
      <p:sp>
        <p:nvSpPr>
          <p:cNvPr id="8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7" y="1540527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9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452684"/>
            <a:ext cx="5157786" cy="341630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638610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lajd tytułowy">
    <p:bg>
      <p:bgPr>
        <a:pattFill prst="pct5">
          <a:fgClr>
            <a:srgbClr val="F8F8F8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66"/>
            <a:ext cx="12192000" cy="6857193"/>
          </a:xfrm>
          <a:prstGeom prst="rect">
            <a:avLst/>
          </a:prstGeom>
        </p:spPr>
      </p:pic>
      <p:sp>
        <p:nvSpPr>
          <p:cNvPr id="12" name="Prostokąt 11"/>
          <p:cNvSpPr/>
          <p:nvPr userDrawn="1"/>
        </p:nvSpPr>
        <p:spPr>
          <a:xfrm>
            <a:off x="0" y="1268760"/>
            <a:ext cx="12191999" cy="5040560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3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983432" y="2853358"/>
            <a:ext cx="10297144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 cap="all" spc="220" baseline="0">
                <a:solidFill>
                  <a:schemeClr val="accent3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dirty="0"/>
              <a:t>Kliknij, aby edytować treść slajdu końcowego</a:t>
            </a:r>
          </a:p>
        </p:txBody>
      </p:sp>
      <p:grpSp>
        <p:nvGrpSpPr>
          <p:cNvPr id="7" name="Grupa 6"/>
          <p:cNvGrpSpPr/>
          <p:nvPr userDrawn="1"/>
        </p:nvGrpSpPr>
        <p:grpSpPr>
          <a:xfrm>
            <a:off x="4582145" y="4942804"/>
            <a:ext cx="2593975" cy="1006476"/>
            <a:chOff x="1503363" y="4875628"/>
            <a:chExt cx="2593975" cy="1006476"/>
          </a:xfrm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1098490461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Slajd tytułowy">
    <p:bg>
      <p:bgPr>
        <a:pattFill prst="pct5">
          <a:fgClr>
            <a:srgbClr val="F8F8F8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raz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2" name="Prostokąt 11"/>
          <p:cNvSpPr/>
          <p:nvPr userDrawn="1"/>
        </p:nvSpPr>
        <p:spPr>
          <a:xfrm>
            <a:off x="0" y="1268760"/>
            <a:ext cx="12191999" cy="5040560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grpSp>
        <p:nvGrpSpPr>
          <p:cNvPr id="7" name="Grupa 6"/>
          <p:cNvGrpSpPr/>
          <p:nvPr userDrawn="1"/>
        </p:nvGrpSpPr>
        <p:grpSpPr>
          <a:xfrm>
            <a:off x="4582145" y="4942804"/>
            <a:ext cx="2593975" cy="1006476"/>
            <a:chOff x="1503363" y="4875628"/>
            <a:chExt cx="2593975" cy="1006476"/>
          </a:xfrm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  <p:sp>
        <p:nvSpPr>
          <p:cNvPr id="16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839416" y="2853358"/>
            <a:ext cx="10513168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 cap="all" spc="220" baseline="0">
                <a:solidFill>
                  <a:schemeClr val="accent3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dirty="0"/>
              <a:t>Kliknij, aby edytować treść slajdu końcowego</a:t>
            </a:r>
          </a:p>
        </p:txBody>
      </p:sp>
    </p:spTree>
    <p:extLst>
      <p:ext uri="{BB962C8B-B14F-4D97-AF65-F5344CB8AC3E}">
        <p14:creationId xmlns:p14="http://schemas.microsoft.com/office/powerpoint/2010/main" val="3480578844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40055340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1657665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Symbol zastępczy daty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21774247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76546608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28626225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600003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8" y="0"/>
            <a:ext cx="5916612" cy="6858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6275388" cy="685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58814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72908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23897023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60112124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94458029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głowek - białe tł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/>
          <p:cNvSpPr>
            <a:spLocks noGrp="1"/>
          </p:cNvSpPr>
          <p:nvPr>
            <p:ph type="title" hasCustomPrompt="1"/>
          </p:nvPr>
        </p:nvSpPr>
        <p:spPr>
          <a:xfrm>
            <a:off x="0" y="260648"/>
            <a:ext cx="12192000" cy="899665"/>
          </a:xfrm>
        </p:spPr>
        <p:txBody>
          <a:bodyPr/>
          <a:lstStyle>
            <a:lvl1pPr algn="ctr">
              <a:defRPr lang="pl-PL" sz="2206" b="1" kern="1200" cap="all" spc="221" dirty="0">
                <a:ln w="3175">
                  <a:noFill/>
                </a:ln>
                <a:solidFill>
                  <a:srgbClr val="505050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styl</a:t>
            </a:r>
            <a:br>
              <a:rPr lang="pl-PL" dirty="0"/>
            </a:br>
            <a:br>
              <a:rPr lang="pl-PL" dirty="0"/>
            </a:br>
            <a:endParaRPr lang="pl-PL" dirty="0"/>
          </a:p>
        </p:txBody>
      </p:sp>
      <p:cxnSp>
        <p:nvCxnSpPr>
          <p:cNvPr id="4" name="Łącznik prosty 3"/>
          <p:cNvCxnSpPr/>
          <p:nvPr userDrawn="1"/>
        </p:nvCxnSpPr>
        <p:spPr>
          <a:xfrm>
            <a:off x="2495600" y="6381328"/>
            <a:ext cx="9073008" cy="0"/>
          </a:xfrm>
          <a:prstGeom prst="line">
            <a:avLst/>
          </a:prstGeom>
          <a:ln w="28575">
            <a:solidFill>
              <a:srgbClr val="FF5D2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upa 4"/>
          <p:cNvGrpSpPr/>
          <p:nvPr userDrawn="1"/>
        </p:nvGrpSpPr>
        <p:grpSpPr>
          <a:xfrm>
            <a:off x="263494" y="5861153"/>
            <a:ext cx="1938941" cy="752319"/>
            <a:chOff x="1503363" y="4875628"/>
            <a:chExt cx="2593975" cy="1006476"/>
          </a:xfrm>
        </p:grpSpPr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0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  <p:sp>
        <p:nvSpPr>
          <p:cNvPr id="15" name="Symbol zastępczy numeru slajdu 4"/>
          <p:cNvSpPr txBox="1">
            <a:spLocks/>
          </p:cNvSpPr>
          <p:nvPr userDrawn="1"/>
        </p:nvSpPr>
        <p:spPr>
          <a:xfrm>
            <a:off x="11568608" y="6525344"/>
            <a:ext cx="505272" cy="282379"/>
          </a:xfrm>
          <a:prstGeom prst="rect">
            <a:avLst/>
          </a:prstGeom>
        </p:spPr>
        <p:txBody>
          <a:bodyPr/>
          <a:lstStyle>
            <a:defPPr>
              <a:defRPr lang="pl-P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EDBEA5D3-1F4F-4190-887E-8231FC8EC0C2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120191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E9FBF3E-F864-456D-AD80-6ADE04DA09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7" y="497315"/>
            <a:ext cx="10080625" cy="415498"/>
          </a:xfrm>
        </p:spPr>
        <p:txBody>
          <a:bodyPr wrap="square" lIns="0" tIns="0" rIns="0" bIns="0" anchor="t">
            <a:spAutoFit/>
          </a:bodyPr>
          <a:lstStyle>
            <a:lvl1pPr>
              <a:defRPr sz="3000" b="1" cap="all" baseline="0">
                <a:solidFill>
                  <a:srgbClr val="E7501D"/>
                </a:solidFill>
              </a:defRPr>
            </a:lvl1pPr>
          </a:lstStyle>
          <a:p>
            <a:r>
              <a:rPr lang="pl-PL" dirty="0"/>
              <a:t>Tytuł slajdu</a:t>
            </a:r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A2966C68-E0BB-4A9F-A775-867684390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17995" y="6430380"/>
            <a:ext cx="1448657" cy="365125"/>
          </a:xfrm>
        </p:spPr>
        <p:txBody>
          <a:bodyPr/>
          <a:lstStyle>
            <a:lvl1pPr>
              <a:defRPr sz="1600" b="1">
                <a:solidFill>
                  <a:srgbClr val="E7501D"/>
                </a:solidFill>
              </a:defRPr>
            </a:lvl1pPr>
          </a:lstStyle>
          <a:p>
            <a:fld id="{B6BA42B8-4A31-41D0-B357-51F41FEAACB0}" type="slidenum">
              <a:rPr lang="pl-PL" smtClean="0"/>
              <a:pPr/>
              <a:t>‹#›</a:t>
            </a:fld>
            <a:endParaRPr lang="pl-PL" dirty="0"/>
          </a:p>
        </p:txBody>
      </p:sp>
      <p:pic>
        <p:nvPicPr>
          <p:cNvPr id="7" name="Grafika 6">
            <a:extLst>
              <a:ext uri="{FF2B5EF4-FFF2-40B4-BE49-F238E27FC236}">
                <a16:creationId xmlns:a16="http://schemas.microsoft.com/office/drawing/2014/main" id="{6AA75D57-D52E-406B-99B7-F3B7CC1646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5293" y="559365"/>
            <a:ext cx="504826" cy="201930"/>
          </a:xfrm>
          <a:prstGeom prst="rect">
            <a:avLst/>
          </a:prstGeom>
        </p:spPr>
      </p:pic>
      <p:sp>
        <p:nvSpPr>
          <p:cNvPr id="9" name="Symbol zastępczy tekstu 8">
            <a:extLst>
              <a:ext uri="{FF2B5EF4-FFF2-40B4-BE49-F238E27FC236}">
                <a16:creationId xmlns:a16="http://schemas.microsoft.com/office/drawing/2014/main" id="{3491F5D4-2BA8-4BA7-B8E8-F45459FCE5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5688" y="2210146"/>
            <a:ext cx="4319586" cy="338927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lang="pl-PL" sz="1400" b="0" kern="1200" cap="none" baseline="0" dirty="0" smtClean="0">
                <a:solidFill>
                  <a:srgbClr val="646463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pl-PL" dirty="0"/>
              <a:t>Edytuj tekst</a:t>
            </a:r>
          </a:p>
        </p:txBody>
      </p:sp>
      <p:pic>
        <p:nvPicPr>
          <p:cNvPr id="10" name="Grafika 9">
            <a:extLst>
              <a:ext uri="{FF2B5EF4-FFF2-40B4-BE49-F238E27FC236}">
                <a16:creationId xmlns:a16="http://schemas.microsoft.com/office/drawing/2014/main" id="{442EAE7F-712E-4820-846E-9304824040E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9743" y="6487493"/>
            <a:ext cx="2164557" cy="206149"/>
          </a:xfrm>
          <a:prstGeom prst="rect">
            <a:avLst/>
          </a:prstGeom>
        </p:spPr>
      </p:pic>
      <p:cxnSp>
        <p:nvCxnSpPr>
          <p:cNvPr id="12" name="Łącznik prosty 11">
            <a:extLst>
              <a:ext uri="{FF2B5EF4-FFF2-40B4-BE49-F238E27FC236}">
                <a16:creationId xmlns:a16="http://schemas.microsoft.com/office/drawing/2014/main" id="{758802A6-D71A-4CE7-BDB5-0F4E062F4807}"/>
              </a:ext>
            </a:extLst>
          </p:cNvPr>
          <p:cNvCxnSpPr>
            <a:cxnSpLocks/>
          </p:cNvCxnSpPr>
          <p:nvPr userDrawn="1"/>
        </p:nvCxnSpPr>
        <p:spPr>
          <a:xfrm>
            <a:off x="0" y="6308725"/>
            <a:ext cx="12192000" cy="0"/>
          </a:xfrm>
          <a:prstGeom prst="line">
            <a:avLst/>
          </a:prstGeom>
          <a:ln w="12700">
            <a:solidFill>
              <a:srgbClr val="E750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ymbol zastępczy tekstu 19">
            <a:extLst>
              <a:ext uri="{FF2B5EF4-FFF2-40B4-BE49-F238E27FC236}">
                <a16:creationId xmlns:a16="http://schemas.microsoft.com/office/drawing/2014/main" id="{C5751856-5259-4DD0-89B0-3A809C59D0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55688" y="1852624"/>
            <a:ext cx="4319587" cy="2769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lang="pl-PL" sz="1800" b="1" kern="1200" cap="all" baseline="0" smtClean="0">
                <a:solidFill>
                  <a:srgbClr val="E7501D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22" name="pole tekstowe 21">
            <a:extLst>
              <a:ext uri="{FF2B5EF4-FFF2-40B4-BE49-F238E27FC236}">
                <a16:creationId xmlns:a16="http://schemas.microsoft.com/office/drawing/2014/main" id="{24230BB3-1D63-48F1-8821-F71FD4DB70E3}"/>
              </a:ext>
            </a:extLst>
          </p:cNvPr>
          <p:cNvSpPr txBox="1"/>
          <p:nvPr userDrawn="1"/>
        </p:nvSpPr>
        <p:spPr>
          <a:xfrm>
            <a:off x="1055688" y="6125515"/>
            <a:ext cx="741364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1" kern="1200" cap="none" baseline="0" dirty="0">
                <a:solidFill>
                  <a:srgbClr val="646463"/>
                </a:solidFill>
                <a:latin typeface="+mn-lt"/>
                <a:ea typeface="+mn-ea"/>
                <a:cs typeface="+mn-cs"/>
              </a:rPr>
              <a:t>Disclaimer: This presentation shall be treated as confidential material for discussion between XXX and GSA Platform Operator and shall not be disclosed to third parties.</a:t>
            </a:r>
            <a:endParaRPr lang="pl-PL" sz="800" b="0" i="1" kern="1200" cap="none" baseline="0" dirty="0">
              <a:solidFill>
                <a:srgbClr val="646463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73443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665">
          <p15:clr>
            <a:srgbClr val="FBAE40"/>
          </p15:clr>
        </p15:guide>
        <p15:guide id="3" pos="7015">
          <p15:clr>
            <a:srgbClr val="FBAE40"/>
          </p15:clr>
        </p15:guide>
      </p15:sldGuideLst>
    </p:ext>
  </p:extLs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 hidden="1"/>
          <p:cNvSpPr>
            <a:spLocks noGrp="1"/>
          </p:cNvSpPr>
          <p:nvPr>
            <p:ph type="dt" sz="half" idx="10"/>
          </p:nvPr>
        </p:nvSpPr>
        <p:spPr>
          <a:xfrm>
            <a:off x="13326565" y="6398800"/>
            <a:ext cx="2844800" cy="365125"/>
          </a:xfrm>
          <a:prstGeom prst="rect">
            <a:avLst/>
          </a:prstGeom>
        </p:spPr>
        <p:txBody>
          <a:bodyPr/>
          <a:lstStyle/>
          <a:p>
            <a:fld id="{F66CA07D-64E1-034A-8F24-0DAB39FC3D07}" type="datetime3">
              <a:t>08.06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FFC2FA75-A41F-AF45-B044-73D2FD7526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8" name="Pladsholder til tekst 4">
            <a:extLst>
              <a:ext uri="{FF2B5EF4-FFF2-40B4-BE49-F238E27FC236}">
                <a16:creationId xmlns:a16="http://schemas.microsoft.com/office/drawing/2014/main" id="{36D652E3-BAFC-964A-B2C9-1952C9AAF6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44E55857-C7BD-CD49-9DDF-FE95D8EE2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454F0FB0-0930-E74E-8BCD-237833E2E8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3810410496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5426B8D0-6451-734B-AB7E-3E8886D805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7576BDBF-B923-3D47-9E0B-2061C34A06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F56EFBC7-2209-6D48-B526-57ABE1AC4C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1932488891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2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5426B8D0-6451-734B-AB7E-3E8886D805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7576BDBF-B923-3D47-9E0B-2061C34A06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F56EFBC7-2209-6D48-B526-57ABE1AC4C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215628744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3" y="2"/>
            <a:ext cx="12191999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6" name="Titel 10">
            <a:extLst>
              <a:ext uri="{FF2B5EF4-FFF2-40B4-BE49-F238E27FC236}">
                <a16:creationId xmlns:a16="http://schemas.microsoft.com/office/drawing/2014/main" id="{A618B4AE-9447-C943-8C77-78BA514BB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42B49B3D-4866-474E-B5F1-BC5836BAAD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3" name="Pladsholder til tekst 4">
            <a:extLst>
              <a:ext uri="{FF2B5EF4-FFF2-40B4-BE49-F238E27FC236}">
                <a16:creationId xmlns:a16="http://schemas.microsoft.com/office/drawing/2014/main" id="{28B61AEC-F957-7E4A-8764-380FB29C31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5" name="Pladsholder til tekst 4">
            <a:extLst>
              <a:ext uri="{FF2B5EF4-FFF2-40B4-BE49-F238E27FC236}">
                <a16:creationId xmlns:a16="http://schemas.microsoft.com/office/drawing/2014/main" id="{240A9312-A4D3-6C4C-9289-47F9CFB5DE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757469643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mørk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2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mørkt billede, via fanen Indsæt, Billeder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B7F9C7AC-DC81-ED40-9796-33611B5DB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0FE724D6-0010-3743-B773-F1E842B91E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0" name="Pladsholder til tekst 4">
            <a:extLst>
              <a:ext uri="{FF2B5EF4-FFF2-40B4-BE49-F238E27FC236}">
                <a16:creationId xmlns:a16="http://schemas.microsoft.com/office/drawing/2014/main" id="{BE265931-DAC6-D44C-A798-75A6AEDB7B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3A38A144-48BD-4840-B806-50FD592F2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17436511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856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94486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83673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45C937D3-2FD3-D148-9B52-28210AC27B20}"/>
              </a:ext>
            </a:extLst>
          </p:cNvPr>
          <p:cNvSpPr/>
          <p:nvPr userDrawn="1"/>
        </p:nvSpPr>
        <p:spPr>
          <a:xfrm>
            <a:off x="6108568" y="0"/>
            <a:ext cx="606143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03A224DA-2850-CB41-8EBA-23FB13A4A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1092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EB37FB4A-7EE7-7342-AF40-FDD92B4E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03054" y="1196976"/>
            <a:ext cx="4222982" cy="1547812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2510511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lys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2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lyst billede, via fanen Indsæt, Billeder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0D1A318C-794C-8F43-BB2A-5B5C17C66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E2DB6ED-3774-F147-BC5B-CBB2C762BF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0" name="Pladsholder til tekst 4">
            <a:extLst>
              <a:ext uri="{FF2B5EF4-FFF2-40B4-BE49-F238E27FC236}">
                <a16:creationId xmlns:a16="http://schemas.microsoft.com/office/drawing/2014/main" id="{243ED9BF-2A3C-6049-A1E1-AB5D7B574C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5C5A113F-50FD-ED43-8C56-0A78605B7F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2242204709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gsorde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2C2D31F3-CACE-E542-8D63-F51828BAB7CB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51689" y="1557867"/>
            <a:ext cx="5083772" cy="3742267"/>
          </a:xfrm>
        </p:spPr>
        <p:txBody>
          <a:bodyPr anchor="ctr"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  <p:sp>
        <p:nvSpPr>
          <p:cNvPr id="9" name="Pladsholder til tabel 3">
            <a:extLst>
              <a:ext uri="{FF2B5EF4-FFF2-40B4-BE49-F238E27FC236}">
                <a16:creationId xmlns:a16="http://schemas.microsoft.com/office/drawing/2014/main" id="{552EDF94-9408-1844-A084-BB4D7A171B0D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5834" y="1557867"/>
            <a:ext cx="5083772" cy="3742267"/>
          </a:xfrm>
        </p:spPr>
        <p:txBody>
          <a:bodyPr anchor="ctr"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</p:spTree>
    <p:extLst>
      <p:ext uri="{BB962C8B-B14F-4D97-AF65-F5344CB8AC3E}">
        <p14:creationId xmlns:p14="http://schemas.microsoft.com/office/powerpoint/2010/main" val="1775229578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7" name="Pladsholder til tekst 2">
            <a:extLst>
              <a:ext uri="{FF2B5EF4-FFF2-40B4-BE49-F238E27FC236}">
                <a16:creationId xmlns:a16="http://schemas.microsoft.com/office/drawing/2014/main" id="{2B905F23-B72E-2848-8F49-90F1C7478C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58660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28504197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høj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6456459" y="2"/>
            <a:ext cx="5084499" cy="6081713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77A5E23-3409-F646-BCD4-73EEB471E1DF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522085194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venst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74AD5B-8FEC-8D44-AC75-C1F527063C07}" type="datetime3">
              <a:t>08.06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56456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9459" y="2"/>
            <a:ext cx="5083775" cy="6081713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460" y="779463"/>
            <a:ext cx="5084497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56972744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1771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56294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79339186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 rot="5400000">
            <a:off x="3097647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1771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56294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Højrepil 7">
            <a:extLst>
              <a:ext uri="{FF2B5EF4-FFF2-40B4-BE49-F238E27FC236}">
                <a16:creationId xmlns:a16="http://schemas.microsoft.com/office/drawing/2014/main" id="{75257325-A8A5-DD44-BA20-840B4FC669FE}"/>
              </a:ext>
            </a:extLst>
          </p:cNvPr>
          <p:cNvSpPr/>
          <p:nvPr userDrawn="1"/>
        </p:nvSpPr>
        <p:spPr>
          <a:xfrm rot="5400000">
            <a:off x="8902170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520065849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5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63927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0940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406429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7925423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2119214780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5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63927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0940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2137804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1" name="Højrepil 10">
            <a:extLst>
              <a:ext uri="{FF2B5EF4-FFF2-40B4-BE49-F238E27FC236}">
                <a16:creationId xmlns:a16="http://schemas.microsoft.com/office/drawing/2014/main" id="{BD0089C5-39E9-C745-A39F-3CD7D32908D7}"/>
              </a:ext>
            </a:extLst>
          </p:cNvPr>
          <p:cNvSpPr/>
          <p:nvPr userDrawn="1"/>
        </p:nvSpPr>
        <p:spPr>
          <a:xfrm rot="5400000">
            <a:off x="5998930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1B398A9-5D04-164D-BB75-5BFDF2E7EB1A}"/>
              </a:ext>
            </a:extLst>
          </p:cNvPr>
          <p:cNvSpPr/>
          <p:nvPr userDrawn="1"/>
        </p:nvSpPr>
        <p:spPr>
          <a:xfrm rot="5400000">
            <a:off x="9851916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122907653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7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2700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67446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85072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3181302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881655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40190198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kta bok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lå baggrund"/>
          <p:cNvSpPr/>
          <p:nvPr userDrawn="1"/>
        </p:nvSpPr>
        <p:spPr>
          <a:xfrm>
            <a:off x="-1" y="0"/>
            <a:ext cx="40644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" name="Mørk blå baggrund"/>
          <p:cNvSpPr/>
          <p:nvPr userDrawn="1"/>
        </p:nvSpPr>
        <p:spPr>
          <a:xfrm>
            <a:off x="4063800" y="0"/>
            <a:ext cx="40644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Grøn baggrund"/>
          <p:cNvSpPr/>
          <p:nvPr userDrawn="1"/>
        </p:nvSpPr>
        <p:spPr>
          <a:xfrm>
            <a:off x="8128200" y="0"/>
            <a:ext cx="4064400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199" y="1196975"/>
            <a:ext cx="2880000" cy="104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Indsæt fakta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2199" y="2335214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41608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37758" y="2335213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701559" y="2335213"/>
            <a:ext cx="2880000" cy="3821112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26458" y="2635420"/>
            <a:ext cx="646112" cy="24288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0589394-5D7C-2F4F-8AB5-24F785BCD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98453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</p:spTree>
    <p:extLst>
      <p:ext uri="{BB962C8B-B14F-4D97-AF65-F5344CB8AC3E}">
        <p14:creationId xmlns:p14="http://schemas.microsoft.com/office/powerpoint/2010/main" val="40402115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7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  <a:ln w="6350">
            <a:noFill/>
          </a:ln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2700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67446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85072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1723571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F819482-7C14-7E43-A620-0B19F87364BA}"/>
              </a:ext>
            </a:extLst>
          </p:cNvPr>
          <p:cNvSpPr/>
          <p:nvPr userDrawn="1"/>
        </p:nvSpPr>
        <p:spPr>
          <a:xfrm rot="5400000">
            <a:off x="4541199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5" name="Højrepil 14">
            <a:extLst>
              <a:ext uri="{FF2B5EF4-FFF2-40B4-BE49-F238E27FC236}">
                <a16:creationId xmlns:a16="http://schemas.microsoft.com/office/drawing/2014/main" id="{29E70971-7A29-5B45-99ED-430CD18479DF}"/>
              </a:ext>
            </a:extLst>
          </p:cNvPr>
          <p:cNvSpPr/>
          <p:nvPr userDrawn="1"/>
        </p:nvSpPr>
        <p:spPr>
          <a:xfrm rot="5400000">
            <a:off x="7358827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6" name="Højrepil 15">
            <a:extLst>
              <a:ext uri="{FF2B5EF4-FFF2-40B4-BE49-F238E27FC236}">
                <a16:creationId xmlns:a16="http://schemas.microsoft.com/office/drawing/2014/main" id="{BEF88CB5-A1ED-2746-A344-31420505FA3C}"/>
              </a:ext>
            </a:extLst>
          </p:cNvPr>
          <p:cNvSpPr/>
          <p:nvPr userDrawn="1"/>
        </p:nvSpPr>
        <p:spPr>
          <a:xfrm rot="5400000">
            <a:off x="10176454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2977688109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14831" y="1557340"/>
            <a:ext cx="9362339" cy="3743325"/>
          </a:xfrm>
        </p:spPr>
        <p:txBody>
          <a:bodyPr tIns="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459530430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m iko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14831" y="779579"/>
            <a:ext cx="9362339" cy="4521087"/>
          </a:xfrm>
        </p:spPr>
        <p:txBody>
          <a:bodyPr tIns="108000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9E642AAF-364D-7D43-9F2A-A9F9E4874C3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195766" y="779576"/>
            <a:ext cx="1800469" cy="1800000"/>
          </a:xfrm>
        </p:spPr>
        <p:txBody>
          <a:bodyPr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1148978233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B03487C-BD18-0048-9D0F-3C1D2ED597B4}" type="datetime3">
              <a:t>08.06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2204866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81868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2204866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2204866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>
            <a:extLst>
              <a:ext uri="{FF2B5EF4-FFF2-40B4-BE49-F238E27FC236}">
                <a16:creationId xmlns:a16="http://schemas.microsoft.com/office/drawing/2014/main" id="{C48F51AF-EE09-7640-985D-49A9AACC625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4480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9" name="Pladsholder til billede 3">
            <a:extLst>
              <a:ext uri="{FF2B5EF4-FFF2-40B4-BE49-F238E27FC236}">
                <a16:creationId xmlns:a16="http://schemas.microsoft.com/office/drawing/2014/main" id="{48734797-E8DF-014D-A55D-6BF430204DE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47092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7FD11B2D-4CCA-B241-84AE-FEEE1ABA1A4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9459" y="4869162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569D038D-5624-EF47-A522-C6916B347C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818680" y="3892240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305F192E-8164-454B-A226-E3A490C19B2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00113" y="4869162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4" name="Pladsholder til tekst 2">
            <a:extLst>
              <a:ext uri="{FF2B5EF4-FFF2-40B4-BE49-F238E27FC236}">
                <a16:creationId xmlns:a16="http://schemas.microsoft.com/office/drawing/2014/main" id="{29618506-C79D-9843-8CE5-115DF2F55A7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75579" y="4869162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EC2F9887-080D-2746-ACBF-1B62B1DAE9F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644800" y="3896363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5502AEEC-30C1-FC48-BEC4-560AB09C51C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469333" y="3892240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2669519025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B1EC739-852F-EE44-8C9C-01284F54EED3}" type="datetime3">
              <a:t>08.06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Pladsholder til billede 3">
            <a:extLst>
              <a:ext uri="{FF2B5EF4-FFF2-40B4-BE49-F238E27FC236}">
                <a16:creationId xmlns:a16="http://schemas.microsoft.com/office/drawing/2014/main" id="{BE374975-7548-DB43-B322-B05C57DFC86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4" name="Pladsholder til billede 3">
            <a:extLst>
              <a:ext uri="{FF2B5EF4-FFF2-40B4-BE49-F238E27FC236}">
                <a16:creationId xmlns:a16="http://schemas.microsoft.com/office/drawing/2014/main" id="{4DCAFDAA-8A78-CD42-932F-D2E25057BF2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F5603915-428E-3A4A-8A34-A63E0C91CB5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3019485808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2"/>
            <a:ext cx="12192000" cy="608171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B0893C6-87C9-7F41-B621-3BE80FDFE46D}" type="datetime3">
              <a:t>08.06.2023</a:t>
            </a:fld>
            <a:endParaRPr lang="da-DK" dirty="0"/>
          </a:p>
        </p:txBody>
      </p:sp>
      <p:sp>
        <p:nvSpPr>
          <p:cNvPr id="11" name="Pladsholder til billede 3">
            <a:extLst>
              <a:ext uri="{FF2B5EF4-FFF2-40B4-BE49-F238E27FC236}">
                <a16:creationId xmlns:a16="http://schemas.microsoft.com/office/drawing/2014/main" id="{E0700900-EA42-9240-82A1-A3E92F01B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C06FFD9D-DB0A-2E49-8AA3-80E9DC64473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425A97FC-E0D2-714A-BD6F-6A5564969C2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1736155670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2"/>
            <a:ext cx="12192000" cy="608171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B0893C6-87C9-7F41-B621-3BE80FDFE46D}" type="datetime3">
              <a:t>08.06.2023</a:t>
            </a:fld>
            <a:endParaRPr lang="da-DK" dirty="0"/>
          </a:p>
        </p:txBody>
      </p:sp>
      <p:sp>
        <p:nvSpPr>
          <p:cNvPr id="11" name="Pladsholder til billede 3">
            <a:extLst>
              <a:ext uri="{FF2B5EF4-FFF2-40B4-BE49-F238E27FC236}">
                <a16:creationId xmlns:a16="http://schemas.microsoft.com/office/drawing/2014/main" id="{E0700900-EA42-9240-82A1-A3E92F01B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C06FFD9D-DB0A-2E49-8AA3-80E9DC64473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425A97FC-E0D2-714A-BD6F-6A5564969C2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1828061215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B5CEAD66-5979-CB42-BDA1-48A3ABB5B93E}"/>
              </a:ext>
            </a:extLst>
          </p:cNvPr>
          <p:cNvSpPr/>
          <p:nvPr userDrawn="1"/>
        </p:nvSpPr>
        <p:spPr>
          <a:xfrm>
            <a:off x="0" y="2"/>
            <a:ext cx="12192000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08CA1D-70A7-A240-8844-C946C6445AB0}" type="datetime3">
              <a:t>08.06.2023</a:t>
            </a:fld>
            <a:endParaRPr lang="da-DK" dirty="0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4C31B2DC-2512-6945-A2FF-C091351FA53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E0862E28-9EF0-F041-A943-357CA9977BB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7" name="Pladsholder til billede 3">
            <a:extLst>
              <a:ext uri="{FF2B5EF4-FFF2-40B4-BE49-F238E27FC236}">
                <a16:creationId xmlns:a16="http://schemas.microsoft.com/office/drawing/2014/main" id="{33E1156E-39E4-CB4A-819D-9293C065C5E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3804865497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C25E9A2-3CD6-B841-BB4B-7865D9175DAE}" type="datetime3">
              <a:t>08.06.2023</a:t>
            </a:fld>
            <a:endParaRPr lang="da-DK" dirty="0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866"/>
            <a:ext cx="5084500" cy="4523847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083857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B8B704C-C3C0-104D-B9FE-A0C35400DC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/>
            </a:lvl1pPr>
            <a:lvl2pPr algn="r">
              <a:defRPr sz="1333"/>
            </a:lvl2pPr>
            <a:lvl3pPr algn="r">
              <a:defRPr sz="1333"/>
            </a:lvl3pPr>
            <a:lvl4pPr algn="r">
              <a:defRPr sz="1333"/>
            </a:lvl4pPr>
            <a:lvl5pPr algn="r">
              <a:defRPr sz="133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448492554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083857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C89AC91-4FCC-EF49-BA41-9CB46A9F1DD9}" type="datetime3">
              <a:t>08.06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>
                <a:solidFill>
                  <a:schemeClr val="bg1"/>
                </a:solidFill>
              </a:defRPr>
            </a:lvl1pPr>
            <a:lvl2pPr algn="r">
              <a:defRPr sz="1333">
                <a:solidFill>
                  <a:schemeClr val="bg1"/>
                </a:solidFill>
              </a:defRPr>
            </a:lvl2pPr>
            <a:lvl3pPr algn="r">
              <a:defRPr sz="1333">
                <a:solidFill>
                  <a:schemeClr val="bg1"/>
                </a:solidFill>
              </a:defRPr>
            </a:lvl3pPr>
            <a:lvl4pPr algn="r">
              <a:defRPr sz="1333">
                <a:solidFill>
                  <a:schemeClr val="bg1"/>
                </a:solidFill>
              </a:defRPr>
            </a:lvl4pPr>
            <a:lvl5pPr algn="r"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4190595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akta bokse med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1184C-B22A-AD40-8EC2-6DB7F8554D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20" name="Pladsholder til tekst 20">
            <a:extLst>
              <a:ext uri="{FF2B5EF4-FFF2-40B4-BE49-F238E27FC236}">
                <a16:creationId xmlns:a16="http://schemas.microsoft.com/office/drawing/2014/main" id="{589E580B-CAF0-0843-9549-CC4DC8EB83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2" y="2227943"/>
            <a:ext cx="3248251" cy="4126359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E173464F-0D76-D747-8AD0-2735D2AA33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65769" y="2227943"/>
            <a:ext cx="3248251" cy="4126359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2" name="Pladsholder til tekst 20">
            <a:extLst>
              <a:ext uri="{FF2B5EF4-FFF2-40B4-BE49-F238E27FC236}">
                <a16:creationId xmlns:a16="http://schemas.microsoft.com/office/drawing/2014/main" id="{D7009CD0-C6D3-DA47-9564-AA91F054FE8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48876" y="2227943"/>
            <a:ext cx="3248251" cy="4126359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B673409-9F47-FB45-A48A-89910EF4B4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4667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74B29C6-58EB-D34C-9127-ACEA3C8422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27295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1A87E3-BEAA-A645-A475-1D81C3B496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17980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Pladsholder til dato 2">
            <a:extLst>
              <a:ext uri="{FF2B5EF4-FFF2-40B4-BE49-F238E27FC236}">
                <a16:creationId xmlns:a16="http://schemas.microsoft.com/office/drawing/2014/main" id="{6163A414-1DB0-E44F-AA68-084AD5F92A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3" name="Pladsholder til sidefod 3">
            <a:extLst>
              <a:ext uri="{FF2B5EF4-FFF2-40B4-BE49-F238E27FC236}">
                <a16:creationId xmlns:a16="http://schemas.microsoft.com/office/drawing/2014/main" id="{D5BDAAB7-64D3-6F4A-B353-FD3D427AA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4" name="Pladsholder til slidenummer 4">
            <a:extLst>
              <a:ext uri="{FF2B5EF4-FFF2-40B4-BE49-F238E27FC236}">
                <a16:creationId xmlns:a16="http://schemas.microsoft.com/office/drawing/2014/main" id="{69B55418-5C62-9B4C-862D-AC2428413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ADE3066-ED1D-4F49-93F8-391ABD55C0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90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7F8424-2719-084A-B7D9-9177E1063F2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19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6C2F8DB8-478D-2747-97E7-34A79FA6D6D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11880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38225776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083857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C89AC91-4FCC-EF49-BA41-9CB46A9F1DD9}" type="datetime3">
              <a:t>08.06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>
                <a:solidFill>
                  <a:schemeClr val="bg1"/>
                </a:solidFill>
              </a:defRPr>
            </a:lvl1pPr>
            <a:lvl2pPr algn="r">
              <a:defRPr sz="1333">
                <a:solidFill>
                  <a:schemeClr val="bg1"/>
                </a:solidFill>
              </a:defRPr>
            </a:lvl2pPr>
            <a:lvl3pPr algn="r">
              <a:defRPr sz="1333">
                <a:solidFill>
                  <a:schemeClr val="bg1"/>
                </a:solidFill>
              </a:defRPr>
            </a:lvl3pPr>
            <a:lvl4pPr algn="r">
              <a:defRPr sz="1333">
                <a:solidFill>
                  <a:schemeClr val="bg1"/>
                </a:solidFill>
              </a:defRPr>
            </a:lvl4pPr>
            <a:lvl5pPr algn="r"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555102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8D264B-0937-A140-ABAC-40D682193E49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6883171-03D4-FA47-9204-9F3A686B1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763EDBD3-33CC-B34A-8855-2882F1E498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/>
            </a:lvl1pPr>
            <a:lvl2pPr algn="r">
              <a:defRPr sz="1333"/>
            </a:lvl2pPr>
            <a:lvl3pPr algn="r">
              <a:defRPr sz="1333"/>
            </a:lvl3pPr>
            <a:lvl4pPr algn="r">
              <a:defRPr sz="1333"/>
            </a:lvl4pPr>
            <a:lvl5pPr algn="r">
              <a:defRPr sz="133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4760042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C25E9A2-3CD6-B841-BB4B-7865D9175DAE}" type="datetime3">
              <a:t>08.06.2023</a:t>
            </a:fld>
            <a:endParaRPr lang="da-DK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804145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iagram 2">
            <a:extLst>
              <a:ext uri="{FF2B5EF4-FFF2-40B4-BE49-F238E27FC236}">
                <a16:creationId xmlns:a16="http://schemas.microsoft.com/office/drawing/2014/main" id="{DE19A8A7-F159-AA41-A318-2F1E24433A73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49818" y="1557867"/>
            <a:ext cx="10890249" cy="4523317"/>
          </a:xfr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t diagram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725C3BD1-93AB-E34D-89B2-48C316ECDA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/>
            </a:lvl1pPr>
            <a:lvl2pPr algn="r">
              <a:defRPr sz="1333"/>
            </a:lvl2pPr>
            <a:lvl3pPr algn="r">
              <a:defRPr sz="1333"/>
            </a:lvl3pPr>
            <a:lvl4pPr algn="r">
              <a:defRPr sz="1333"/>
            </a:lvl4pPr>
            <a:lvl5pPr algn="r">
              <a:defRPr sz="133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984390108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149D3B-849F-0A4D-A824-3A8042197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080C5317-E351-3E4F-910E-18F821FD9BAC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/>
        <p:txBody>
          <a:bodyPr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17688567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2"/>
            <a:ext cx="10889269" cy="5302251"/>
          </a:xfrm>
        </p:spPr>
        <p:txBody>
          <a:bodyPr anchor="ctr"/>
          <a:lstStyle>
            <a:lvl1pPr algn="ctr">
              <a:defRPr sz="6000">
                <a:solidFill>
                  <a:schemeClr val="bg2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000895582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6BF9ADF-5782-FA46-A09C-46A4864FF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963471299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370101" y="2322504"/>
            <a:ext cx="7821900" cy="2211293"/>
          </a:xfrm>
          <a:prstGeom prst="rect">
            <a:avLst/>
          </a:prstGeom>
          <a:solidFill>
            <a:srgbClr val="41517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78416" y="2330971"/>
            <a:ext cx="3024440" cy="220398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370099" y="2356493"/>
            <a:ext cx="7821900" cy="1089939"/>
          </a:xfrm>
          <a:prstGeom prst="rect">
            <a:avLst/>
          </a:prstGeom>
          <a:noFill/>
        </p:spPr>
        <p:txBody>
          <a:bodyPr lIns="108000" anchor="b">
            <a:normAutofit/>
          </a:bodyPr>
          <a:lstStyle>
            <a:lvl1pPr algn="l">
              <a:defRPr sz="3200" cap="all" baseline="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370100" y="4133725"/>
            <a:ext cx="7404712" cy="408392"/>
          </a:xfrm>
          <a:prstGeom prst="rect">
            <a:avLst/>
          </a:prstGeom>
        </p:spPr>
        <p:txBody>
          <a:bodyPr lIns="108000">
            <a:normAutofit/>
          </a:bodyPr>
          <a:lstStyle>
            <a:lvl1pPr marL="0" indent="0" algn="l">
              <a:buNone/>
              <a:defRPr sz="1333" cap="none" baseline="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Click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sub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917" y="3446432"/>
            <a:ext cx="7821083" cy="687293"/>
          </a:xfrm>
          <a:prstGeom prst="rect">
            <a:avLst/>
          </a:prstGeom>
        </p:spPr>
        <p:txBody>
          <a:bodyPr lIns="108000">
            <a:normAutofit/>
          </a:bodyPr>
          <a:lstStyle>
            <a:lvl1pPr>
              <a:defRPr sz="1867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028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400" y="2323200"/>
            <a:ext cx="7824000" cy="2218493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78416" y="2330971"/>
            <a:ext cx="3024440" cy="220398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370099" y="2356493"/>
            <a:ext cx="7821900" cy="1089939"/>
          </a:xfrm>
          <a:prstGeom prst="rect">
            <a:avLst/>
          </a:prstGeom>
          <a:noFill/>
        </p:spPr>
        <p:txBody>
          <a:bodyPr lIns="108000" anchor="b">
            <a:normAutofit/>
          </a:bodyPr>
          <a:lstStyle>
            <a:lvl1pPr algn="l">
              <a:defRPr sz="3200" cap="all" baseline="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4370100" y="4133725"/>
            <a:ext cx="7404712" cy="408392"/>
          </a:xfrm>
          <a:prstGeom prst="rect">
            <a:avLst/>
          </a:prstGeom>
        </p:spPr>
        <p:txBody>
          <a:bodyPr lIns="108000">
            <a:normAutofit/>
          </a:bodyPr>
          <a:lstStyle>
            <a:lvl1pPr marL="0" indent="0" algn="l">
              <a:buNone/>
              <a:defRPr sz="1333" cap="none" baseline="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Click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sub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917" y="3446432"/>
            <a:ext cx="7821083" cy="687293"/>
          </a:xfrm>
          <a:prstGeom prst="rect">
            <a:avLst/>
          </a:prstGeom>
        </p:spPr>
        <p:txBody>
          <a:bodyPr lIns="108000">
            <a:normAutofit/>
          </a:bodyPr>
          <a:lstStyle>
            <a:lvl1pPr>
              <a:defRPr sz="1867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5190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82650" y="482600"/>
            <a:ext cx="11207012" cy="5878912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50" y="1919999"/>
            <a:ext cx="11233929" cy="4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82650" y="422461"/>
            <a:ext cx="10276668" cy="1200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cap="all" baseline="0"/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9448" y="6147716"/>
            <a:ext cx="957131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Pladsholder til tekst 8"/>
          <p:cNvSpPr>
            <a:spLocks noGrp="1"/>
          </p:cNvSpPr>
          <p:nvPr>
            <p:ph type="body" sz="quarter" idx="10" hasCustomPrompt="1"/>
          </p:nvPr>
        </p:nvSpPr>
        <p:spPr>
          <a:xfrm>
            <a:off x="2684733" y="6147717"/>
            <a:ext cx="797772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Doc. </a:t>
            </a:r>
            <a:r>
              <a:rPr lang="da-DK" dirty="0" err="1"/>
              <a:t>no</a:t>
            </a:r>
            <a:endParaRPr lang="da-DK" dirty="0"/>
          </a:p>
        </p:txBody>
      </p:sp>
      <p:sp>
        <p:nvSpPr>
          <p:cNvPr id="17" name="Pladsholder til tekst 8"/>
          <p:cNvSpPr>
            <a:spLocks noGrp="1"/>
          </p:cNvSpPr>
          <p:nvPr>
            <p:ph type="body" sz="quarter" idx="12" hasCustomPrompt="1"/>
          </p:nvPr>
        </p:nvSpPr>
        <p:spPr>
          <a:xfrm>
            <a:off x="2005001" y="6147717"/>
            <a:ext cx="671264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ID: </a:t>
            </a:r>
          </a:p>
        </p:txBody>
      </p:sp>
      <p:sp>
        <p:nvSpPr>
          <p:cNvPr id="18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143627" y="6147717"/>
            <a:ext cx="861375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Date:</a:t>
            </a:r>
          </a:p>
        </p:txBody>
      </p:sp>
    </p:spTree>
    <p:extLst>
      <p:ext uri="{BB962C8B-B14F-4D97-AF65-F5344CB8AC3E}">
        <p14:creationId xmlns:p14="http://schemas.microsoft.com/office/powerpoint/2010/main" val="1055662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2845">
          <p15:clr>
            <a:srgbClr val="FBAE40"/>
          </p15:clr>
        </p15:guide>
        <p15:guide id="3" orient="horz" pos="894">
          <p15:clr>
            <a:srgbClr val="FBAE40"/>
          </p15:clr>
        </p15:guide>
        <p15:guide id="4" pos="2880">
          <p15:clr>
            <a:srgbClr val="FBAE40"/>
          </p15:clr>
        </p15:guide>
        <p15:guide id="5" pos="226">
          <p15:clr>
            <a:srgbClr val="FBAE40"/>
          </p15:clr>
        </p15:guide>
        <p15:guide id="6" pos="5534">
          <p15:clr>
            <a:srgbClr val="FBAE40"/>
          </p15:clr>
        </p15:guide>
      </p15:sldGuideLst>
    </p:ext>
  </p:extLs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dsholder til indhold 2"/>
          <p:cNvSpPr>
            <a:spLocks noGrp="1"/>
          </p:cNvSpPr>
          <p:nvPr>
            <p:ph idx="14" hasCustomPrompt="1"/>
          </p:nvPr>
        </p:nvSpPr>
        <p:spPr>
          <a:xfrm>
            <a:off x="912000" y="1745999"/>
            <a:ext cx="4608000" cy="4208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12000" y="1038227"/>
            <a:ext cx="9792000" cy="419863"/>
          </a:xfrm>
          <a:prstGeom prst="rect">
            <a:avLst/>
          </a:prstGeom>
        </p:spPr>
        <p:txBody>
          <a:bodyPr/>
          <a:lstStyle/>
          <a:p>
            <a:r>
              <a:rPr lang="da-DK" dirty="0"/>
              <a:t>Klik og indsæt overskrift</a:t>
            </a:r>
          </a:p>
        </p:txBody>
      </p:sp>
      <p:sp>
        <p:nvSpPr>
          <p:cNvPr id="8" name="Pladsholder til indhold 3"/>
          <p:cNvSpPr>
            <a:spLocks noGrp="1"/>
          </p:cNvSpPr>
          <p:nvPr>
            <p:ph idx="13" hasCustomPrompt="1"/>
          </p:nvPr>
        </p:nvSpPr>
        <p:spPr>
          <a:xfrm>
            <a:off x="6097381" y="1745999"/>
            <a:ext cx="4608000" cy="4208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64800" y="6480002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5587200" y="6480002"/>
            <a:ext cx="1468907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10944539" y="6480002"/>
            <a:ext cx="637861" cy="365125"/>
          </a:xfrm>
          <a:prstGeom prst="rect">
            <a:avLst/>
          </a:prstGeom>
        </p:spPr>
        <p:txBody>
          <a:bodyPr/>
          <a:lstStyle/>
          <a:p>
            <a:fld id="{667EC89C-17A0-4E64-A6D2-B825673CEEDF}" type="slidenum">
              <a:rPr lang="da-DK" smtClean="0"/>
              <a:t>‹#›</a:t>
            </a:fld>
            <a:endParaRPr lang="da-DK"/>
          </a:p>
        </p:txBody>
      </p:sp>
      <p:sp>
        <p:nvSpPr>
          <p:cNvPr id="10" name="Rectangle 9"/>
          <p:cNvSpPr/>
          <p:nvPr userDrawn="1"/>
        </p:nvSpPr>
        <p:spPr>
          <a:xfrm>
            <a:off x="12336000" y="0"/>
            <a:ext cx="2400000" cy="59093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6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endParaRPr lang="da-DK" sz="16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en kort og enkel overskrift.</a:t>
            </a:r>
          </a:p>
          <a:p>
            <a:pPr rtl="0"/>
            <a:endParaRPr lang="da-DK" sz="16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n kombination af tekst og billeder/diagrammer eller faktabokse gør præsentationen mere dynamisk.</a:t>
            </a:r>
          </a:p>
          <a:p>
            <a:pPr rtl="0"/>
            <a:endParaRPr lang="da-DK" sz="16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de foruddefinerede Energinet.dk farver i </a:t>
            </a:r>
          </a:p>
          <a:p>
            <a:pPr rtl="0"/>
            <a:r>
              <a:rPr lang="da-DK"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tedet for standardfarver.</a:t>
            </a:r>
          </a:p>
          <a:p>
            <a:pPr rtl="0"/>
            <a:endParaRPr lang="da-DK" sz="16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gå for mange effekter.</a:t>
            </a:r>
          </a:p>
          <a:p>
            <a:pPr rtl="0"/>
            <a:endParaRPr lang="da-DK" sz="16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u kan finde billeder og grafiske elementer i Energinet.dk’s billeddatabase (</a:t>
            </a:r>
            <a:r>
              <a:rPr lang="da-DK" sz="1600" b="0" i="0" u="none" strike="noStrike" kern="1200" baseline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umulus</a:t>
            </a:r>
            <a:r>
              <a:rPr lang="da-DK"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) på </a:t>
            </a:r>
            <a:r>
              <a:rPr lang="da-DK" sz="1600" b="0" i="0" u="none" strike="noStrike" kern="1200" baseline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Site</a:t>
            </a:r>
            <a:r>
              <a:rPr lang="da-DK"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under Værktøjer – Kommunikation</a:t>
            </a:r>
          </a:p>
        </p:txBody>
      </p:sp>
    </p:spTree>
    <p:extLst>
      <p:ext uri="{BB962C8B-B14F-4D97-AF65-F5344CB8AC3E}">
        <p14:creationId xmlns:p14="http://schemas.microsoft.com/office/powerpoint/2010/main" val="5029985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ktangel 23">
            <a:extLst>
              <a:ext uri="{FF2B5EF4-FFF2-40B4-BE49-F238E27FC236}">
                <a16:creationId xmlns:a16="http://schemas.microsoft.com/office/drawing/2014/main" id="{A70984DD-6FD6-BD49-9823-E01C00074D58}"/>
              </a:ext>
            </a:extLst>
          </p:cNvPr>
          <p:cNvSpPr/>
          <p:nvPr userDrawn="1"/>
        </p:nvSpPr>
        <p:spPr>
          <a:xfrm>
            <a:off x="0" y="0"/>
            <a:ext cx="6102000" cy="343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B49CAF25-176E-5A4D-9CBF-5CBAFF28450B}"/>
              </a:ext>
            </a:extLst>
          </p:cNvPr>
          <p:cNvSpPr/>
          <p:nvPr userDrawn="1"/>
        </p:nvSpPr>
        <p:spPr>
          <a:xfrm>
            <a:off x="6102000" y="0"/>
            <a:ext cx="6102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2675EE6C-9AF8-5640-8C49-6FCA0D37E4BD}"/>
              </a:ext>
            </a:extLst>
          </p:cNvPr>
          <p:cNvSpPr/>
          <p:nvPr userDrawn="1"/>
        </p:nvSpPr>
        <p:spPr>
          <a:xfrm>
            <a:off x="0" y="3438000"/>
            <a:ext cx="6102000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0250F1C9-E8CA-1D4D-A702-30E9656301CB}"/>
              </a:ext>
            </a:extLst>
          </p:cNvPr>
          <p:cNvSpPr/>
          <p:nvPr userDrawn="1"/>
        </p:nvSpPr>
        <p:spPr>
          <a:xfrm>
            <a:off x="6102000" y="3438000"/>
            <a:ext cx="6102000" cy="343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2C280509-312C-EC4E-9055-368511E7B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242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E5BCC922-2B97-6D45-B26E-C9DCD91CA6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86475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F1A17406-FA28-AF46-87B0-90C9678BE3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6475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974BBC5-8EA0-F544-8FD6-3D20CB74A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6392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B58BAF-EB02-584B-8F8E-308E103900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6475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04355197-8B32-A144-8021-CBD5A16714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6475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1270C9-01F1-7647-BB60-707726D0B4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6392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097DD830-2D9D-0F4F-AB87-6A0DF610B3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6392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30076169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/ny sek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 25"/>
          <p:cNvSpPr/>
          <p:nvPr userDrawn="1"/>
        </p:nvSpPr>
        <p:spPr>
          <a:xfrm>
            <a:off x="1549" y="1555"/>
            <a:ext cx="12190451" cy="68712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159" tIns="54579" rIns="109159" bIns="54579" rtlCol="0" anchor="ctr"/>
          <a:lstStyle/>
          <a:p>
            <a:pPr algn="ctr"/>
            <a:endParaRPr lang="da-DK" sz="2400" dirty="0">
              <a:solidFill>
                <a:schemeClr val="bg1"/>
              </a:solidFill>
            </a:endParaRPr>
          </a:p>
        </p:txBody>
      </p:sp>
      <p:sp>
        <p:nvSpPr>
          <p:cNvPr id="27" name="Titel 1"/>
          <p:cNvSpPr>
            <a:spLocks noGrp="1"/>
          </p:cNvSpPr>
          <p:nvPr>
            <p:ph type="title" hasCustomPrompt="1"/>
          </p:nvPr>
        </p:nvSpPr>
        <p:spPr>
          <a:xfrm>
            <a:off x="603523" y="2372883"/>
            <a:ext cx="10972800" cy="11430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5333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til nyt tema/afsnit</a:t>
            </a:r>
          </a:p>
        </p:txBody>
      </p:sp>
      <p:sp>
        <p:nvSpPr>
          <p:cNvPr id="28" name="Pladsholder til tekst 9"/>
          <p:cNvSpPr>
            <a:spLocks noGrp="1"/>
          </p:cNvSpPr>
          <p:nvPr>
            <p:ph type="body" sz="quarter" idx="12" hasCustomPrompt="1"/>
          </p:nvPr>
        </p:nvSpPr>
        <p:spPr>
          <a:xfrm>
            <a:off x="2249231" y="4005064"/>
            <a:ext cx="7681384" cy="1439333"/>
          </a:xfrm>
          <a:prstGeom prst="rect">
            <a:avLst/>
          </a:prstGeom>
          <a:solidFill>
            <a:schemeClr val="accent1"/>
          </a:solidFill>
        </p:spPr>
        <p:txBody>
          <a:bodyPr>
            <a:normAutofit/>
          </a:bodyPr>
          <a:lstStyle>
            <a:lvl1pPr marL="0" indent="0" algn="ctr">
              <a:buNone/>
              <a:defRPr sz="2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Eventuelt kort, uddybende tekst</a:t>
            </a:r>
          </a:p>
        </p:txBody>
      </p:sp>
      <p:sp>
        <p:nvSpPr>
          <p:cNvPr id="16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93654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17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93654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18" name="Billede 1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575" y="6265228"/>
            <a:ext cx="1296000" cy="486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940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 25"/>
          <p:cNvSpPr/>
          <p:nvPr userDrawn="1"/>
        </p:nvSpPr>
        <p:spPr>
          <a:xfrm>
            <a:off x="1549" y="1555"/>
            <a:ext cx="12190451" cy="68712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159" tIns="54579" rIns="109159" bIns="54579" rtlCol="0" anchor="ctr"/>
          <a:lstStyle/>
          <a:p>
            <a:pPr algn="ctr"/>
            <a:endParaRPr lang="da-DK" sz="2400" dirty="0">
              <a:solidFill>
                <a:schemeClr val="bg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652CD27C-57F8-429D-8632-BCDC4141C3D4}"/>
              </a:ext>
            </a:extLst>
          </p:cNvPr>
          <p:cNvSpPr/>
          <p:nvPr userDrawn="1"/>
        </p:nvSpPr>
        <p:spPr>
          <a:xfrm>
            <a:off x="677352" y="968496"/>
            <a:ext cx="1440000" cy="1440000"/>
          </a:xfrm>
          <a:prstGeom prst="ellipse">
            <a:avLst/>
          </a:prstGeom>
          <a:solidFill>
            <a:srgbClr val="AED9DE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267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F7E4BA06-846D-4881-B313-2250960AD92D}"/>
              </a:ext>
            </a:extLst>
          </p:cNvPr>
          <p:cNvSpPr/>
          <p:nvPr userDrawn="1"/>
        </p:nvSpPr>
        <p:spPr>
          <a:xfrm>
            <a:off x="590517" y="1988839"/>
            <a:ext cx="576000" cy="576000"/>
          </a:xfrm>
          <a:prstGeom prst="ellipse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dirty="0"/>
          </a:p>
        </p:txBody>
      </p:sp>
      <p:sp>
        <p:nvSpPr>
          <p:cNvPr id="16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93654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17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93654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18" name="Billede 1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575" y="6265228"/>
            <a:ext cx="1296000" cy="486936"/>
          </a:xfrm>
          <a:prstGeom prst="rect">
            <a:avLst/>
          </a:prstGeom>
        </p:spPr>
      </p:pic>
      <p:sp>
        <p:nvSpPr>
          <p:cNvPr id="8" name="Pladsholder til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1938256" y="1988839"/>
            <a:ext cx="8478224" cy="2976332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 algn="just">
              <a:buNone/>
              <a:defRPr sz="2667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Indsæt citat</a:t>
            </a:r>
          </a:p>
        </p:txBody>
      </p:sp>
      <p:sp>
        <p:nvSpPr>
          <p:cNvPr id="9" name="Tekstfelt 1">
            <a:extLst>
              <a:ext uri="{FF2B5EF4-FFF2-40B4-BE49-F238E27FC236}">
                <a16:creationId xmlns:a16="http://schemas.microsoft.com/office/drawing/2014/main" id="{B2AE9EB1-B66D-C843-A502-8BFEF0D05723}"/>
              </a:ext>
            </a:extLst>
          </p:cNvPr>
          <p:cNvSpPr txBox="1"/>
          <p:nvPr userDrawn="1"/>
        </p:nvSpPr>
        <p:spPr>
          <a:xfrm>
            <a:off x="1295424" y="1220755"/>
            <a:ext cx="693021" cy="1155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4666" b="1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860740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 25"/>
          <p:cNvSpPr/>
          <p:nvPr userDrawn="1"/>
        </p:nvSpPr>
        <p:spPr>
          <a:xfrm>
            <a:off x="1549" y="1555"/>
            <a:ext cx="12190451" cy="68712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159" tIns="54579" rIns="109159" bIns="54579" rtlCol="0" anchor="ctr"/>
          <a:lstStyle/>
          <a:p>
            <a:pPr algn="ctr"/>
            <a:endParaRPr lang="da-DK" sz="2400" dirty="0">
              <a:solidFill>
                <a:schemeClr val="bg1"/>
              </a:solidFill>
            </a:endParaRPr>
          </a:p>
        </p:txBody>
      </p:sp>
      <p:sp>
        <p:nvSpPr>
          <p:cNvPr id="16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93654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17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93654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18" name="Billede 1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575" y="6265228"/>
            <a:ext cx="1296000" cy="486936"/>
          </a:xfrm>
          <a:prstGeom prst="rect">
            <a:avLst/>
          </a:prstGeom>
        </p:spPr>
      </p:pic>
      <p:sp>
        <p:nvSpPr>
          <p:cNvPr id="10" name="Tekstfelt 9"/>
          <p:cNvSpPr txBox="1"/>
          <p:nvPr userDrawn="1"/>
        </p:nvSpPr>
        <p:spPr>
          <a:xfrm>
            <a:off x="3503721" y="2756926"/>
            <a:ext cx="5184576" cy="91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5333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ause</a:t>
            </a:r>
            <a:endParaRPr lang="da-DK" sz="2400" dirty="0">
              <a:solidFill>
                <a:schemeClr val="bg1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6760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ørgsmå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 25"/>
          <p:cNvSpPr/>
          <p:nvPr userDrawn="1"/>
        </p:nvSpPr>
        <p:spPr>
          <a:xfrm>
            <a:off x="1549" y="1555"/>
            <a:ext cx="12190451" cy="68712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159" tIns="54579" rIns="109159" bIns="54579" rtlCol="0" anchor="ctr"/>
          <a:lstStyle/>
          <a:p>
            <a:pPr algn="ctr"/>
            <a:endParaRPr lang="da-DK" sz="2400" dirty="0">
              <a:solidFill>
                <a:schemeClr val="bg1"/>
              </a:solidFill>
            </a:endParaRPr>
          </a:p>
        </p:txBody>
      </p:sp>
      <p:sp>
        <p:nvSpPr>
          <p:cNvPr id="16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93654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17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93654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18" name="Billede 1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575" y="6265228"/>
            <a:ext cx="1296000" cy="486936"/>
          </a:xfrm>
          <a:prstGeom prst="rect">
            <a:avLst/>
          </a:prstGeom>
        </p:spPr>
      </p:pic>
      <p:sp>
        <p:nvSpPr>
          <p:cNvPr id="7" name="Titel 1"/>
          <p:cNvSpPr txBox="1">
            <a:spLocks/>
          </p:cNvSpPr>
          <p:nvPr userDrawn="1"/>
        </p:nvSpPr>
        <p:spPr>
          <a:xfrm>
            <a:off x="5880006" y="1004881"/>
            <a:ext cx="3857804" cy="4089896"/>
          </a:xfrm>
          <a:prstGeom prst="rect">
            <a:avLst/>
          </a:prstGeom>
        </p:spPr>
        <p:txBody>
          <a:bodyPr vert="horz" lIns="109159" tIns="54579" rIns="109159" bIns="54579" rtlCol="0" anchor="ctr">
            <a:noAutofit/>
          </a:bodyPr>
          <a:lstStyle>
            <a:lvl1pPr algn="ctr" defTabSz="818693" rtl="0" eaLnBrk="1" latinLnBrk="0" hangingPunct="1">
              <a:spcBef>
                <a:spcPct val="0"/>
              </a:spcBef>
              <a:buNone/>
              <a:defRPr sz="3900" kern="1200">
                <a:solidFill>
                  <a:schemeClr val="bg1"/>
                </a:solidFill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r>
              <a:rPr lang="da-DK" sz="38266" b="1" dirty="0">
                <a:solidFill>
                  <a:srgbClr val="98CFD5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rPr>
              <a:t>?</a:t>
            </a:r>
          </a:p>
        </p:txBody>
      </p:sp>
      <p:sp>
        <p:nvSpPr>
          <p:cNvPr id="8" name="Tekstfelt 7"/>
          <p:cNvSpPr txBox="1"/>
          <p:nvPr userDrawn="1"/>
        </p:nvSpPr>
        <p:spPr>
          <a:xfrm>
            <a:off x="2735627" y="2660915"/>
            <a:ext cx="5184576" cy="91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5333" dirty="0" err="1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Questions</a:t>
            </a:r>
            <a:endParaRPr lang="da-DK" sz="2400" dirty="0">
              <a:solidFill>
                <a:schemeClr val="bg1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239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1"/>
          <p:cNvGrpSpPr/>
          <p:nvPr userDrawn="1"/>
        </p:nvGrpSpPr>
        <p:grpSpPr>
          <a:xfrm>
            <a:off x="239351" y="348717"/>
            <a:ext cx="735909" cy="843676"/>
            <a:chOff x="7431059" y="329279"/>
            <a:chExt cx="763878" cy="883222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915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21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915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 Light" panose="00000400000000000000" pitchFamily="2" charset="0"/>
                <a:ea typeface="+mn-ea"/>
                <a:cs typeface="+mn-cs"/>
              </a:endParaRPr>
            </a:p>
          </p:txBody>
        </p:sp>
      </p:grpSp>
      <p:sp>
        <p:nvSpPr>
          <p:cNvPr id="33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87039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1091563"/>
            <a:fld id="{D6C43E05-5416-43CC-9354-A0F970D8A001}" type="datetime2">
              <a:rPr lang="da-DK" smtClean="0">
                <a:solidFill>
                  <a:srgbClr val="000000"/>
                </a:solidFill>
              </a:rPr>
              <a:pPr defTabSz="1091563"/>
              <a:t>8. juni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4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87039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 smtClean="0">
                <a:solidFill>
                  <a:srgbClr val="000000"/>
                </a:solidFill>
              </a:rPr>
              <a:pPr defTabSz="1091563"/>
              <a:t>‹#›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11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03445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14" name="Billed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287445" y="1566508"/>
            <a:ext cx="11616000" cy="456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23791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87039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30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87039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46" name="Billede 45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grpSp>
        <p:nvGrpSpPr>
          <p:cNvPr id="14" name="Gruppe 13"/>
          <p:cNvGrpSpPr/>
          <p:nvPr userDrawn="1"/>
        </p:nvGrpSpPr>
        <p:grpSpPr>
          <a:xfrm>
            <a:off x="11214586" y="361559"/>
            <a:ext cx="735909" cy="843676"/>
            <a:chOff x="7431059" y="329279"/>
            <a:chExt cx="763878" cy="88322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031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287445" y="1566508"/>
            <a:ext cx="11616000" cy="456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01786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dsholder til dato 14"/>
          <p:cNvSpPr>
            <a:spLocks noGrp="1"/>
          </p:cNvSpPr>
          <p:nvPr>
            <p:ph type="dt" sz="half" idx="17"/>
          </p:nvPr>
        </p:nvSpPr>
        <p:spPr>
          <a:xfrm>
            <a:off x="9210502" y="6387039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18" name="Pladsholder til slidenummer 15"/>
          <p:cNvSpPr>
            <a:spLocks noGrp="1"/>
          </p:cNvSpPr>
          <p:nvPr>
            <p:ph type="sldNum" sz="quarter" idx="18"/>
          </p:nvPr>
        </p:nvSpPr>
        <p:spPr>
          <a:xfrm>
            <a:off x="10873443" y="6387039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14" name="Billed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grpSp>
        <p:nvGrpSpPr>
          <p:cNvPr id="12" name="Gruppe 11"/>
          <p:cNvGrpSpPr/>
          <p:nvPr userDrawn="1"/>
        </p:nvGrpSpPr>
        <p:grpSpPr>
          <a:xfrm>
            <a:off x="239351" y="348717"/>
            <a:ext cx="735909" cy="843676"/>
            <a:chOff x="7431059" y="329279"/>
            <a:chExt cx="763878" cy="883222"/>
          </a:xfrm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21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3445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1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446" y="1566509"/>
            <a:ext cx="5614015" cy="4559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800"/>
              </a:spcAft>
              <a:buClrTx/>
              <a:buFont typeface="Arial" panose="020B0604020202020204" pitchFamily="34" charset="0"/>
              <a:buNone/>
              <a:defRPr sz="1867" baseline="0">
                <a:solidFill>
                  <a:schemeClr val="tx1"/>
                </a:solidFill>
              </a:defRPr>
            </a:lvl1pPr>
            <a:lvl2pPr>
              <a:defRPr/>
            </a:lvl2pPr>
            <a:lvl3pPr marL="831082" indent="0">
              <a:buNone/>
              <a:defRPr/>
            </a:lvl3pPr>
          </a:lstStyle>
          <a:p>
            <a:pPr lvl="0"/>
            <a:endParaRPr lang="da-DK" dirty="0"/>
          </a:p>
        </p:txBody>
      </p:sp>
      <p:sp>
        <p:nvSpPr>
          <p:cNvPr id="17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89431" y="1566507"/>
            <a:ext cx="5614015" cy="4559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800"/>
              </a:spcAft>
              <a:buClrTx/>
              <a:buFont typeface="Arial" panose="020B0604020202020204" pitchFamily="34" charset="0"/>
              <a:buNone/>
              <a:defRPr sz="1867" baseline="0">
                <a:solidFill>
                  <a:schemeClr val="tx1"/>
                </a:solidFill>
              </a:defRPr>
            </a:lvl1pPr>
            <a:lvl2pPr marL="426867" indent="0">
              <a:buNone/>
              <a:defRPr/>
            </a:lvl2pPr>
            <a:lvl3pPr marL="831082" indent="0">
              <a:buNone/>
              <a:defRPr/>
            </a:lvl3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2422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dsholder til dato 14"/>
          <p:cNvSpPr>
            <a:spLocks noGrp="1"/>
          </p:cNvSpPr>
          <p:nvPr>
            <p:ph type="dt" sz="half" idx="17"/>
          </p:nvPr>
        </p:nvSpPr>
        <p:spPr>
          <a:xfrm>
            <a:off x="9210502" y="6387039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18" name="Pladsholder til slidenummer 15"/>
          <p:cNvSpPr>
            <a:spLocks noGrp="1"/>
          </p:cNvSpPr>
          <p:nvPr>
            <p:ph type="sldNum" sz="quarter" idx="18"/>
          </p:nvPr>
        </p:nvSpPr>
        <p:spPr>
          <a:xfrm>
            <a:off x="10873443" y="6387039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Pladsholder til tekst 5">
            <a:extLst>
              <a:ext uri="{FF2B5EF4-FFF2-40B4-BE49-F238E27FC236}">
                <a16:creationId xmlns:a16="http://schemas.microsoft.com/office/drawing/2014/main" id="{40B81822-3D96-4344-807F-41D29B6F97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447445" y="1566508"/>
            <a:ext cx="3456000" cy="456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800"/>
              </a:spcAft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endParaRPr lang="da-DK" dirty="0"/>
          </a:p>
        </p:txBody>
      </p:sp>
      <p:pic>
        <p:nvPicPr>
          <p:cNvPr id="14" name="Billed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grpSp>
        <p:nvGrpSpPr>
          <p:cNvPr id="12" name="Gruppe 11"/>
          <p:cNvGrpSpPr/>
          <p:nvPr userDrawn="1"/>
        </p:nvGrpSpPr>
        <p:grpSpPr>
          <a:xfrm>
            <a:off x="239351" y="348717"/>
            <a:ext cx="735909" cy="843676"/>
            <a:chOff x="7431059" y="329279"/>
            <a:chExt cx="763878" cy="883222"/>
          </a:xfrm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21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3445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1" name="Pladsholder til tekst 5">
            <a:extLst>
              <a:ext uri="{FF2B5EF4-FFF2-40B4-BE49-F238E27FC236}">
                <a16:creationId xmlns:a16="http://schemas.microsoft.com/office/drawing/2014/main" id="{40B81822-3D96-4344-807F-41D29B6F97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66452" y="1566508"/>
            <a:ext cx="3456000" cy="456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800"/>
              </a:spcAft>
              <a:buFont typeface="Arial" panose="020B0604020202020204" pitchFamily="34" charset="0"/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endParaRPr lang="da-DK" dirty="0"/>
          </a:p>
        </p:txBody>
      </p:sp>
      <p:sp>
        <p:nvSpPr>
          <p:cNvPr id="17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446" y="1566510"/>
            <a:ext cx="3454013" cy="4559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800"/>
              </a:spcAft>
              <a:buClrTx/>
              <a:buFont typeface="Arial" panose="020B0604020202020204" pitchFamily="34" charset="0"/>
              <a:buNone/>
              <a:defRPr sz="1600" baseline="0">
                <a:solidFill>
                  <a:schemeClr val="tx1"/>
                </a:solidFill>
              </a:defRPr>
            </a:lvl1pPr>
            <a:lvl2pPr>
              <a:defRPr/>
            </a:lvl2pPr>
            <a:lvl3pPr marL="831082" indent="0">
              <a:buNone/>
              <a:defRPr/>
            </a:lvl3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0196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dato 4"/>
          <p:cNvSpPr>
            <a:spLocks noGrp="1"/>
          </p:cNvSpPr>
          <p:nvPr>
            <p:ph type="dt" sz="half" idx="10"/>
          </p:nvPr>
        </p:nvSpPr>
        <p:spPr>
          <a:xfrm>
            <a:off x="9217378" y="6426268"/>
            <a:ext cx="1642631" cy="365125"/>
          </a:xfrm>
        </p:spPr>
        <p:txBody>
          <a:bodyPr/>
          <a:lstStyle>
            <a:lvl1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10" name="Pladsholder til slidenummer 5"/>
          <p:cNvSpPr>
            <a:spLocks noGrp="1"/>
          </p:cNvSpPr>
          <p:nvPr>
            <p:ph type="sldNum" sz="quarter" idx="11"/>
          </p:nvPr>
        </p:nvSpPr>
        <p:spPr>
          <a:xfrm>
            <a:off x="10880319" y="6426268"/>
            <a:ext cx="1077052" cy="365125"/>
          </a:xfrm>
        </p:spPr>
        <p:txBody>
          <a:bodyPr/>
          <a:lstStyle>
            <a:lvl1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5" name="Billede 4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963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 for i d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</p:spPr>
      </p:pic>
      <p:sp>
        <p:nvSpPr>
          <p:cNvPr id="9" name="Ellipse 8"/>
          <p:cNvSpPr/>
          <p:nvPr userDrawn="1"/>
        </p:nvSpPr>
        <p:spPr>
          <a:xfrm>
            <a:off x="3696267" y="1029000"/>
            <a:ext cx="4800000" cy="4800000"/>
          </a:xfrm>
          <a:prstGeom prst="ellipse">
            <a:avLst/>
          </a:prstGeom>
          <a:solidFill>
            <a:srgbClr val="FFFFFF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14" name="Ellipse 13"/>
          <p:cNvSpPr/>
          <p:nvPr userDrawn="1"/>
        </p:nvSpPr>
        <p:spPr>
          <a:xfrm>
            <a:off x="3407701" y="1018972"/>
            <a:ext cx="1248000" cy="1248000"/>
          </a:xfrm>
          <a:prstGeom prst="ellipse">
            <a:avLst/>
          </a:prstGeom>
          <a:solidFill>
            <a:srgbClr val="0097A7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dirty="0"/>
          </a:p>
        </p:txBody>
      </p:sp>
      <p:sp>
        <p:nvSpPr>
          <p:cNvPr id="15" name="Ellipse 14"/>
          <p:cNvSpPr/>
          <p:nvPr userDrawn="1"/>
        </p:nvSpPr>
        <p:spPr>
          <a:xfrm>
            <a:off x="3407701" y="1930972"/>
            <a:ext cx="672000" cy="672000"/>
          </a:xfrm>
          <a:prstGeom prst="ellipse">
            <a:avLst/>
          </a:prstGeom>
          <a:solidFill>
            <a:srgbClr val="1DE2CD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B2D3D024-E704-498F-BCBA-1E96AF5B82C9}"/>
              </a:ext>
            </a:extLst>
          </p:cNvPr>
          <p:cNvSpPr/>
          <p:nvPr userDrawn="1"/>
        </p:nvSpPr>
        <p:spPr>
          <a:xfrm>
            <a:off x="8976320" y="5349213"/>
            <a:ext cx="1200000" cy="1200000"/>
          </a:xfrm>
          <a:prstGeom prst="ellipse">
            <a:avLst/>
          </a:prstGeom>
          <a:solidFill>
            <a:srgbClr val="FFFF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6068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pic>
        <p:nvPicPr>
          <p:cNvPr id="18" name="Billede 17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5725" y="264223"/>
            <a:ext cx="1296000" cy="486936"/>
          </a:xfrm>
          <a:prstGeom prst="rect">
            <a:avLst/>
          </a:prstGeom>
        </p:spPr>
      </p:pic>
      <p:sp>
        <p:nvSpPr>
          <p:cNvPr id="3" name="Tekstfelt 2"/>
          <p:cNvSpPr txBox="1"/>
          <p:nvPr userDrawn="1"/>
        </p:nvSpPr>
        <p:spPr>
          <a:xfrm>
            <a:off x="3695734" y="3124657"/>
            <a:ext cx="48005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3200" dirty="0">
                <a:solidFill>
                  <a:srgbClr val="0097A7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ak</a:t>
            </a:r>
            <a:r>
              <a:rPr lang="da-DK" sz="3200" baseline="0" dirty="0">
                <a:solidFill>
                  <a:srgbClr val="0097A7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for i dag</a:t>
            </a:r>
            <a:endParaRPr lang="da-DK" sz="3200" dirty="0">
              <a:solidFill>
                <a:srgbClr val="0097A7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095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4231207E-52DE-7743-B71F-230159D42985}"/>
              </a:ext>
            </a:extLst>
          </p:cNvPr>
          <p:cNvSpPr/>
          <p:nvPr userDrawn="1"/>
        </p:nvSpPr>
        <p:spPr>
          <a:xfrm>
            <a:off x="0" y="3438854"/>
            <a:ext cx="4064399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363B3948-444E-AA45-B1E9-7EDF40549589}"/>
              </a:ext>
            </a:extLst>
          </p:cNvPr>
          <p:cNvSpPr/>
          <p:nvPr userDrawn="1"/>
        </p:nvSpPr>
        <p:spPr>
          <a:xfrm>
            <a:off x="4060281" y="3438854"/>
            <a:ext cx="4064399" cy="343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5F8A012-C0A3-7947-83C8-A529753F4C0A}"/>
              </a:ext>
            </a:extLst>
          </p:cNvPr>
          <p:cNvSpPr/>
          <p:nvPr userDrawn="1"/>
        </p:nvSpPr>
        <p:spPr>
          <a:xfrm>
            <a:off x="8123999" y="3438854"/>
            <a:ext cx="4068000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BC0267F-007F-3641-8922-B7E2F637F90A}"/>
              </a:ext>
            </a:extLst>
          </p:cNvPr>
          <p:cNvSpPr/>
          <p:nvPr userDrawn="1"/>
        </p:nvSpPr>
        <p:spPr>
          <a:xfrm>
            <a:off x="0" y="0"/>
            <a:ext cx="4064399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D5C2644-5515-1A4C-861C-7326752F58CA}"/>
              </a:ext>
            </a:extLst>
          </p:cNvPr>
          <p:cNvSpPr/>
          <p:nvPr userDrawn="1"/>
        </p:nvSpPr>
        <p:spPr>
          <a:xfrm>
            <a:off x="4060281" y="0"/>
            <a:ext cx="4064399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49124EA-328E-544F-8063-AD5A0253A45B}"/>
              </a:ext>
            </a:extLst>
          </p:cNvPr>
          <p:cNvSpPr/>
          <p:nvPr userDrawn="1"/>
        </p:nvSpPr>
        <p:spPr>
          <a:xfrm>
            <a:off x="8123999" y="0"/>
            <a:ext cx="4068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90D8679-556B-8A40-899D-9C84538CB7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199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4B3218E-0749-9E44-8EB8-F4A37D35C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6298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95927F8-1F62-F141-B530-0EFB97A9C3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87787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F466B7C-EB91-BF4C-AF64-2F54DF448F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199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39CC98F-B499-7842-957F-DE634767DF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6298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899C76E-502E-5F4D-965E-B2EE55D85B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87787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3" name="Pladsholder til billede 21">
            <a:extLst>
              <a:ext uri="{FF2B5EF4-FFF2-40B4-BE49-F238E27FC236}">
                <a16:creationId xmlns:a16="http://schemas.microsoft.com/office/drawing/2014/main" id="{DF55435F-ADCB-E04B-8525-F3542D26DA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444480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2" name="Pladsholder til billede 21">
            <a:extLst>
              <a:ext uri="{FF2B5EF4-FFF2-40B4-BE49-F238E27FC236}">
                <a16:creationId xmlns:a16="http://schemas.microsoft.com/office/drawing/2014/main" id="{645988EB-136C-7B47-8BA1-CF5AFA25140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28662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3" name="Pladsholder til billede 21">
            <a:extLst>
              <a:ext uri="{FF2B5EF4-FFF2-40B4-BE49-F238E27FC236}">
                <a16:creationId xmlns:a16="http://schemas.microsoft.com/office/drawing/2014/main" id="{25765CAD-7482-C640-9455-1D6708AA64F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592275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4" name="Pladsholder til billede 21">
            <a:extLst>
              <a:ext uri="{FF2B5EF4-FFF2-40B4-BE49-F238E27FC236}">
                <a16:creationId xmlns:a16="http://schemas.microsoft.com/office/drawing/2014/main" id="{10C7017F-8D5D-1C4A-B3D6-C1EF8301B11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44480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5" name="Pladsholder til billede 21">
            <a:extLst>
              <a:ext uri="{FF2B5EF4-FFF2-40B4-BE49-F238E27FC236}">
                <a16:creationId xmlns:a16="http://schemas.microsoft.com/office/drawing/2014/main" id="{43FF324F-4E4B-1D43-8DE6-5DF412D016B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428662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6" name="Pladsholder til billede 21">
            <a:extLst>
              <a:ext uri="{FF2B5EF4-FFF2-40B4-BE49-F238E27FC236}">
                <a16:creationId xmlns:a16="http://schemas.microsoft.com/office/drawing/2014/main" id="{6840F908-7AC0-954D-87CD-F598A573381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92275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</p:spTree>
    <p:extLst>
      <p:ext uri="{BB962C8B-B14F-4D97-AF65-F5344CB8AC3E}">
        <p14:creationId xmlns:p14="http://schemas.microsoft.com/office/powerpoint/2010/main" val="42526653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Supergrafik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942999" cy="47810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96267" y="1575836"/>
            <a:ext cx="7823522" cy="1846264"/>
          </a:xfrm>
        </p:spPr>
        <p:txBody>
          <a:bodyPr anchor="b"/>
          <a:lstStyle>
            <a:lvl1pPr algn="l">
              <a:spcBef>
                <a:spcPts val="400"/>
              </a:spcBef>
              <a:defRPr sz="4800" baseline="0">
                <a:solidFill>
                  <a:schemeClr val="accent2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96267" y="3680864"/>
            <a:ext cx="7823522" cy="524933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None/>
              <a:defRPr sz="3300">
                <a:solidFill>
                  <a:schemeClr val="accent1"/>
                </a:solidFill>
              </a:defRPr>
            </a:lvl1pPr>
            <a:lvl2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2pPr>
            <a:lvl3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3pPr>
            <a:lvl4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4pPr>
            <a:lvl5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5pPr>
            <a:lvl6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6pPr>
            <a:lvl7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7pPr>
            <a:lvl8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8pPr>
            <a:lvl9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9pPr>
          </a:lstStyle>
          <a:p>
            <a:r>
              <a:rPr lang="da-DK" dirty="0"/>
              <a:t>Indsæt underoverskrift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37" y="4349729"/>
            <a:ext cx="7824075" cy="45878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i="1">
                <a:solidFill>
                  <a:schemeClr val="tx2">
                    <a:lumMod val="75000"/>
                  </a:schemeClr>
                </a:solidFill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buFont typeface="Arial" panose="020B0604020202020204" pitchFamily="34" charset="0"/>
              <a:buChar char="​"/>
              <a:defRPr sz="2400"/>
            </a:lvl3pPr>
            <a:lvl4pPr marL="0" indent="0">
              <a:buFont typeface="Arial" panose="020B0604020202020204" pitchFamily="34" charset="0"/>
              <a:buChar char="​"/>
              <a:defRPr sz="2400"/>
            </a:lvl4pPr>
            <a:lvl5pPr marL="0" indent="0">
              <a:buFont typeface="Arial" panose="020B0604020202020204" pitchFamily="34" charset="0"/>
              <a:buChar char="​"/>
              <a:defRPr sz="2400"/>
            </a:lvl5pPr>
            <a:lvl6pPr marL="0" indent="0">
              <a:buFont typeface="Arial" panose="020B0604020202020204" pitchFamily="34" charset="0"/>
              <a:buChar char="​"/>
              <a:defRPr sz="2400"/>
            </a:lvl6pPr>
            <a:lvl7pPr marL="0" indent="0">
              <a:buFont typeface="Arial" panose="020B0604020202020204" pitchFamily="34" charset="0"/>
              <a:buChar char="​"/>
              <a:defRPr sz="2400"/>
            </a:lvl7pPr>
            <a:lvl8pPr marL="0" indent="0">
              <a:buFont typeface="Arial" panose="020B0604020202020204" pitchFamily="34" charset="0"/>
              <a:buChar char="​"/>
              <a:defRPr sz="2400"/>
            </a:lvl8pPr>
          </a:lstStyle>
          <a:p>
            <a:pPr lvl="0"/>
            <a:r>
              <a:rPr lang="da-DK" dirty="0"/>
              <a:t>Indsæt navn og efternavn</a:t>
            </a:r>
          </a:p>
        </p:txBody>
      </p:sp>
    </p:spTree>
    <p:extLst>
      <p:ext uri="{BB962C8B-B14F-4D97-AF65-F5344CB8AC3E}">
        <p14:creationId xmlns:p14="http://schemas.microsoft.com/office/powerpoint/2010/main" val="1727509188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1022667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1006518949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7" y="1196975"/>
            <a:ext cx="4921739" cy="4959350"/>
          </a:xfrm>
          <a:solidFill>
            <a:schemeClr val="bg1">
              <a:lumMod val="95000"/>
            </a:schemeClr>
          </a:solidFill>
        </p:spPr>
        <p:txBody>
          <a:bodyPr tIns="108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82663" y="1196975"/>
            <a:ext cx="4933337" cy="71913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4" y="2852739"/>
            <a:ext cx="4933336" cy="3303586"/>
          </a:xfrm>
        </p:spPr>
        <p:txBody>
          <a:bodyPr/>
          <a:lstStyle/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4933337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3236888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337127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94650180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487069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799147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0929863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B56B0860-E2FC-4046-BE7C-E6EA1D3C7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86B7801-E3B9-8C49-9C6E-CA2439CD3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486B617-819F-D54A-871B-B63CD3758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4D1D345-D353-6F4A-A586-8E5CDA0F43FC}"/>
              </a:ext>
            </a:extLst>
          </p:cNvPr>
          <p:cNvSpPr/>
          <p:nvPr userDrawn="1"/>
        </p:nvSpPr>
        <p:spPr>
          <a:xfrm>
            <a:off x="949705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Pladsholder til tekst 15">
            <a:extLst>
              <a:ext uri="{FF2B5EF4-FFF2-40B4-BE49-F238E27FC236}">
                <a16:creationId xmlns:a16="http://schemas.microsoft.com/office/drawing/2014/main" id="{8E6A2F22-BEF4-6543-97DA-88F5BA3B8E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9705" y="2488040"/>
            <a:ext cx="4920028" cy="1405232"/>
          </a:xfrm>
        </p:spPr>
        <p:txBody>
          <a:bodyPr/>
          <a:lstStyle>
            <a:lvl1pPr algn="ctr">
              <a:defRPr sz="7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OGRAM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D815E82-1046-D241-BFCC-C6BAD16F7C90}"/>
              </a:ext>
            </a:extLst>
          </p:cNvPr>
          <p:cNvSpPr/>
          <p:nvPr userDrawn="1"/>
        </p:nvSpPr>
        <p:spPr>
          <a:xfrm>
            <a:off x="6181582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2" name="Pladsholder til tekst 13">
            <a:extLst>
              <a:ext uri="{FF2B5EF4-FFF2-40B4-BE49-F238E27FC236}">
                <a16:creationId xmlns:a16="http://schemas.microsoft.com/office/drawing/2014/main" id="{3F7C6172-494C-DD44-8F59-32C8484CFA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2152" y="2108027"/>
            <a:ext cx="3798888" cy="3101517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Tekst
Tekst 
Tekst 
 Tekst 
 Tekst</a:t>
            </a:r>
          </a:p>
          <a:p>
            <a:r>
              <a:rPr lang="da-DK" dirty="0"/>
              <a:t> Tekst</a:t>
            </a:r>
          </a:p>
          <a:p>
            <a:r>
              <a:rPr lang="da-DK" dirty="0"/>
              <a:t> Tekst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C036E63E-0936-6E48-B39F-028BB2CB9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158" y="3714967"/>
            <a:ext cx="2520372" cy="2398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280451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em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8C022D2-711D-3B48-9664-6E97484392F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3AD1A35-4CCE-1C47-BAAC-A29B69D42F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6231" y="3780149"/>
            <a:ext cx="6232180" cy="1470041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5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 for nyt tema/emne</a:t>
            </a:r>
          </a:p>
        </p:txBody>
      </p:sp>
      <p:sp>
        <p:nvSpPr>
          <p:cNvPr id="11" name="Pladsholder til billede 21">
            <a:extLst>
              <a:ext uri="{FF2B5EF4-FFF2-40B4-BE49-F238E27FC236}">
                <a16:creationId xmlns:a16="http://schemas.microsoft.com/office/drawing/2014/main" id="{79C2A64C-C131-7147-B71D-EF7FA287183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61675" y="1580349"/>
            <a:ext cx="1861293" cy="1861293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5A1DB3C-A15F-F44C-B74D-5E8BAEC926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6231" y="5355771"/>
            <a:ext cx="6232180" cy="837848"/>
          </a:xfrm>
        </p:spPr>
        <p:txBody>
          <a:bodyPr anchor="t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2000" cap="none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evt. kort understøttende tekst</a:t>
            </a:r>
          </a:p>
        </p:txBody>
      </p:sp>
    </p:spTree>
    <p:extLst>
      <p:ext uri="{BB962C8B-B14F-4D97-AF65-F5344CB8AC3E}">
        <p14:creationId xmlns:p14="http://schemas.microsoft.com/office/powerpoint/2010/main" val="1084353953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8" y="0"/>
            <a:ext cx="5916612" cy="6858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6275388" cy="685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58814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33627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856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94486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83673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45C937D3-2FD3-D148-9B52-28210AC27B20}"/>
              </a:ext>
            </a:extLst>
          </p:cNvPr>
          <p:cNvSpPr/>
          <p:nvPr userDrawn="1"/>
        </p:nvSpPr>
        <p:spPr>
          <a:xfrm>
            <a:off x="6108568" y="0"/>
            <a:ext cx="608343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03A224DA-2850-CB41-8EBA-23FB13A4A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1092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EB37FB4A-7EE7-7342-AF40-FDD92B4E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03054" y="1196976"/>
            <a:ext cx="4222982" cy="1547812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39818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kta bok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lå baggrund"/>
          <p:cNvSpPr/>
          <p:nvPr userDrawn="1"/>
        </p:nvSpPr>
        <p:spPr>
          <a:xfrm>
            <a:off x="-1" y="0"/>
            <a:ext cx="40644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" name="Mørk blå baggrund"/>
          <p:cNvSpPr/>
          <p:nvPr userDrawn="1"/>
        </p:nvSpPr>
        <p:spPr>
          <a:xfrm>
            <a:off x="4063800" y="0"/>
            <a:ext cx="40644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Grøn baggrund"/>
          <p:cNvSpPr/>
          <p:nvPr userDrawn="1"/>
        </p:nvSpPr>
        <p:spPr>
          <a:xfrm>
            <a:off x="8128200" y="0"/>
            <a:ext cx="4064400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199" y="1196975"/>
            <a:ext cx="2880000" cy="104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Indsæt fakta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2199" y="2335214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41608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37758" y="2335213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701559" y="2335213"/>
            <a:ext cx="2880000" cy="3821112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26458" y="2635420"/>
            <a:ext cx="646112" cy="24288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0589394-5D7C-2F4F-8AB5-24F785BCD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98453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</p:spTree>
    <p:extLst>
      <p:ext uri="{BB962C8B-B14F-4D97-AF65-F5344CB8AC3E}">
        <p14:creationId xmlns:p14="http://schemas.microsoft.com/office/powerpoint/2010/main" val="10426227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2916302"/>
            <a:ext cx="2398100" cy="3438000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2916302"/>
            <a:ext cx="2398100" cy="3438000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2916302"/>
            <a:ext cx="2398100" cy="343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2916302"/>
            <a:ext cx="2398100" cy="3438000"/>
          </a:xfrm>
          <a:solidFill>
            <a:schemeClr val="accent5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</p:spTree>
    <p:extLst>
      <p:ext uri="{BB962C8B-B14F-4D97-AF65-F5344CB8AC3E}">
        <p14:creationId xmlns:p14="http://schemas.microsoft.com/office/powerpoint/2010/main" val="2976644135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akta bokse med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1184C-B22A-AD40-8EC2-6DB7F8554D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20" name="Pladsholder til tekst 20">
            <a:extLst>
              <a:ext uri="{FF2B5EF4-FFF2-40B4-BE49-F238E27FC236}">
                <a16:creationId xmlns:a16="http://schemas.microsoft.com/office/drawing/2014/main" id="{589E580B-CAF0-0843-9549-CC4DC8EB83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2" y="2227943"/>
            <a:ext cx="3248251" cy="4126359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E173464F-0D76-D747-8AD0-2735D2AA33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65769" y="2227943"/>
            <a:ext cx="3248251" cy="4126359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2" name="Pladsholder til tekst 20">
            <a:extLst>
              <a:ext uri="{FF2B5EF4-FFF2-40B4-BE49-F238E27FC236}">
                <a16:creationId xmlns:a16="http://schemas.microsoft.com/office/drawing/2014/main" id="{D7009CD0-C6D3-DA47-9564-AA91F054FE8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48876" y="2227943"/>
            <a:ext cx="3248251" cy="4126359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B673409-9F47-FB45-A48A-89910EF4B4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4667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74B29C6-58EB-D34C-9127-ACEA3C8422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27295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1A87E3-BEAA-A645-A475-1D81C3B496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17980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Pladsholder til dato 2">
            <a:extLst>
              <a:ext uri="{FF2B5EF4-FFF2-40B4-BE49-F238E27FC236}">
                <a16:creationId xmlns:a16="http://schemas.microsoft.com/office/drawing/2014/main" id="{6163A414-1DB0-E44F-AA68-084AD5F92A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3" name="Pladsholder til sidefod 3">
            <a:extLst>
              <a:ext uri="{FF2B5EF4-FFF2-40B4-BE49-F238E27FC236}">
                <a16:creationId xmlns:a16="http://schemas.microsoft.com/office/drawing/2014/main" id="{D5BDAAB7-64D3-6F4A-B353-FD3D427AA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4" name="Pladsholder til slidenummer 4">
            <a:extLst>
              <a:ext uri="{FF2B5EF4-FFF2-40B4-BE49-F238E27FC236}">
                <a16:creationId xmlns:a16="http://schemas.microsoft.com/office/drawing/2014/main" id="{69B55418-5C62-9B4C-862D-AC2428413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ADE3066-ED1D-4F49-93F8-391ABD55C0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90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7F8424-2719-084A-B7D9-9177E1063F2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19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6C2F8DB8-478D-2747-97E7-34A79FA6D6D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11880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78051764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ktangel 23">
            <a:extLst>
              <a:ext uri="{FF2B5EF4-FFF2-40B4-BE49-F238E27FC236}">
                <a16:creationId xmlns:a16="http://schemas.microsoft.com/office/drawing/2014/main" id="{A70984DD-6FD6-BD49-9823-E01C00074D58}"/>
              </a:ext>
            </a:extLst>
          </p:cNvPr>
          <p:cNvSpPr/>
          <p:nvPr userDrawn="1"/>
        </p:nvSpPr>
        <p:spPr>
          <a:xfrm>
            <a:off x="0" y="0"/>
            <a:ext cx="6102000" cy="343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B49CAF25-176E-5A4D-9CBF-5CBAFF28450B}"/>
              </a:ext>
            </a:extLst>
          </p:cNvPr>
          <p:cNvSpPr/>
          <p:nvPr userDrawn="1"/>
        </p:nvSpPr>
        <p:spPr>
          <a:xfrm>
            <a:off x="6102000" y="0"/>
            <a:ext cx="6102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2675EE6C-9AF8-5640-8C49-6FCA0D37E4BD}"/>
              </a:ext>
            </a:extLst>
          </p:cNvPr>
          <p:cNvSpPr/>
          <p:nvPr userDrawn="1"/>
        </p:nvSpPr>
        <p:spPr>
          <a:xfrm>
            <a:off x="0" y="3438000"/>
            <a:ext cx="6102000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0250F1C9-E8CA-1D4D-A702-30E9656301CB}"/>
              </a:ext>
            </a:extLst>
          </p:cNvPr>
          <p:cNvSpPr/>
          <p:nvPr userDrawn="1"/>
        </p:nvSpPr>
        <p:spPr>
          <a:xfrm>
            <a:off x="6102000" y="3438000"/>
            <a:ext cx="6102000" cy="343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2C280509-312C-EC4E-9055-368511E7B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242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E5BCC922-2B97-6D45-B26E-C9DCD91CA6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86475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F1A17406-FA28-AF46-87B0-90C9678BE3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6475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974BBC5-8EA0-F544-8FD6-3D20CB74A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6392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B58BAF-EB02-584B-8F8E-308E103900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6475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04355197-8B32-A144-8021-CBD5A16714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6475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1270C9-01F1-7647-BB60-707726D0B4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6392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097DD830-2D9D-0F4F-AB87-6A0DF610B3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6392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67579017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4231207E-52DE-7743-B71F-230159D42985}"/>
              </a:ext>
            </a:extLst>
          </p:cNvPr>
          <p:cNvSpPr/>
          <p:nvPr userDrawn="1"/>
        </p:nvSpPr>
        <p:spPr>
          <a:xfrm>
            <a:off x="0" y="3438854"/>
            <a:ext cx="4064399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363B3948-444E-AA45-B1E9-7EDF40549589}"/>
              </a:ext>
            </a:extLst>
          </p:cNvPr>
          <p:cNvSpPr/>
          <p:nvPr userDrawn="1"/>
        </p:nvSpPr>
        <p:spPr>
          <a:xfrm>
            <a:off x="4060281" y="3438854"/>
            <a:ext cx="4064399" cy="343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5F8A012-C0A3-7947-83C8-A529753F4C0A}"/>
              </a:ext>
            </a:extLst>
          </p:cNvPr>
          <p:cNvSpPr/>
          <p:nvPr userDrawn="1"/>
        </p:nvSpPr>
        <p:spPr>
          <a:xfrm>
            <a:off x="8123999" y="3438854"/>
            <a:ext cx="4068000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BC0267F-007F-3641-8922-B7E2F637F90A}"/>
              </a:ext>
            </a:extLst>
          </p:cNvPr>
          <p:cNvSpPr/>
          <p:nvPr userDrawn="1"/>
        </p:nvSpPr>
        <p:spPr>
          <a:xfrm>
            <a:off x="0" y="0"/>
            <a:ext cx="4064399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D5C2644-5515-1A4C-861C-7326752F58CA}"/>
              </a:ext>
            </a:extLst>
          </p:cNvPr>
          <p:cNvSpPr/>
          <p:nvPr userDrawn="1"/>
        </p:nvSpPr>
        <p:spPr>
          <a:xfrm>
            <a:off x="4060281" y="0"/>
            <a:ext cx="4064399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49124EA-328E-544F-8063-AD5A0253A45B}"/>
              </a:ext>
            </a:extLst>
          </p:cNvPr>
          <p:cNvSpPr/>
          <p:nvPr userDrawn="1"/>
        </p:nvSpPr>
        <p:spPr>
          <a:xfrm>
            <a:off x="8123999" y="0"/>
            <a:ext cx="4068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90D8679-556B-8A40-899D-9C84538CB7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199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4B3218E-0749-9E44-8EB8-F4A37D35C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6298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95927F8-1F62-F141-B530-0EFB97A9C3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87787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F466B7C-EB91-BF4C-AF64-2F54DF448F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199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39CC98F-B499-7842-957F-DE634767DF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6298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899C76E-502E-5F4D-965E-B2EE55D85B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87787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3" name="Pladsholder til billede 21">
            <a:extLst>
              <a:ext uri="{FF2B5EF4-FFF2-40B4-BE49-F238E27FC236}">
                <a16:creationId xmlns:a16="http://schemas.microsoft.com/office/drawing/2014/main" id="{DF55435F-ADCB-E04B-8525-F3542D26DA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444480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2" name="Pladsholder til billede 21">
            <a:extLst>
              <a:ext uri="{FF2B5EF4-FFF2-40B4-BE49-F238E27FC236}">
                <a16:creationId xmlns:a16="http://schemas.microsoft.com/office/drawing/2014/main" id="{645988EB-136C-7B47-8BA1-CF5AFA25140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28662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3" name="Pladsholder til billede 21">
            <a:extLst>
              <a:ext uri="{FF2B5EF4-FFF2-40B4-BE49-F238E27FC236}">
                <a16:creationId xmlns:a16="http://schemas.microsoft.com/office/drawing/2014/main" id="{25765CAD-7482-C640-9455-1D6708AA64F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592275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4" name="Pladsholder til billede 21">
            <a:extLst>
              <a:ext uri="{FF2B5EF4-FFF2-40B4-BE49-F238E27FC236}">
                <a16:creationId xmlns:a16="http://schemas.microsoft.com/office/drawing/2014/main" id="{10C7017F-8D5D-1C4A-B3D6-C1EF8301B11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44480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5" name="Pladsholder til billede 21">
            <a:extLst>
              <a:ext uri="{FF2B5EF4-FFF2-40B4-BE49-F238E27FC236}">
                <a16:creationId xmlns:a16="http://schemas.microsoft.com/office/drawing/2014/main" id="{43FF324F-4E4B-1D43-8DE6-5DF412D016B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428662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6" name="Pladsholder til billede 21">
            <a:extLst>
              <a:ext uri="{FF2B5EF4-FFF2-40B4-BE49-F238E27FC236}">
                <a16:creationId xmlns:a16="http://schemas.microsoft.com/office/drawing/2014/main" id="{6840F908-7AC0-954D-87CD-F598A573381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92275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</p:spTree>
    <p:extLst>
      <p:ext uri="{BB962C8B-B14F-4D97-AF65-F5344CB8AC3E}">
        <p14:creationId xmlns:p14="http://schemas.microsoft.com/office/powerpoint/2010/main" val="1482119627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2916302"/>
            <a:ext cx="2398100" cy="3438000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2916302"/>
            <a:ext cx="2398100" cy="3438000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2916302"/>
            <a:ext cx="2398100" cy="343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2916302"/>
            <a:ext cx="2398100" cy="3438000"/>
          </a:xfrm>
          <a:solidFill>
            <a:schemeClr val="accent5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</p:spTree>
    <p:extLst>
      <p:ext uri="{BB962C8B-B14F-4D97-AF65-F5344CB8AC3E}">
        <p14:creationId xmlns:p14="http://schemas.microsoft.com/office/powerpoint/2010/main" val="3114453032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40035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E1B3C7FE-A5C5-DB43-8F81-6B58E061747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82663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23" name="Pladsholder til billede 6">
            <a:extLst>
              <a:ext uri="{FF2B5EF4-FFF2-40B4-BE49-F238E27FC236}">
                <a16:creationId xmlns:a16="http://schemas.microsoft.com/office/drawing/2014/main" id="{0DD12C78-FFFA-B441-91D8-3D10BA15064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0028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5" name="Pladsholder til billede 6">
            <a:extLst>
              <a:ext uri="{FF2B5EF4-FFF2-40B4-BE49-F238E27FC236}">
                <a16:creationId xmlns:a16="http://schemas.microsoft.com/office/drawing/2014/main" id="{5433A101-EEC2-1A43-BCC6-EA29BC4C810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9005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6" name="Pladsholder til billede 6">
            <a:extLst>
              <a:ext uri="{FF2B5EF4-FFF2-40B4-BE49-F238E27FC236}">
                <a16:creationId xmlns:a16="http://schemas.microsoft.com/office/drawing/2014/main" id="{C060D71F-6125-7045-8FC0-37F1BD04BF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826370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</p:spTree>
    <p:extLst>
      <p:ext uri="{BB962C8B-B14F-4D97-AF65-F5344CB8AC3E}">
        <p14:creationId xmlns:p14="http://schemas.microsoft.com/office/powerpoint/2010/main" val="2957970453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68652689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761376"/>
            <a:ext cx="6749592" cy="2535237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5680" y="5249848"/>
            <a:ext cx="5364292" cy="839867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kort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680" y="4069772"/>
            <a:ext cx="5364291" cy="1030127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94340964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58639" y="0"/>
            <a:ext cx="4242062" cy="6858000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72980" y="2607740"/>
            <a:ext cx="3337528" cy="351968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2980" y="789245"/>
            <a:ext cx="3337528" cy="1576883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190601559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22772A8C-5A1B-E74C-98FD-E87FD5A80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795510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5F867355-AAA7-FD40-B0C3-7BAE5A5FC3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D8A753AC-05F3-AD4C-BF95-2BE4A21C048C}"/>
              </a:ext>
            </a:extLst>
          </p:cNvPr>
          <p:cNvSpPr txBox="1"/>
          <p:nvPr userDrawn="1"/>
        </p:nvSpPr>
        <p:spPr>
          <a:xfrm>
            <a:off x="3479800" y="1876695"/>
            <a:ext cx="5232400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5000" dirty="0">
                <a:solidFill>
                  <a:schemeClr val="bg1"/>
                </a:solidFill>
              </a:rPr>
              <a:t>PAUS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3DDF7F7-0AC1-C443-BA29-DD597A10C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575" y="2261415"/>
            <a:ext cx="4020155" cy="393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5948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40035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E1B3C7FE-A5C5-DB43-8F81-6B58E061747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82663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23" name="Pladsholder til billede 6">
            <a:extLst>
              <a:ext uri="{FF2B5EF4-FFF2-40B4-BE49-F238E27FC236}">
                <a16:creationId xmlns:a16="http://schemas.microsoft.com/office/drawing/2014/main" id="{0DD12C78-FFFA-B441-91D8-3D10BA15064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0028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5" name="Pladsholder til billede 6">
            <a:extLst>
              <a:ext uri="{FF2B5EF4-FFF2-40B4-BE49-F238E27FC236}">
                <a16:creationId xmlns:a16="http://schemas.microsoft.com/office/drawing/2014/main" id="{5433A101-EEC2-1A43-BCC6-EA29BC4C810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9005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6" name="Pladsholder til billede 6">
            <a:extLst>
              <a:ext uri="{FF2B5EF4-FFF2-40B4-BE49-F238E27FC236}">
                <a16:creationId xmlns:a16="http://schemas.microsoft.com/office/drawing/2014/main" id="{C060D71F-6125-7045-8FC0-37F1BD04BF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826370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</p:spTree>
    <p:extLst>
      <p:ext uri="{BB962C8B-B14F-4D97-AF65-F5344CB8AC3E}">
        <p14:creationId xmlns:p14="http://schemas.microsoft.com/office/powerpoint/2010/main" val="2062656581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ørgsmå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99" b="1121"/>
          <a:stretch/>
        </p:blipFill>
        <p:spPr>
          <a:xfrm>
            <a:off x="-16298" y="0"/>
            <a:ext cx="12208298" cy="6857999"/>
          </a:xfrm>
          <a:prstGeom prst="rect">
            <a:avLst/>
          </a:prstGeom>
        </p:spPr>
      </p:pic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389376" y="5822731"/>
            <a:ext cx="6410325" cy="377825"/>
          </a:xfrm>
        </p:spPr>
        <p:txBody>
          <a:bodyPr/>
          <a:lstStyle>
            <a:lvl1pPr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ONTAKT: Tlf.: xx xx xx xx Mail: </a:t>
            </a:r>
            <a:r>
              <a:rPr lang="da-DK" dirty="0" err="1"/>
              <a:t>XXX@energinet.dk</a:t>
            </a:r>
            <a:endParaRPr lang="da-DK" dirty="0"/>
          </a:p>
        </p:txBody>
      </p:sp>
      <p:sp>
        <p:nvSpPr>
          <p:cNvPr id="4" name="Tekstfelt 3"/>
          <p:cNvSpPr txBox="1"/>
          <p:nvPr userDrawn="1"/>
        </p:nvSpPr>
        <p:spPr>
          <a:xfrm>
            <a:off x="2701158" y="2026750"/>
            <a:ext cx="6600497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0" dirty="0">
                <a:solidFill>
                  <a:schemeClr val="bg1"/>
                </a:solidFill>
              </a:rPr>
              <a:t>SPØRGSMÅL</a:t>
            </a:r>
          </a:p>
        </p:txBody>
      </p:sp>
    </p:spTree>
    <p:extLst>
      <p:ext uri="{BB962C8B-B14F-4D97-AF65-F5344CB8AC3E}">
        <p14:creationId xmlns:p14="http://schemas.microsoft.com/office/powerpoint/2010/main" val="331117269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ast overskrift"/>
          <p:cNvSpPr txBox="1"/>
          <p:nvPr userDrawn="1"/>
        </p:nvSpPr>
        <p:spPr>
          <a:xfrm>
            <a:off x="982663" y="539750"/>
            <a:ext cx="9361487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7" name="Text Box 2"/>
          <p:cNvSpPr txBox="1">
            <a:spLocks noChangeArrowheads="1"/>
          </p:cNvSpPr>
          <p:nvPr userDrawn="1"/>
        </p:nvSpPr>
        <p:spPr bwMode="auto">
          <a:xfrm>
            <a:off x="982667" y="1833789"/>
            <a:ext cx="2280360" cy="4678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10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for at fjerne og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ætte bullet på igen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s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dia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ndsætte nyt sl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det layout, du ønsker,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ændre dit nuværende layout til et alternativt.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 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3"/>
          <p:cNvSpPr txBox="1">
            <a:spLocks noChangeArrowheads="1"/>
          </p:cNvSpPr>
          <p:nvPr userDrawn="1"/>
        </p:nvSpPr>
        <p:spPr bwMode="auto">
          <a:xfrm>
            <a:off x="5039973" y="1833789"/>
            <a:ext cx="1927222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ér billedet. 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værktøj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.</a:t>
            </a:r>
          </a:p>
        </p:txBody>
      </p:sp>
      <p:sp>
        <p:nvSpPr>
          <p:cNvPr id="19" name="Text Box 4"/>
          <p:cNvSpPr txBox="1">
            <a:spLocks noChangeArrowheads="1"/>
          </p:cNvSpPr>
          <p:nvPr userDrawn="1"/>
        </p:nvSpPr>
        <p:spPr bwMode="auto">
          <a:xfrm>
            <a:off x="9062174" y="1815926"/>
            <a:ext cx="2256615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så det slår igennem på alle slides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tast evt. tekst i sidefod)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1 Forøg formindsk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43464" y="2877130"/>
            <a:ext cx="549328" cy="285228"/>
          </a:xfrm>
          <a:prstGeom prst="rect">
            <a:avLst/>
          </a:prstGeom>
        </p:spPr>
      </p:pic>
      <p:pic>
        <p:nvPicPr>
          <p:cNvPr id="26" name="2 Ny slide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57383" y="3958874"/>
            <a:ext cx="363713" cy="647461"/>
          </a:xfrm>
          <a:prstGeom prst="rect">
            <a:avLst/>
          </a:prstGeom>
        </p:spPr>
      </p:pic>
      <p:pic>
        <p:nvPicPr>
          <p:cNvPr id="27" name="4 Nulsti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45551" y="5464557"/>
            <a:ext cx="547241" cy="197798"/>
          </a:xfrm>
          <a:prstGeom prst="rect">
            <a:avLst/>
          </a:prstGeom>
        </p:spPr>
      </p:pic>
      <p:pic>
        <p:nvPicPr>
          <p:cNvPr id="30" name="5 Indsæt billed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7195" y="2075087"/>
            <a:ext cx="262151" cy="256054"/>
          </a:xfrm>
          <a:prstGeom prst="rect">
            <a:avLst/>
          </a:prstGeom>
        </p:spPr>
      </p:pic>
      <p:pic>
        <p:nvPicPr>
          <p:cNvPr id="31" name="6 Beskær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29570" y="3095427"/>
            <a:ext cx="337400" cy="321707"/>
          </a:xfrm>
          <a:prstGeom prst="rect">
            <a:avLst/>
          </a:prstGeom>
        </p:spPr>
      </p:pic>
      <p:pic>
        <p:nvPicPr>
          <p:cNvPr id="32" name="7 Skalér billed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5349" y="3543401"/>
            <a:ext cx="359695" cy="335309"/>
          </a:xfrm>
          <a:prstGeom prst="rect">
            <a:avLst/>
          </a:prstGeom>
        </p:spPr>
      </p:pic>
      <p:pic>
        <p:nvPicPr>
          <p:cNvPr id="33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39595" y="3321050"/>
            <a:ext cx="199287" cy="192169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5349" y="2723498"/>
            <a:ext cx="595309" cy="350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77497550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ikkerhe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1" name="Tekstfelt 10"/>
          <p:cNvSpPr txBox="1"/>
          <p:nvPr userDrawn="1"/>
        </p:nvSpPr>
        <p:spPr>
          <a:xfrm>
            <a:off x="2749328" y="4057651"/>
            <a:ext cx="166792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NØDUDGANGE</a:t>
            </a:r>
          </a:p>
        </p:txBody>
      </p:sp>
      <p:sp>
        <p:nvSpPr>
          <p:cNvPr id="12" name="Tekstfelt 11"/>
          <p:cNvSpPr txBox="1"/>
          <p:nvPr userDrawn="1"/>
        </p:nvSpPr>
        <p:spPr>
          <a:xfrm>
            <a:off x="5219443" y="4057651"/>
            <a:ext cx="20739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HJERTESTARTER</a:t>
            </a:r>
          </a:p>
        </p:txBody>
      </p:sp>
      <p:sp>
        <p:nvSpPr>
          <p:cNvPr id="13" name="Tekstfelt 12"/>
          <p:cNvSpPr txBox="1"/>
          <p:nvPr userDrawn="1"/>
        </p:nvSpPr>
        <p:spPr>
          <a:xfrm>
            <a:off x="7968792" y="4057651"/>
            <a:ext cx="18645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AMLINGSSTED</a:t>
            </a:r>
          </a:p>
        </p:txBody>
      </p:sp>
      <p:pic>
        <p:nvPicPr>
          <p:cNvPr id="3" name="Billede 2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44F8C9F1-2E7E-B348-9536-95B3E0340C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78" r="669"/>
          <a:stretch/>
        </p:blipFill>
        <p:spPr>
          <a:xfrm>
            <a:off x="2714158" y="2146300"/>
            <a:ext cx="1650438" cy="1636776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F91BF282-FC60-7E4F-8ED4-8CFE6E76CD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8" t="1358" r="1509"/>
          <a:stretch/>
        </p:blipFill>
        <p:spPr>
          <a:xfrm>
            <a:off x="5410200" y="2168524"/>
            <a:ext cx="1593850" cy="1614551"/>
          </a:xfrm>
          <a:prstGeom prst="rect">
            <a:avLst/>
          </a:prstGeom>
        </p:spPr>
      </p:pic>
      <p:pic>
        <p:nvPicPr>
          <p:cNvPr id="17" name="Billede 16" descr="Et billede, der indeholder tekst, skilt, førstehjælpssæt, clipart&#10;&#10;Automatisk genereret beskrivelse">
            <a:extLst>
              <a:ext uri="{FF2B5EF4-FFF2-40B4-BE49-F238E27FC236}">
                <a16:creationId xmlns:a16="http://schemas.microsoft.com/office/drawing/2014/main" id="{948BE73B-F68F-9746-A38C-C0BEBB6BB3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1" t="1779" r="2336" b="-1"/>
          <a:stretch/>
        </p:blipFill>
        <p:spPr>
          <a:xfrm>
            <a:off x="8049654" y="2168524"/>
            <a:ext cx="1595235" cy="161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471658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turquois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4370101" y="2330824"/>
            <a:ext cx="7821900" cy="2211293"/>
          </a:xfrm>
          <a:prstGeom prst="rect">
            <a:avLst/>
          </a:prstGeom>
          <a:solidFill>
            <a:srgbClr val="6AA7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70099" y="2356493"/>
            <a:ext cx="7821900" cy="1089939"/>
          </a:xfrm>
          <a:prstGeom prst="rect">
            <a:avLst/>
          </a:prstGeom>
          <a:noFill/>
        </p:spPr>
        <p:txBody>
          <a:bodyPr lIns="108000" anchor="b">
            <a:normAutofit/>
          </a:bodyPr>
          <a:lstStyle>
            <a:lvl1pPr algn="l">
              <a:defRPr sz="3200" cap="all" baseline="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370100" y="4133725"/>
            <a:ext cx="7404712" cy="408392"/>
          </a:xfrm>
          <a:prstGeom prst="rect">
            <a:avLst/>
          </a:prstGeom>
        </p:spPr>
        <p:txBody>
          <a:bodyPr lIns="108000">
            <a:normAutofit/>
          </a:bodyPr>
          <a:lstStyle>
            <a:lvl1pPr marL="0" indent="0" algn="l">
              <a:buNone/>
              <a:defRPr sz="1333" cap="none" baseline="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Click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sub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917" y="3446432"/>
            <a:ext cx="7821083" cy="687293"/>
          </a:xfrm>
          <a:prstGeom prst="rect">
            <a:avLst/>
          </a:prstGeom>
        </p:spPr>
        <p:txBody>
          <a:bodyPr lIns="108000">
            <a:normAutofit/>
          </a:bodyPr>
          <a:lstStyle>
            <a:lvl1pPr>
              <a:defRPr sz="1867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pic>
        <p:nvPicPr>
          <p:cNvPr id="6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74183" y="2320942"/>
            <a:ext cx="3042429" cy="2217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34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turquois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400" y="2323200"/>
            <a:ext cx="7824000" cy="221849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70099" y="2356493"/>
            <a:ext cx="7821900" cy="1089939"/>
          </a:xfrm>
          <a:prstGeom prst="rect">
            <a:avLst/>
          </a:prstGeom>
          <a:noFill/>
        </p:spPr>
        <p:txBody>
          <a:bodyPr lIns="108000" anchor="b">
            <a:normAutofit/>
          </a:bodyPr>
          <a:lstStyle>
            <a:lvl1pPr algn="l">
              <a:defRPr sz="3200" cap="all" baseline="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370100" y="4133725"/>
            <a:ext cx="7404712" cy="408392"/>
          </a:xfrm>
          <a:prstGeom prst="rect">
            <a:avLst/>
          </a:prstGeom>
        </p:spPr>
        <p:txBody>
          <a:bodyPr lIns="108000">
            <a:normAutofit/>
          </a:bodyPr>
          <a:lstStyle>
            <a:lvl1pPr marL="0" indent="0" algn="l">
              <a:buNone/>
              <a:defRPr sz="1333" cap="none" baseline="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Click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sub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917" y="3446432"/>
            <a:ext cx="7821083" cy="687293"/>
          </a:xfrm>
          <a:prstGeom prst="rect">
            <a:avLst/>
          </a:prstGeom>
        </p:spPr>
        <p:txBody>
          <a:bodyPr lIns="108000">
            <a:normAutofit/>
          </a:bodyPr>
          <a:lstStyle>
            <a:lvl1pPr>
              <a:defRPr sz="1867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pic>
        <p:nvPicPr>
          <p:cNvPr id="7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74183" y="2320942"/>
            <a:ext cx="3042429" cy="2217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041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urqu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82650" y="486020"/>
            <a:ext cx="11214151" cy="5882657"/>
          </a:xfrm>
          <a:prstGeom prst="rect">
            <a:avLst/>
          </a:prstGeom>
        </p:spPr>
      </p:pic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82650" y="422461"/>
            <a:ext cx="10276668" cy="1200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cap="all" baseline="0"/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49" y="1920000"/>
            <a:ext cx="11232000" cy="4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9448" y="6147716"/>
            <a:ext cx="957131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Pladsholder til tekst 8"/>
          <p:cNvSpPr>
            <a:spLocks noGrp="1"/>
          </p:cNvSpPr>
          <p:nvPr>
            <p:ph type="body" sz="quarter" idx="10" hasCustomPrompt="1"/>
          </p:nvPr>
        </p:nvSpPr>
        <p:spPr>
          <a:xfrm>
            <a:off x="2684733" y="6147717"/>
            <a:ext cx="797772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Doc. </a:t>
            </a:r>
            <a:r>
              <a:rPr lang="da-DK" dirty="0" err="1"/>
              <a:t>no</a:t>
            </a:r>
            <a:endParaRPr lang="da-DK" dirty="0"/>
          </a:p>
        </p:txBody>
      </p:sp>
      <p:sp>
        <p:nvSpPr>
          <p:cNvPr id="18" name="Pladsholder til tekst 8"/>
          <p:cNvSpPr>
            <a:spLocks noGrp="1"/>
          </p:cNvSpPr>
          <p:nvPr>
            <p:ph type="body" sz="quarter" idx="12" hasCustomPrompt="1"/>
          </p:nvPr>
        </p:nvSpPr>
        <p:spPr>
          <a:xfrm>
            <a:off x="2005001" y="6147717"/>
            <a:ext cx="671264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ID: </a:t>
            </a:r>
          </a:p>
        </p:txBody>
      </p:sp>
      <p:sp>
        <p:nvSpPr>
          <p:cNvPr id="19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143627" y="6147717"/>
            <a:ext cx="861375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Date:</a:t>
            </a:r>
          </a:p>
        </p:txBody>
      </p:sp>
    </p:spTree>
    <p:extLst>
      <p:ext uri="{BB962C8B-B14F-4D97-AF65-F5344CB8AC3E}">
        <p14:creationId xmlns:p14="http://schemas.microsoft.com/office/powerpoint/2010/main" val="1539722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 hidden="1">
            <a:extLst>
              <a:ext uri="{FF2B5EF4-FFF2-40B4-BE49-F238E27FC236}">
                <a16:creationId xmlns:a16="http://schemas.microsoft.com/office/drawing/2014/main" id="{BD804B41-F430-4D96-B005-8B3E00E54F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246D969A-F5EA-4265-A207-6A324B36C866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10" name="Footer Placeholder 4" hidden="1">
            <a:extLst>
              <a:ext uri="{FF2B5EF4-FFF2-40B4-BE49-F238E27FC236}">
                <a16:creationId xmlns:a16="http://schemas.microsoft.com/office/drawing/2014/main" id="{96F20AE6-CA3E-4F45-A73A-44648A2EA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Slide Number Placeholder 5" hidden="1">
            <a:extLst>
              <a:ext uri="{FF2B5EF4-FFF2-40B4-BE49-F238E27FC236}">
                <a16:creationId xmlns:a16="http://schemas.microsoft.com/office/drawing/2014/main" id="{4B88AAB4-F6E1-4E51-B35F-102F4A9ECE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44E55857-C7BD-CD49-9DDF-FE95D8EE21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89" y="779476"/>
            <a:ext cx="7559740" cy="3072000"/>
          </a:xfrm>
        </p:spPr>
        <p:txBody>
          <a:bodyPr/>
          <a:lstStyle>
            <a:lvl1pPr>
              <a:defRPr sz="5915"/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14" name="Dynamisk navn" descr="{&quot;templafy&quot;:{&quot;id&quot;:&quot;6187a381-67cc-4686-b3ce-a275c55823c2&quot;}}">
            <a:extLst>
              <a:ext uri="{FF2B5EF4-FFF2-40B4-BE49-F238E27FC236}">
                <a16:creationId xmlns:a16="http://schemas.microsoft.com/office/drawing/2014/main" id="{0DDD5879-65F0-4FED-8C4C-55FA3E60613D}"/>
              </a:ext>
            </a:extLst>
          </p:cNvPr>
          <p:cNvSpPr/>
          <p:nvPr userDrawn="1"/>
        </p:nvSpPr>
        <p:spPr>
          <a:xfrm>
            <a:off x="9289711" y="5173236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omas Skov Lauridsen</a:t>
            </a:r>
          </a:p>
        </p:txBody>
      </p:sp>
      <p:sp>
        <p:nvSpPr>
          <p:cNvPr id="15" name="Dynamisk dato" descr="{&quot;templafy&quot;:{&quot;id&quot;:&quot;59794ff4-4392-44d0-995a-72dff61dbe27&quot;}}">
            <a:extLst>
              <a:ext uri="{FF2B5EF4-FFF2-40B4-BE49-F238E27FC236}">
                <a16:creationId xmlns:a16="http://schemas.microsoft.com/office/drawing/2014/main" id="{F152EDF0-A036-4A45-8D28-CB895B334D2C}"/>
              </a:ext>
            </a:extLst>
          </p:cNvPr>
          <p:cNvSpPr/>
          <p:nvPr userDrawn="1"/>
        </p:nvSpPr>
        <p:spPr>
          <a:xfrm>
            <a:off x="9291004" y="4929433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03/09/2023 00:00:00</a:t>
            </a:r>
          </a:p>
        </p:txBody>
      </p:sp>
      <p:sp>
        <p:nvSpPr>
          <p:cNvPr id="12" name="Dynamisk event" descr="{&quot;templafy&quot;:{&quot;id&quot;:&quot;e7afae0c-8d3d-4d9d-b82e-065c92dd53e4&quot;}}">
            <a:extLst>
              <a:ext uri="{FF2B5EF4-FFF2-40B4-BE49-F238E27FC236}">
                <a16:creationId xmlns:a16="http://schemas.microsoft.com/office/drawing/2014/main" id="{CA2B053C-96A0-470F-8853-A3B7D545BE67}"/>
              </a:ext>
            </a:extLst>
          </p:cNvPr>
          <p:cNvSpPr/>
          <p:nvPr userDrawn="1"/>
        </p:nvSpPr>
        <p:spPr>
          <a:xfrm>
            <a:off x="9289769" y="4362704"/>
            <a:ext cx="2251200" cy="54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>
              <a:lnSpc>
                <a:spcPct val="91000"/>
              </a:lnSpc>
            </a:pPr>
            <a:endParaRPr lang="en-GB" sz="876" b="1" kern="1200" baseline="0" dirty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9209691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3" hidden="1">
            <a:extLst>
              <a:ext uri="{FF2B5EF4-FFF2-40B4-BE49-F238E27FC236}">
                <a16:creationId xmlns:a16="http://schemas.microsoft.com/office/drawing/2014/main" id="{BC4275B4-1A5A-45B5-88A3-F9A7B8CD67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8EDA4317-22DF-4CE7-A7DB-0C7839FCD6D6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15" name="Footer Placeholder 4" hidden="1">
            <a:extLst>
              <a:ext uri="{FF2B5EF4-FFF2-40B4-BE49-F238E27FC236}">
                <a16:creationId xmlns:a16="http://schemas.microsoft.com/office/drawing/2014/main" id="{74D7D0A6-CAD7-49C4-AE02-90A5819ADC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:a16="http://schemas.microsoft.com/office/drawing/2014/main" id="{ED1BB17F-5F38-4A46-8F5A-6E3F9DCB36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479" tIns="52479" rIns="52479" bIns="52479" rtlCol="0" anchor="ctr"/>
          <a:lstStyle/>
          <a:p>
            <a:pPr algn="ctr"/>
            <a:endParaRPr lang="da-DK" sz="1316" dirty="0" err="1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89" y="779463"/>
            <a:ext cx="7559740" cy="3072000"/>
          </a:xfrm>
        </p:spPr>
        <p:txBody>
          <a:bodyPr/>
          <a:lstStyle>
            <a:lvl1pPr>
              <a:defRPr sz="5915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17" name="Dynamisk navn" descr="{&quot;templafy&quot;:{&quot;id&quot;:&quot;c5b351d5-a95f-4e41-8517-903ae5766256&quot;}}">
            <a:extLst>
              <a:ext uri="{FF2B5EF4-FFF2-40B4-BE49-F238E27FC236}">
                <a16:creationId xmlns:a16="http://schemas.microsoft.com/office/drawing/2014/main" id="{24B10BE6-B1D8-405B-8578-520F91FB9154}"/>
              </a:ext>
            </a:extLst>
          </p:cNvPr>
          <p:cNvSpPr/>
          <p:nvPr userDrawn="1"/>
        </p:nvSpPr>
        <p:spPr>
          <a:xfrm>
            <a:off x="9289711" y="5173236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omas Skov Lauridsen</a:t>
            </a:r>
          </a:p>
        </p:txBody>
      </p:sp>
      <p:sp>
        <p:nvSpPr>
          <p:cNvPr id="18" name="Dynamisk dato" descr="{&quot;templafy&quot;:{&quot;id&quot;:&quot;6a706b4a-32ac-4e20-884f-2d042c880d91&quot;}}">
            <a:extLst>
              <a:ext uri="{FF2B5EF4-FFF2-40B4-BE49-F238E27FC236}">
                <a16:creationId xmlns:a16="http://schemas.microsoft.com/office/drawing/2014/main" id="{C92F12B9-9C88-4822-9EDE-D0C2C466A78E}"/>
              </a:ext>
            </a:extLst>
          </p:cNvPr>
          <p:cNvSpPr/>
          <p:nvPr userDrawn="1"/>
        </p:nvSpPr>
        <p:spPr>
          <a:xfrm>
            <a:off x="9291004" y="4929433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03/09/2023 00:00:00</a:t>
            </a:r>
          </a:p>
        </p:txBody>
      </p:sp>
      <p:sp>
        <p:nvSpPr>
          <p:cNvPr id="11" name="Dynamisk event" descr="{&quot;templafy&quot;:{&quot;id&quot;:&quot;972ee6ad-bcac-415a-983f-8f64b66e9897&quot;}}">
            <a:extLst>
              <a:ext uri="{FF2B5EF4-FFF2-40B4-BE49-F238E27FC236}">
                <a16:creationId xmlns:a16="http://schemas.microsoft.com/office/drawing/2014/main" id="{F74F1E09-EB5E-4040-8475-F1C9CFE0E13D}"/>
              </a:ext>
            </a:extLst>
          </p:cNvPr>
          <p:cNvSpPr/>
          <p:nvPr userDrawn="1"/>
        </p:nvSpPr>
        <p:spPr>
          <a:xfrm>
            <a:off x="9289769" y="4362704"/>
            <a:ext cx="2251200" cy="54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>
              <a:lnSpc>
                <a:spcPct val="91000"/>
              </a:lnSpc>
            </a:pPr>
            <a:endParaRPr lang="en-GB" sz="876" b="1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723681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2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3" hidden="1">
            <a:extLst>
              <a:ext uri="{FF2B5EF4-FFF2-40B4-BE49-F238E27FC236}">
                <a16:creationId xmlns:a16="http://schemas.microsoft.com/office/drawing/2014/main" id="{F3427B1F-E60B-49E2-91B8-3AB545B1F95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EDC86D61-82C1-4285-9444-B8A9BB015370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17" name="Footer Placeholder 4" hidden="1">
            <a:extLst>
              <a:ext uri="{FF2B5EF4-FFF2-40B4-BE49-F238E27FC236}">
                <a16:creationId xmlns:a16="http://schemas.microsoft.com/office/drawing/2014/main" id="{4F8EDED2-8FEC-48AA-8FC9-E54CC3FF90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8" name="Slide Number Placeholder 5" hidden="1">
            <a:extLst>
              <a:ext uri="{FF2B5EF4-FFF2-40B4-BE49-F238E27FC236}">
                <a16:creationId xmlns:a16="http://schemas.microsoft.com/office/drawing/2014/main" id="{55F025EF-65B2-41C9-AA94-AA23C5AE21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479" tIns="52479" rIns="52479" bIns="52479" rtlCol="0" anchor="ctr"/>
          <a:lstStyle/>
          <a:p>
            <a:pPr algn="ctr"/>
            <a:endParaRPr lang="da-DK" sz="1316" dirty="0" err="1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89" y="779463"/>
            <a:ext cx="7559740" cy="3072000"/>
          </a:xfrm>
        </p:spPr>
        <p:txBody>
          <a:bodyPr/>
          <a:lstStyle>
            <a:lvl1pPr>
              <a:defRPr sz="5915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3" name="Dynamisk navn" descr="{&quot;templafy&quot;:{&quot;id&quot;:&quot;a97313b3-b3db-4bb3-9902-5b691e9c225b&quot;}}">
            <a:extLst>
              <a:ext uri="{FF2B5EF4-FFF2-40B4-BE49-F238E27FC236}">
                <a16:creationId xmlns:a16="http://schemas.microsoft.com/office/drawing/2014/main" id="{A027DB81-3A7A-40F0-B5B7-32EDD34F4605}"/>
              </a:ext>
            </a:extLst>
          </p:cNvPr>
          <p:cNvSpPr/>
          <p:nvPr userDrawn="1"/>
        </p:nvSpPr>
        <p:spPr>
          <a:xfrm>
            <a:off x="9289711" y="5173236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omas Skov Lauridsen</a:t>
            </a:r>
          </a:p>
        </p:txBody>
      </p:sp>
      <p:sp>
        <p:nvSpPr>
          <p:cNvPr id="11" name="Dynamisk dato" descr="{&quot;templafy&quot;:{&quot;id&quot;:&quot;e04510bf-ab68-4bf2-a42f-4a41910ed45d&quot;}}">
            <a:extLst>
              <a:ext uri="{FF2B5EF4-FFF2-40B4-BE49-F238E27FC236}">
                <a16:creationId xmlns:a16="http://schemas.microsoft.com/office/drawing/2014/main" id="{6AEBFCBC-A09F-4752-B45B-B76525FC41F8}"/>
              </a:ext>
            </a:extLst>
          </p:cNvPr>
          <p:cNvSpPr/>
          <p:nvPr userDrawn="1"/>
        </p:nvSpPr>
        <p:spPr>
          <a:xfrm>
            <a:off x="9291004" y="4929433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03/09/2023 00:00:00</a:t>
            </a:r>
          </a:p>
        </p:txBody>
      </p:sp>
      <p:sp>
        <p:nvSpPr>
          <p:cNvPr id="12" name="Dynamisk event" descr="{&quot;templafy&quot;:{&quot;id&quot;:&quot;a4aedbda-4049-480c-a6a5-77c9693e0561&quot;}}">
            <a:extLst>
              <a:ext uri="{FF2B5EF4-FFF2-40B4-BE49-F238E27FC236}">
                <a16:creationId xmlns:a16="http://schemas.microsoft.com/office/drawing/2014/main" id="{559FCD6E-075A-4CCB-AA90-5A86E2339068}"/>
              </a:ext>
            </a:extLst>
          </p:cNvPr>
          <p:cNvSpPr/>
          <p:nvPr userDrawn="1"/>
        </p:nvSpPr>
        <p:spPr>
          <a:xfrm>
            <a:off x="9289769" y="4362704"/>
            <a:ext cx="2251200" cy="54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>
              <a:lnSpc>
                <a:spcPct val="91000"/>
              </a:lnSpc>
            </a:pPr>
            <a:endParaRPr lang="en-GB" sz="876" b="1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4013738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 Placeholder 3" hidden="1">
            <a:extLst>
              <a:ext uri="{FF2B5EF4-FFF2-40B4-BE49-F238E27FC236}">
                <a16:creationId xmlns:a16="http://schemas.microsoft.com/office/drawing/2014/main" id="{F615834F-5D1B-4F79-B02C-2DC0A9C8B4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B44715A-99E4-4B75-BFB4-4D57599BE8AE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18" name="Footer Placeholder 4" hidden="1">
            <a:extLst>
              <a:ext uri="{FF2B5EF4-FFF2-40B4-BE49-F238E27FC236}">
                <a16:creationId xmlns:a16="http://schemas.microsoft.com/office/drawing/2014/main" id="{40B09B06-5B9A-49FD-A647-0F899B89E3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9" name="Slide Number Placeholder 5" hidden="1">
            <a:extLst>
              <a:ext uri="{FF2B5EF4-FFF2-40B4-BE49-F238E27FC236}">
                <a16:creationId xmlns:a16="http://schemas.microsoft.com/office/drawing/2014/main" id="{088D93DD-D46D-49CF-8D67-2D535754F5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4" name="Rektangel baggrund"/>
          <p:cNvSpPr/>
          <p:nvPr userDrawn="1"/>
        </p:nvSpPr>
        <p:spPr>
          <a:xfrm>
            <a:off x="37" y="70"/>
            <a:ext cx="12191999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479" tIns="52479" rIns="52479" bIns="52479" rtlCol="0" anchor="ctr"/>
          <a:lstStyle/>
          <a:p>
            <a:pPr algn="ctr"/>
            <a:endParaRPr lang="da-DK" sz="1316" dirty="0" err="1"/>
          </a:p>
        </p:txBody>
      </p:sp>
      <p:sp>
        <p:nvSpPr>
          <p:cNvPr id="16" name="Titel 10">
            <a:extLst>
              <a:ext uri="{FF2B5EF4-FFF2-40B4-BE49-F238E27FC236}">
                <a16:creationId xmlns:a16="http://schemas.microsoft.com/office/drawing/2014/main" id="{A618B4AE-9447-C943-8C77-78BA514BB7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89" y="779463"/>
            <a:ext cx="7559740" cy="3072000"/>
          </a:xfrm>
        </p:spPr>
        <p:txBody>
          <a:bodyPr/>
          <a:lstStyle>
            <a:lvl1pPr>
              <a:defRPr sz="5915"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10" name="Dynamisk navn" descr="{&quot;templafy&quot;:{&quot;id&quot;:&quot;4557e5e6-b59e-49f6-8972-844961c1f1e5&quot;}}">
            <a:extLst>
              <a:ext uri="{FF2B5EF4-FFF2-40B4-BE49-F238E27FC236}">
                <a16:creationId xmlns:a16="http://schemas.microsoft.com/office/drawing/2014/main" id="{FC9C26BA-D455-433F-960F-A0FE20E95E99}"/>
              </a:ext>
            </a:extLst>
          </p:cNvPr>
          <p:cNvSpPr/>
          <p:nvPr userDrawn="1"/>
        </p:nvSpPr>
        <p:spPr>
          <a:xfrm>
            <a:off x="9289711" y="5173236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Tomas Skov Lauridsen</a:t>
            </a:r>
          </a:p>
        </p:txBody>
      </p:sp>
      <p:sp>
        <p:nvSpPr>
          <p:cNvPr id="11" name="Dynamisk dato" descr="{&quot;templafy&quot;:{&quot;id&quot;:&quot;c8dee9d1-36af-4b9a-8fd2-d85136cf6da3&quot;}}">
            <a:extLst>
              <a:ext uri="{FF2B5EF4-FFF2-40B4-BE49-F238E27FC236}">
                <a16:creationId xmlns:a16="http://schemas.microsoft.com/office/drawing/2014/main" id="{76106F5A-01F7-4A99-B5CC-4C6F5712F6FF}"/>
              </a:ext>
            </a:extLst>
          </p:cNvPr>
          <p:cNvSpPr/>
          <p:nvPr userDrawn="1"/>
        </p:nvSpPr>
        <p:spPr>
          <a:xfrm>
            <a:off x="9291004" y="4929433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03/09/2023 00:00:00</a:t>
            </a:r>
          </a:p>
        </p:txBody>
      </p:sp>
      <p:sp>
        <p:nvSpPr>
          <p:cNvPr id="13" name="Dynamisk event" descr="{&quot;templafy&quot;:{&quot;id&quot;:&quot;c746584d-b975-42ed-b583-b349509ee824&quot;}}">
            <a:extLst>
              <a:ext uri="{FF2B5EF4-FFF2-40B4-BE49-F238E27FC236}">
                <a16:creationId xmlns:a16="http://schemas.microsoft.com/office/drawing/2014/main" id="{37E97820-2FA8-4CA4-917B-869E4D813920}"/>
              </a:ext>
            </a:extLst>
          </p:cNvPr>
          <p:cNvSpPr/>
          <p:nvPr userDrawn="1"/>
        </p:nvSpPr>
        <p:spPr>
          <a:xfrm>
            <a:off x="9289769" y="4362704"/>
            <a:ext cx="2251200" cy="54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>
              <a:lnSpc>
                <a:spcPct val="91000"/>
              </a:lnSpc>
            </a:pPr>
            <a:endParaRPr lang="en-GB" sz="876" b="1" kern="1200" baseline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3185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insert headline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</a:t>
            </a:r>
            <a:r>
              <a:rPr lang="en-GB" dirty="0"/>
              <a:t> subhead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4860000" cy="330358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/>
              <a:t>Click to insert body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337127" y="2852738"/>
            <a:ext cx="4860000" cy="330358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/>
              <a:t>Click to insert body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Date_DateCustomA">
            <a:extLst>
              <a:ext uri="{FF2B5EF4-FFF2-40B4-BE49-F238E27FC236}">
                <a16:creationId xmlns:a16="http://schemas.microsoft.com/office/drawing/2014/main" id="{64CB62D8-6BF2-8E4D-852D-33632CC8C5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FLD_PresentationTitle">
            <a:extLst>
              <a:ext uri="{FF2B5EF4-FFF2-40B4-BE49-F238E27FC236}">
                <a16:creationId xmlns:a16="http://schemas.microsoft.com/office/drawing/2014/main" id="{D59D650B-74C9-F14C-B79A-0FCAB80587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ED3D8C3-D0EB-8A49-8D34-EB246797B3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72460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00353400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mørk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 hidden="1">
            <a:extLst>
              <a:ext uri="{FF2B5EF4-FFF2-40B4-BE49-F238E27FC236}">
                <a16:creationId xmlns:a16="http://schemas.microsoft.com/office/drawing/2014/main" id="{001912AC-0C4E-472E-A49B-65FFDDA2F4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EA4CEC51-146C-4DBA-988C-6440278B4FB5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14" name="Footer Placeholder 4" hidden="1">
            <a:extLst>
              <a:ext uri="{FF2B5EF4-FFF2-40B4-BE49-F238E27FC236}">
                <a16:creationId xmlns:a16="http://schemas.microsoft.com/office/drawing/2014/main" id="{866422B0-8F45-43A7-BFA9-652C0F1026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5" name="Slide Number Placeholder 5" hidden="1">
            <a:extLst>
              <a:ext uri="{FF2B5EF4-FFF2-40B4-BE49-F238E27FC236}">
                <a16:creationId xmlns:a16="http://schemas.microsoft.com/office/drawing/2014/main" id="{406E55B8-B8A3-449E-B8D7-C45AF78529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70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72000" tIns="72000" anchor="t" anchorCtr="0"/>
          <a:lstStyle>
            <a:lvl1pPr marL="0" indent="0" algn="l">
              <a:lnSpc>
                <a:spcPct val="100000"/>
              </a:lnSpc>
              <a:buFontTx/>
              <a:buNone/>
              <a:defRPr sz="986" b="0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på rammen og indsæt mørkt billede, via fanen Indsæt, Billeder. </a:t>
            </a:r>
            <a:br>
              <a:rPr lang="da-DK" dirty="0"/>
            </a:br>
            <a:r>
              <a:rPr lang="da-DK" dirty="0"/>
              <a:t>Eller via Templafy Images</a:t>
            </a:r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B7F9C7AC-DC81-ED40-9796-33611B5DBB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89" y="779463"/>
            <a:ext cx="7559740" cy="3072000"/>
          </a:xfrm>
        </p:spPr>
        <p:txBody>
          <a:bodyPr/>
          <a:lstStyle>
            <a:lvl1pPr>
              <a:defRPr sz="5915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16" name="Dynamisk navn" descr="{&quot;templafy&quot;:{&quot;id&quot;:&quot;30d4e96f-f36f-4281-adb1-850b7880260f&quot;}}">
            <a:extLst>
              <a:ext uri="{FF2B5EF4-FFF2-40B4-BE49-F238E27FC236}">
                <a16:creationId xmlns:a16="http://schemas.microsoft.com/office/drawing/2014/main" id="{517EB087-DD1F-471C-8817-0119DC763BC5}"/>
              </a:ext>
            </a:extLst>
          </p:cNvPr>
          <p:cNvSpPr/>
          <p:nvPr userDrawn="1"/>
        </p:nvSpPr>
        <p:spPr>
          <a:xfrm>
            <a:off x="9289711" y="5173236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omas Skov Lauridsen</a:t>
            </a:r>
          </a:p>
        </p:txBody>
      </p:sp>
      <p:sp>
        <p:nvSpPr>
          <p:cNvPr id="17" name="Dynamisk dato" descr="{&quot;templafy&quot;:{&quot;id&quot;:&quot;ed482c4d-2e5e-4126-81fd-917106aa877d&quot;}}">
            <a:extLst>
              <a:ext uri="{FF2B5EF4-FFF2-40B4-BE49-F238E27FC236}">
                <a16:creationId xmlns:a16="http://schemas.microsoft.com/office/drawing/2014/main" id="{0D54B53F-E6AE-402E-B1EC-77C5DB71B6A4}"/>
              </a:ext>
            </a:extLst>
          </p:cNvPr>
          <p:cNvSpPr/>
          <p:nvPr userDrawn="1"/>
        </p:nvSpPr>
        <p:spPr>
          <a:xfrm>
            <a:off x="9291004" y="4929433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03/09/2023 00:00:00</a:t>
            </a:r>
          </a:p>
        </p:txBody>
      </p:sp>
      <p:sp>
        <p:nvSpPr>
          <p:cNvPr id="10" name="Dynamisk event" descr="{&quot;templafy&quot;:{&quot;id&quot;:&quot;b078e67c-713b-4368-b11c-6fff1c22ce7b&quot;}}">
            <a:extLst>
              <a:ext uri="{FF2B5EF4-FFF2-40B4-BE49-F238E27FC236}">
                <a16:creationId xmlns:a16="http://schemas.microsoft.com/office/drawing/2014/main" id="{879DE23B-42E4-4840-86D1-13EC3722AA1C}"/>
              </a:ext>
            </a:extLst>
          </p:cNvPr>
          <p:cNvSpPr/>
          <p:nvPr userDrawn="1"/>
        </p:nvSpPr>
        <p:spPr>
          <a:xfrm>
            <a:off x="9289769" y="4362704"/>
            <a:ext cx="2251200" cy="54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>
              <a:lnSpc>
                <a:spcPct val="91000"/>
              </a:lnSpc>
            </a:pPr>
            <a:endParaRPr lang="en-GB" sz="876" b="1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0624210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lys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 hidden="1">
            <a:extLst>
              <a:ext uri="{FF2B5EF4-FFF2-40B4-BE49-F238E27FC236}">
                <a16:creationId xmlns:a16="http://schemas.microsoft.com/office/drawing/2014/main" id="{4179DB7E-5293-4596-B199-DBD94C1365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76DABD4B-D49C-4AA0-999D-2A464E236AD1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14" name="Footer Placeholder 4" hidden="1">
            <a:extLst>
              <a:ext uri="{FF2B5EF4-FFF2-40B4-BE49-F238E27FC236}">
                <a16:creationId xmlns:a16="http://schemas.microsoft.com/office/drawing/2014/main" id="{DDB8941C-FD6B-43CA-95F9-6875F7DA42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5" name="Slide Number Placeholder 5" hidden="1">
            <a:extLst>
              <a:ext uri="{FF2B5EF4-FFF2-40B4-BE49-F238E27FC236}">
                <a16:creationId xmlns:a16="http://schemas.microsoft.com/office/drawing/2014/main" id="{88D3F063-9E36-4EE3-B7AA-B93C027EE2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70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72000" tIns="72000" anchor="t" anchorCtr="0"/>
          <a:lstStyle>
            <a:lvl1pPr marL="0" indent="0" algn="l">
              <a:lnSpc>
                <a:spcPct val="100000"/>
              </a:lnSpc>
              <a:buFontTx/>
              <a:buNone/>
              <a:defRPr sz="986" b="0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på rammen og indsæt lyst billede, via fanen Indsæt, Billeder. </a:t>
            </a:r>
            <a:br>
              <a:rPr lang="da-DK" dirty="0"/>
            </a:br>
            <a:r>
              <a:rPr lang="da-DK" dirty="0"/>
              <a:t>Eller via Templafy Images</a:t>
            </a:r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0D1A318C-794C-8F43-BB2A-5B5C17C663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89" y="779463"/>
            <a:ext cx="7559740" cy="3072000"/>
          </a:xfrm>
        </p:spPr>
        <p:txBody>
          <a:bodyPr/>
          <a:lstStyle>
            <a:lvl1pPr>
              <a:defRPr sz="5915"/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16" name="Dynamisk navn" descr="{&quot;templafy&quot;:{&quot;id&quot;:&quot;7a4e1598-8624-4479-b9ff-792c7414206c&quot;}}">
            <a:extLst>
              <a:ext uri="{FF2B5EF4-FFF2-40B4-BE49-F238E27FC236}">
                <a16:creationId xmlns:a16="http://schemas.microsoft.com/office/drawing/2014/main" id="{660C9A11-5142-458B-9680-FB595544AB32}"/>
              </a:ext>
            </a:extLst>
          </p:cNvPr>
          <p:cNvSpPr/>
          <p:nvPr userDrawn="1"/>
        </p:nvSpPr>
        <p:spPr>
          <a:xfrm>
            <a:off x="9289711" y="5173236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omas Skov Lauridsen</a:t>
            </a:r>
          </a:p>
        </p:txBody>
      </p:sp>
      <p:sp>
        <p:nvSpPr>
          <p:cNvPr id="17" name="Dynamisk dato" descr="{&quot;templafy&quot;:{&quot;id&quot;:&quot;b75bfeca-e3b0-4881-9f8a-d1c3242219b8&quot;}}">
            <a:extLst>
              <a:ext uri="{FF2B5EF4-FFF2-40B4-BE49-F238E27FC236}">
                <a16:creationId xmlns:a16="http://schemas.microsoft.com/office/drawing/2014/main" id="{5CCFD4CF-AE7F-4505-860F-9C5DDBADCD56}"/>
              </a:ext>
            </a:extLst>
          </p:cNvPr>
          <p:cNvSpPr/>
          <p:nvPr userDrawn="1"/>
        </p:nvSpPr>
        <p:spPr>
          <a:xfrm>
            <a:off x="9291004" y="4929433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03/09/2023 00:00:00</a:t>
            </a:r>
          </a:p>
        </p:txBody>
      </p:sp>
      <p:sp>
        <p:nvSpPr>
          <p:cNvPr id="10" name="Dynamisk event" descr="{&quot;templafy&quot;:{&quot;id&quot;:&quot;1353aebc-f0f2-4cba-9b3c-135512cd41da&quot;}}">
            <a:extLst>
              <a:ext uri="{FF2B5EF4-FFF2-40B4-BE49-F238E27FC236}">
                <a16:creationId xmlns:a16="http://schemas.microsoft.com/office/drawing/2014/main" id="{F45E70AC-1047-4F1D-8D7C-CB5F9A64EA0F}"/>
              </a:ext>
            </a:extLst>
          </p:cNvPr>
          <p:cNvSpPr/>
          <p:nvPr userDrawn="1"/>
        </p:nvSpPr>
        <p:spPr>
          <a:xfrm>
            <a:off x="9289769" y="4362704"/>
            <a:ext cx="2251200" cy="54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>
              <a:lnSpc>
                <a:spcPct val="91000"/>
              </a:lnSpc>
            </a:pPr>
            <a:endParaRPr lang="en-GB" sz="876" b="1" kern="1200" baseline="0" dirty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9423168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gsorde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61167921-2054-4E75-9CFC-AD61CDA7D2D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A863F86-A1DC-4389-937A-A6F4D3062C61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E60D1610-326D-48A7-B063-879C3DBF2BC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9136BBD1-8E0D-4FDE-BD8E-B922C4E6E59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708" y="779463"/>
            <a:ext cx="5083773" cy="672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2C2D31F3-CACE-E542-8D63-F51828BAB7CB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51702" y="1557870"/>
            <a:ext cx="5083772" cy="3742267"/>
          </a:xfrm>
        </p:spPr>
        <p:txBody>
          <a:bodyPr lIns="1116000" tIns="432000" anchor="ctr"/>
          <a:lstStyle>
            <a:lvl1pPr marL="0" marR="0" indent="0" algn="ctr" defTabSz="666766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8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66766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  <p:sp>
        <p:nvSpPr>
          <p:cNvPr id="9" name="Pladsholder til tabel 3">
            <a:extLst>
              <a:ext uri="{FF2B5EF4-FFF2-40B4-BE49-F238E27FC236}">
                <a16:creationId xmlns:a16="http://schemas.microsoft.com/office/drawing/2014/main" id="{552EDF94-9408-1844-A084-BB4D7A171B0D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5847" y="1557870"/>
            <a:ext cx="5083772" cy="3742267"/>
          </a:xfrm>
        </p:spPr>
        <p:txBody>
          <a:bodyPr lIns="1116000" tIns="432000" anchor="ctr"/>
          <a:lstStyle>
            <a:lvl1pPr marL="0" marR="0" indent="0" algn="ctr" defTabSz="666766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8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66766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</p:spTree>
    <p:extLst>
      <p:ext uri="{BB962C8B-B14F-4D97-AF65-F5344CB8AC3E}">
        <p14:creationId xmlns:p14="http://schemas.microsoft.com/office/powerpoint/2010/main" val="1697192887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 hidden="1">
            <a:extLst>
              <a:ext uri="{FF2B5EF4-FFF2-40B4-BE49-F238E27FC236}">
                <a16:creationId xmlns:a16="http://schemas.microsoft.com/office/drawing/2014/main" id="{D15B4D2D-E78D-423F-9AB6-AD0835AE63B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02CECF9-288C-479F-8370-34FC9E9741FB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834A7C5D-C560-407C-A798-A10C66C1E12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C704ECD4-32FA-4B1A-89A7-9661FD5DD3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708" y="779463"/>
            <a:ext cx="5083773" cy="672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651792" y="1557339"/>
            <a:ext cx="5083773" cy="4524376"/>
          </a:xfrm>
        </p:spPr>
        <p:txBody>
          <a:bodyPr anchor="ctr" anchorCtr="0"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                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7" name="Pladsholder til tekst 2">
            <a:extLst>
              <a:ext uri="{FF2B5EF4-FFF2-40B4-BE49-F238E27FC236}">
                <a16:creationId xmlns:a16="http://schemas.microsoft.com/office/drawing/2014/main" id="{2B905F23-B72E-2848-8F49-90F1C7478C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58680" y="1557339"/>
            <a:ext cx="5083773" cy="4524376"/>
          </a:xfrm>
        </p:spPr>
        <p:txBody>
          <a:bodyPr anchor="ctr" anchorCtr="0"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               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595018962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høj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F3487829-CD94-499E-ABEA-B920B5D1AEE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88778AE-6A6D-4BAD-8A18-559523F785F7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2B23567E-5D63-44E0-9461-BF4F767AA8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7B202295-2893-4BC1-946E-5AE07307553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6456479" y="70"/>
            <a:ext cx="5084499" cy="6081713"/>
          </a:xfrm>
        </p:spPr>
        <p:txBody>
          <a:bodyPr lIns="0" tIns="792000" rIns="0" anchor="ctr" anchorCtr="0"/>
          <a:lstStyle>
            <a:lvl1pPr marL="0" indent="0" algn="ctr">
              <a:lnSpc>
                <a:spcPct val="100000"/>
              </a:lnSpc>
              <a:buFontTx/>
              <a:buNone/>
              <a:defRPr sz="13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. </a:t>
            </a:r>
            <a:br>
              <a:rPr lang="da-DK" dirty="0"/>
            </a:br>
            <a:r>
              <a:rPr lang="da-DK" dirty="0"/>
              <a:t>Eller klik på rammen og indsæt billede via Templafy Images.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708" y="779463"/>
            <a:ext cx="5083773" cy="672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651792" y="1557339"/>
            <a:ext cx="5083773" cy="4524376"/>
          </a:xfrm>
        </p:spPr>
        <p:txBody>
          <a:bodyPr anchor="ctr" anchorCtr="0"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          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937037442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venst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1EB05E44-A6D4-40DA-BA3E-C77657E42EC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34EE70B-BFBD-420D-AAB3-F98D7FE8BCB9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BD95146E-48E1-42FE-B35F-38DD0891429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8" name="Slide Number Placeholder 7" hidden="1">
            <a:extLst>
              <a:ext uri="{FF2B5EF4-FFF2-40B4-BE49-F238E27FC236}">
                <a16:creationId xmlns:a16="http://schemas.microsoft.com/office/drawing/2014/main" id="{E453432A-3CC6-4D65-BB04-7AF503F3632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9493" y="70"/>
            <a:ext cx="5083775" cy="6081713"/>
          </a:xfrm>
        </p:spPr>
        <p:txBody>
          <a:bodyPr tIns="792000" anchor="ctr" anchorCtr="0"/>
          <a:lstStyle>
            <a:lvl1pPr marL="0" indent="0" algn="ctr">
              <a:buFontTx/>
              <a:buNone/>
              <a:defRPr sz="13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. </a:t>
            </a:r>
            <a:br>
              <a:rPr lang="da-DK" dirty="0"/>
            </a:br>
            <a:r>
              <a:rPr lang="da-DK" dirty="0"/>
              <a:t>Eller klik på rammen og indsæt billede via Templafy Images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6472" y="779463"/>
            <a:ext cx="5084498" cy="672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56476" y="1557339"/>
            <a:ext cx="5083773" cy="4524376"/>
          </a:xfrm>
        </p:spPr>
        <p:txBody>
          <a:bodyPr anchor="ctr" anchorCtr="0"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          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084164547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82EE31F4-AFD3-4CB4-9797-851C3C7C3CC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2B89406-F4BF-4034-9A68-5F8C34CA9A44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3906FBC9-09D7-4761-B320-1074A0FDC26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1FA61E2F-F206-4BB4-BDBE-C246170FE52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99" y="779463"/>
            <a:ext cx="10888380" cy="468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831" y="4868374"/>
            <a:ext cx="10890250" cy="1212851"/>
          </a:xfrm>
        </p:spPr>
        <p:txBody>
          <a:bodyPr anchor="ctr" anchorCtr="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1792" y="1557380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             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56314" y="1557380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            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</p:spTree>
    <p:extLst>
      <p:ext uri="{BB962C8B-B14F-4D97-AF65-F5344CB8AC3E}">
        <p14:creationId xmlns:p14="http://schemas.microsoft.com/office/powerpoint/2010/main" val="3880849887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2E6AB32-F364-4BFB-A838-4C02AF33CD6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B706B4E-A08C-47DF-9BF3-DF00E6304424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A6F9146-EB47-41B1-B183-BC102218986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1C5402EA-2415-4005-AEB2-2F35E5780DC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99" y="779463"/>
            <a:ext cx="10888380" cy="468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831" y="4868374"/>
            <a:ext cx="10890250" cy="1212851"/>
          </a:xfrm>
        </p:spPr>
        <p:txBody>
          <a:bodyPr anchor="ctr" anchorCtr="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1792" y="1557380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/>
              <a:t>Klik for at tilføje tekst               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56314" y="1557380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           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 rot="5400000">
            <a:off x="3097668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  <p:sp>
        <p:nvSpPr>
          <p:cNvPr id="8" name="Højrepil 7">
            <a:extLst>
              <a:ext uri="{FF2B5EF4-FFF2-40B4-BE49-F238E27FC236}">
                <a16:creationId xmlns:a16="http://schemas.microsoft.com/office/drawing/2014/main" id="{75257325-A8A5-DD44-BA20-840B4FC669FE}"/>
              </a:ext>
            </a:extLst>
          </p:cNvPr>
          <p:cNvSpPr/>
          <p:nvPr userDrawn="1"/>
        </p:nvSpPr>
        <p:spPr>
          <a:xfrm rot="5400000">
            <a:off x="8902190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</p:spTree>
    <p:extLst>
      <p:ext uri="{BB962C8B-B14F-4D97-AF65-F5344CB8AC3E}">
        <p14:creationId xmlns:p14="http://schemas.microsoft.com/office/powerpoint/2010/main" val="211676764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93381C5-CE75-441F-BD71-A932BFC1509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217CB09-8672-44A3-A2C0-1527EA81EA82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FA444BA1-5225-4FD8-8B87-DA4955EBD7F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F90E4622-C01F-4001-95F3-0032DD19E6D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99" y="779463"/>
            <a:ext cx="10888380" cy="468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831" y="4868374"/>
            <a:ext cx="10890250" cy="1212851"/>
          </a:xfrm>
        </p:spPr>
        <p:txBody>
          <a:bodyPr anchor="ctr" anchorCtr="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9835" y="1557908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10960" y="1557908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63947" y="1557908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406429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7925423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</p:spTree>
    <p:extLst>
      <p:ext uri="{BB962C8B-B14F-4D97-AF65-F5344CB8AC3E}">
        <p14:creationId xmlns:p14="http://schemas.microsoft.com/office/powerpoint/2010/main" val="3178233576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427F8AB-725A-4049-8A05-BF91E1E544C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36538F7-1685-4A9F-8E9E-8663FF075C0E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B0005B-7697-46E6-AC85-701DC50A595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6BB8C07-FBA2-4FC6-A91F-E0BFC3044DD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99" y="779463"/>
            <a:ext cx="10888380" cy="468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831" y="4868374"/>
            <a:ext cx="10890250" cy="1212851"/>
          </a:xfrm>
        </p:spPr>
        <p:txBody>
          <a:bodyPr anchor="ctr" anchorCtr="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9835" y="1557908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10960" y="1557908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63947" y="1557908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2137825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  <p:sp>
        <p:nvSpPr>
          <p:cNvPr id="11" name="Højrepil 10">
            <a:extLst>
              <a:ext uri="{FF2B5EF4-FFF2-40B4-BE49-F238E27FC236}">
                <a16:creationId xmlns:a16="http://schemas.microsoft.com/office/drawing/2014/main" id="{BD0089C5-39E9-C745-A39F-3CD7D32908D7}"/>
              </a:ext>
            </a:extLst>
          </p:cNvPr>
          <p:cNvSpPr/>
          <p:nvPr userDrawn="1"/>
        </p:nvSpPr>
        <p:spPr>
          <a:xfrm rot="5400000">
            <a:off x="5998950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1B398A9-5D04-164D-BB75-5BFDF2E7EB1A}"/>
              </a:ext>
            </a:extLst>
          </p:cNvPr>
          <p:cNvSpPr/>
          <p:nvPr userDrawn="1"/>
        </p:nvSpPr>
        <p:spPr>
          <a:xfrm rot="5400000">
            <a:off x="9851937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</p:spTree>
    <p:extLst>
      <p:ext uri="{BB962C8B-B14F-4D97-AF65-F5344CB8AC3E}">
        <p14:creationId xmlns:p14="http://schemas.microsoft.com/office/powerpoint/2010/main" val="316300386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761376"/>
            <a:ext cx="6749592" cy="2535237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5680" y="5249848"/>
            <a:ext cx="5364292" cy="839867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kort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680" y="4069772"/>
            <a:ext cx="5364291" cy="1030127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96841392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9B6C6DC-3FA6-4D19-845E-A1FD51F5165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BB48DC7-0568-4C63-8BD4-233936F5FCDD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C0BE032-DC32-487A-8DF4-52D91077C52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B8FFD3C-7C10-49B1-AF62-7A5B30B672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99" y="779463"/>
            <a:ext cx="10888380" cy="468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831" y="4868374"/>
            <a:ext cx="10890250" cy="1212851"/>
          </a:xfrm>
        </p:spPr>
        <p:txBody>
          <a:bodyPr anchor="ctr" anchorCtr="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9831" y="1557908"/>
            <a:ext cx="2437366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     Enter &amp; TAB for næste tekst niveau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67459" y="1557908"/>
            <a:ext cx="2437366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Enter &amp; TAB for næste tekst niveau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5086" y="1557908"/>
            <a:ext cx="2437366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 Enter &amp; TAB for næste tekst niveau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2714" y="1557908"/>
            <a:ext cx="2437366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Enter &amp; TAB for næste tekst niveau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3181302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881655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</p:spTree>
    <p:extLst>
      <p:ext uri="{BB962C8B-B14F-4D97-AF65-F5344CB8AC3E}">
        <p14:creationId xmlns:p14="http://schemas.microsoft.com/office/powerpoint/2010/main" val="3865602527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258706B4-A40E-4B2C-AA89-2F5EF0CF331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579EBFF-4B5B-4513-8FEE-BE080A20E05A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1A5A385-CD32-463F-8B32-9C5DDE55D2E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9F3BE4C5-30F4-4D65-BD4B-3BF388E0C90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99" y="779463"/>
            <a:ext cx="10888380" cy="468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831" y="4868374"/>
            <a:ext cx="10890250" cy="1212851"/>
          </a:xfrm>
        </p:spPr>
        <p:txBody>
          <a:bodyPr anchor="ctr" anchorCtr="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9831" y="1557908"/>
            <a:ext cx="2437366" cy="3023261"/>
          </a:xfrm>
          <a:solidFill>
            <a:schemeClr val="accent2">
              <a:lumMod val="40000"/>
              <a:lumOff val="60000"/>
            </a:schemeClr>
          </a:solidFill>
          <a:ln w="6350">
            <a:noFill/>
          </a:ln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Enter &amp; TAB for næste tekst niveau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67459" y="1557908"/>
            <a:ext cx="2437366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Enter &amp; TAB for næste tekst niveau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5086" y="1557908"/>
            <a:ext cx="2437366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  Enter &amp; TAB for næste tekst niveau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2714" y="1557908"/>
            <a:ext cx="2437366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Enter &amp; TAB for næste tekst niveau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1723591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F819482-7C14-7E43-A620-0B19F87364BA}"/>
              </a:ext>
            </a:extLst>
          </p:cNvPr>
          <p:cNvSpPr/>
          <p:nvPr userDrawn="1"/>
        </p:nvSpPr>
        <p:spPr>
          <a:xfrm rot="5400000">
            <a:off x="4541220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  <p:sp>
        <p:nvSpPr>
          <p:cNvPr id="15" name="Højrepil 14">
            <a:extLst>
              <a:ext uri="{FF2B5EF4-FFF2-40B4-BE49-F238E27FC236}">
                <a16:creationId xmlns:a16="http://schemas.microsoft.com/office/drawing/2014/main" id="{29E70971-7A29-5B45-99ED-430CD18479DF}"/>
              </a:ext>
            </a:extLst>
          </p:cNvPr>
          <p:cNvSpPr/>
          <p:nvPr userDrawn="1"/>
        </p:nvSpPr>
        <p:spPr>
          <a:xfrm rot="5400000">
            <a:off x="7358848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  <p:sp>
        <p:nvSpPr>
          <p:cNvPr id="16" name="Højrepil 15">
            <a:extLst>
              <a:ext uri="{FF2B5EF4-FFF2-40B4-BE49-F238E27FC236}">
                <a16:creationId xmlns:a16="http://schemas.microsoft.com/office/drawing/2014/main" id="{BEF88CB5-A1ED-2746-A344-31420505FA3C}"/>
              </a:ext>
            </a:extLst>
          </p:cNvPr>
          <p:cNvSpPr/>
          <p:nvPr userDrawn="1"/>
        </p:nvSpPr>
        <p:spPr>
          <a:xfrm rot="5400000">
            <a:off x="10176474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</p:spTree>
    <p:extLst>
      <p:ext uri="{BB962C8B-B14F-4D97-AF65-F5344CB8AC3E}">
        <p14:creationId xmlns:p14="http://schemas.microsoft.com/office/powerpoint/2010/main" val="915845131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D72445DE-703A-4158-990B-C12DED4F68C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652752C-4925-4A22-98EC-81A2A507E29E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90AA38AA-2F29-4A6E-8E32-51CA64C065F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8" name="Slide Number Placeholder 7" hidden="1">
            <a:extLst>
              <a:ext uri="{FF2B5EF4-FFF2-40B4-BE49-F238E27FC236}">
                <a16:creationId xmlns:a16="http://schemas.microsoft.com/office/drawing/2014/main" id="{09FF0DBE-92E2-41A2-B4A5-35A4B122672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14831" y="1557341"/>
            <a:ext cx="9362339" cy="3743325"/>
          </a:xfrm>
        </p:spPr>
        <p:txBody>
          <a:bodyPr tIns="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966792260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m iko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64ED0073-D649-4709-AA20-BB8C1462453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BB21513-162A-4678-828B-6605A9BCB01E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1036EE94-F8B7-4DE0-BB28-D5DFA32645F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8CCC8A13-4702-4930-93F5-3185C551E57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14831" y="779647"/>
            <a:ext cx="9362339" cy="4521087"/>
          </a:xfrm>
        </p:spPr>
        <p:txBody>
          <a:bodyPr tIns="108000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9E642AAF-364D-7D43-9F2A-A9F9E4874C3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195798" y="779576"/>
            <a:ext cx="1800469" cy="1800000"/>
          </a:xfrm>
        </p:spPr>
        <p:txBody>
          <a:bodyPr lIns="72000" tIns="72000" rIns="72000" anchor="t" anchorCtr="0"/>
          <a:lstStyle>
            <a:lvl1pPr algn="ctr">
              <a:defRPr sz="138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ctr" defTabSz="666766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rammen og indsæt ikon via Templafy Billeder</a:t>
            </a:r>
          </a:p>
        </p:txBody>
      </p:sp>
    </p:spTree>
    <p:extLst>
      <p:ext uri="{BB962C8B-B14F-4D97-AF65-F5344CB8AC3E}">
        <p14:creationId xmlns:p14="http://schemas.microsoft.com/office/powerpoint/2010/main" val="3857535712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7E53FC4C-981E-44BB-8D50-D3B2B1B40B8E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CC9CBD6-74CA-434B-98C7-492962204B17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9508CC8F-3542-43E0-A822-E74B563BF9E4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6DAA1372-B636-454F-BE30-B70A89D53E4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472" y="2204915"/>
            <a:ext cx="3240844" cy="876513"/>
          </a:xfrm>
        </p:spPr>
        <p:txBody>
          <a:bodyPr anchor="t" anchorCtr="0"/>
          <a:lstStyle>
            <a:lvl1pPr algn="ctr">
              <a:defRPr sz="1386"/>
            </a:lvl1pPr>
            <a:lvl2pPr algn="ctr">
              <a:defRPr sz="1386"/>
            </a:lvl2pPr>
            <a:lvl3pPr algn="ctr">
              <a:defRPr sz="1386"/>
            </a:lvl3pPr>
            <a:lvl4pPr algn="ctr">
              <a:defRPr sz="1386"/>
            </a:lvl4pPr>
            <a:lvl5pPr algn="ctr">
              <a:defRPr sz="1386"/>
            </a:lvl5pPr>
            <a:lvl6pPr algn="ctr">
              <a:defRPr sz="1386"/>
            </a:lvl6pPr>
            <a:lvl7pPr algn="ctr">
              <a:defRPr sz="1386"/>
            </a:lvl7pPr>
            <a:lvl8pPr algn="ctr">
              <a:defRPr sz="1386"/>
            </a:lvl8pPr>
            <a:lvl9pPr algn="ctr">
              <a:defRPr sz="1386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5593" y="2204915"/>
            <a:ext cx="3240844" cy="876513"/>
          </a:xfrm>
        </p:spPr>
        <p:txBody>
          <a:bodyPr anchor="t" anchorCtr="0"/>
          <a:lstStyle>
            <a:lvl1pPr algn="ctr">
              <a:defRPr sz="1386"/>
            </a:lvl1pPr>
            <a:lvl2pPr algn="ctr">
              <a:defRPr sz="1386"/>
            </a:lvl2pPr>
            <a:lvl3pPr algn="ctr">
              <a:defRPr sz="1386"/>
            </a:lvl3pPr>
            <a:lvl4pPr algn="ctr">
              <a:defRPr sz="1386"/>
            </a:lvl4pPr>
            <a:lvl5pPr algn="ctr">
              <a:defRPr sz="1386"/>
            </a:lvl5pPr>
            <a:lvl6pPr algn="ctr">
              <a:defRPr sz="1386"/>
            </a:lvl6pPr>
            <a:lvl7pPr algn="ctr">
              <a:defRPr sz="1386"/>
            </a:lvl7pPr>
            <a:lvl8pPr algn="ctr">
              <a:defRPr sz="1386"/>
            </a:lvl8pPr>
            <a:lvl9pPr algn="ctr">
              <a:defRPr sz="1386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00126" y="2204915"/>
            <a:ext cx="3240844" cy="876513"/>
          </a:xfrm>
        </p:spPr>
        <p:txBody>
          <a:bodyPr anchor="t" anchorCtr="0"/>
          <a:lstStyle>
            <a:lvl1pPr algn="ctr">
              <a:defRPr sz="1386"/>
            </a:lvl1pPr>
            <a:lvl2pPr algn="ctr">
              <a:defRPr sz="1386"/>
            </a:lvl2pPr>
            <a:lvl3pPr algn="ctr">
              <a:defRPr sz="1386"/>
            </a:lvl3pPr>
            <a:lvl4pPr algn="ctr">
              <a:defRPr sz="1386"/>
            </a:lvl4pPr>
            <a:lvl5pPr algn="ctr">
              <a:defRPr sz="1386"/>
            </a:lvl5pPr>
            <a:lvl6pPr algn="ctr">
              <a:defRPr sz="1386"/>
            </a:lvl6pPr>
            <a:lvl7pPr algn="ctr">
              <a:defRPr sz="1386"/>
            </a:lvl7pPr>
            <a:lvl8pPr algn="ctr">
              <a:defRPr sz="1386"/>
            </a:lvl8pPr>
            <a:lvl9pPr algn="ctr">
              <a:defRPr sz="1386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7FD11B2D-4CCA-B241-84AE-FEEE1ABA1A4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9472" y="4869207"/>
            <a:ext cx="3240844" cy="876513"/>
          </a:xfrm>
        </p:spPr>
        <p:txBody>
          <a:bodyPr anchor="t" anchorCtr="0"/>
          <a:lstStyle>
            <a:lvl1pPr algn="ctr">
              <a:defRPr sz="1386"/>
            </a:lvl1pPr>
            <a:lvl2pPr algn="ctr">
              <a:defRPr sz="1386"/>
            </a:lvl2pPr>
            <a:lvl3pPr algn="ctr">
              <a:defRPr sz="1386"/>
            </a:lvl3pPr>
            <a:lvl4pPr algn="ctr">
              <a:defRPr sz="1386"/>
            </a:lvl4pPr>
            <a:lvl5pPr algn="ctr">
              <a:defRPr sz="1386"/>
            </a:lvl5pPr>
            <a:lvl6pPr algn="ctr">
              <a:defRPr sz="1386"/>
            </a:lvl6pPr>
            <a:lvl7pPr algn="ctr">
              <a:defRPr sz="1386"/>
            </a:lvl7pPr>
            <a:lvl8pPr algn="ctr">
              <a:defRPr sz="1386"/>
            </a:lvl8pPr>
            <a:lvl9pPr algn="ctr">
              <a:defRPr sz="1386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4" name="Pladsholder til tekst 2">
            <a:extLst>
              <a:ext uri="{FF2B5EF4-FFF2-40B4-BE49-F238E27FC236}">
                <a16:creationId xmlns:a16="http://schemas.microsoft.com/office/drawing/2014/main" id="{29618506-C79D-9843-8CE5-115DF2F55A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75593" y="4869207"/>
            <a:ext cx="3240844" cy="876513"/>
          </a:xfrm>
        </p:spPr>
        <p:txBody>
          <a:bodyPr anchor="t" anchorCtr="0"/>
          <a:lstStyle>
            <a:lvl1pPr algn="ctr">
              <a:defRPr sz="1386"/>
            </a:lvl1pPr>
            <a:lvl2pPr algn="ctr">
              <a:defRPr sz="1386"/>
            </a:lvl2pPr>
            <a:lvl3pPr algn="ctr">
              <a:defRPr sz="1386"/>
            </a:lvl3pPr>
            <a:lvl4pPr algn="ctr">
              <a:defRPr sz="1386"/>
            </a:lvl4pPr>
            <a:lvl5pPr algn="ctr">
              <a:defRPr sz="1386"/>
            </a:lvl5pPr>
            <a:lvl6pPr algn="ctr">
              <a:defRPr sz="1386"/>
            </a:lvl6pPr>
            <a:lvl7pPr algn="ctr">
              <a:defRPr sz="1386"/>
            </a:lvl7pPr>
            <a:lvl8pPr algn="ctr">
              <a:defRPr sz="1386"/>
            </a:lvl8pPr>
            <a:lvl9pPr algn="ctr">
              <a:defRPr sz="1386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305F192E-8164-454B-A226-E3A490C19B2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00126" y="4869207"/>
            <a:ext cx="3240844" cy="876513"/>
          </a:xfrm>
        </p:spPr>
        <p:txBody>
          <a:bodyPr anchor="t" anchorCtr="0"/>
          <a:lstStyle>
            <a:lvl1pPr algn="ctr">
              <a:defRPr sz="1386"/>
            </a:lvl1pPr>
            <a:lvl2pPr algn="ctr">
              <a:defRPr sz="1386"/>
            </a:lvl2pPr>
            <a:lvl3pPr algn="ctr">
              <a:defRPr sz="1386"/>
            </a:lvl3pPr>
            <a:lvl4pPr algn="ctr">
              <a:defRPr sz="1386"/>
            </a:lvl4pPr>
            <a:lvl5pPr algn="ctr">
              <a:defRPr sz="1386"/>
            </a:lvl5pPr>
            <a:lvl6pPr algn="ctr">
              <a:defRPr sz="1386"/>
            </a:lvl6pPr>
            <a:lvl7pPr algn="ctr">
              <a:defRPr sz="1386"/>
            </a:lvl7pPr>
            <a:lvl8pPr algn="ctr">
              <a:defRPr sz="1386"/>
            </a:lvl8pPr>
            <a:lvl9pPr algn="ctr">
              <a:defRPr sz="1386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495995" y="599250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8" name="Pladsholder til billede 3">
            <a:extLst>
              <a:ext uri="{FF2B5EF4-FFF2-40B4-BE49-F238E27FC236}">
                <a16:creationId xmlns:a16="http://schemas.microsoft.com/office/drawing/2014/main" id="{C48F51AF-EE09-7640-985D-49A9AACC6254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5322116" y="599250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9" name="Pladsholder til billede 3">
            <a:extLst>
              <a:ext uri="{FF2B5EF4-FFF2-40B4-BE49-F238E27FC236}">
                <a16:creationId xmlns:a16="http://schemas.microsoft.com/office/drawing/2014/main" id="{48734797-E8DF-014D-A55D-6BF430204DE1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146649" y="599250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569D038D-5624-EF47-A522-C6916B347C57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1495995" y="3260825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EC2F9887-080D-2746-ACBF-1B62B1DAE9F0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5322116" y="3264948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5502AEEC-30C1-FC48-BEC4-560AB09C51C3}"/>
              </a:ext>
            </a:extLst>
          </p:cNvPr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9146649" y="3260825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</p:spTree>
    <p:extLst>
      <p:ext uri="{BB962C8B-B14F-4D97-AF65-F5344CB8AC3E}">
        <p14:creationId xmlns:p14="http://schemas.microsoft.com/office/powerpoint/2010/main" val="262699574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C413EC4A-952A-4BCD-ADC4-0C4040BDF019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2A73119-DF3E-4E22-A56B-B4157A77BD5C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54A0986D-9CC1-42E4-A6EB-6F974345CA2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BD439DCE-B770-4312-B46E-C1297178199D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BED50E38-DC96-4706-BB9E-F01B50F69A2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495995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CBF51E47-FE4C-4B83-98A3-D128287C1492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5322116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7" name="Pladsholder til billede 3">
            <a:extLst>
              <a:ext uri="{FF2B5EF4-FFF2-40B4-BE49-F238E27FC236}">
                <a16:creationId xmlns:a16="http://schemas.microsoft.com/office/drawing/2014/main" id="{3A71D23D-E3D5-4BAC-81E0-425462922C49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146649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481" y="779463"/>
            <a:ext cx="5083773" cy="672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472" y="3645066"/>
            <a:ext cx="3240844" cy="2436691"/>
          </a:xfrm>
        </p:spPr>
        <p:txBody>
          <a:bodyPr anchor="t" anchorCtr="0"/>
          <a:lstStyle>
            <a:lvl1pPr algn="ctr">
              <a:defRPr sz="1386"/>
            </a:lvl1pPr>
            <a:lvl2pPr algn="ctr">
              <a:defRPr sz="1386"/>
            </a:lvl2pPr>
            <a:lvl3pPr algn="ctr">
              <a:defRPr sz="1386"/>
            </a:lvl3pPr>
            <a:lvl4pPr algn="ctr">
              <a:defRPr sz="1386"/>
            </a:lvl4pPr>
            <a:lvl5pPr algn="ctr">
              <a:defRPr sz="1386"/>
            </a:lvl5pPr>
            <a:lvl6pPr algn="ctr">
              <a:defRPr sz="1386"/>
            </a:lvl6pPr>
            <a:lvl7pPr algn="ctr">
              <a:defRPr sz="1386"/>
            </a:lvl7pPr>
            <a:lvl8pPr algn="ctr">
              <a:defRPr sz="1386"/>
            </a:lvl8pPr>
            <a:lvl9pPr algn="ctr">
              <a:defRPr sz="1386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5593" y="3645065"/>
            <a:ext cx="3240844" cy="2436691"/>
          </a:xfrm>
        </p:spPr>
        <p:txBody>
          <a:bodyPr anchor="t" anchorCtr="0"/>
          <a:lstStyle>
            <a:lvl1pPr algn="ctr">
              <a:defRPr sz="1386"/>
            </a:lvl1pPr>
            <a:lvl2pPr algn="ctr">
              <a:defRPr sz="1386"/>
            </a:lvl2pPr>
            <a:lvl3pPr algn="ctr">
              <a:defRPr sz="1386"/>
            </a:lvl3pPr>
            <a:lvl4pPr algn="ctr">
              <a:defRPr sz="1386"/>
            </a:lvl4pPr>
            <a:lvl5pPr algn="ctr">
              <a:defRPr sz="1386"/>
            </a:lvl5pPr>
            <a:lvl6pPr algn="ctr">
              <a:defRPr sz="1386"/>
            </a:lvl6pPr>
            <a:lvl7pPr algn="ctr">
              <a:defRPr sz="1386"/>
            </a:lvl7pPr>
            <a:lvl8pPr algn="ctr">
              <a:defRPr sz="1386"/>
            </a:lvl8pPr>
            <a:lvl9pPr algn="ctr">
              <a:defRPr sz="1386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00126" y="3645065"/>
            <a:ext cx="3240844" cy="2436691"/>
          </a:xfrm>
        </p:spPr>
        <p:txBody>
          <a:bodyPr anchor="t" anchorCtr="0"/>
          <a:lstStyle>
            <a:lvl1pPr algn="ctr">
              <a:defRPr sz="1386"/>
            </a:lvl1pPr>
            <a:lvl2pPr algn="ctr">
              <a:defRPr sz="1386"/>
            </a:lvl2pPr>
            <a:lvl3pPr algn="ctr">
              <a:defRPr sz="1386"/>
            </a:lvl3pPr>
            <a:lvl4pPr algn="ctr">
              <a:defRPr sz="1386"/>
            </a:lvl4pPr>
            <a:lvl5pPr algn="ctr">
              <a:defRPr sz="1386"/>
            </a:lvl5pPr>
            <a:lvl6pPr algn="ctr">
              <a:defRPr sz="1386"/>
            </a:lvl6pPr>
            <a:lvl7pPr algn="ctr">
              <a:defRPr sz="1386"/>
            </a:lvl7pPr>
            <a:lvl8pPr algn="ctr">
              <a:defRPr sz="1386"/>
            </a:lvl8pPr>
            <a:lvl9pPr algn="ctr">
              <a:defRPr sz="1386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1008899457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 hidden="1">
            <a:extLst>
              <a:ext uri="{FF2B5EF4-FFF2-40B4-BE49-F238E27FC236}">
                <a16:creationId xmlns:a16="http://schemas.microsoft.com/office/drawing/2014/main" id="{9ECC5D82-F228-411D-A1E9-11B31415FC63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8E9A5AD3-2831-4BDE-B2CA-86AE9D574722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75D303E3-EDCB-4418-BF79-64BF149EB16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86A4E939-F3CB-430A-817C-A488E20034DC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70"/>
            <a:ext cx="12192000" cy="608171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479" tIns="52479" rIns="52479" bIns="52479" rtlCol="0" anchor="ctr"/>
          <a:lstStyle/>
          <a:p>
            <a:pPr algn="ctr"/>
            <a:endParaRPr lang="da-DK" sz="989" dirty="0" err="1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5CE0354F-A0AF-408A-81A9-1442E48EDFBC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495995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9AB35CBD-38F8-4F9F-BCA4-A9BC4A747002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5322116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7" name="Pladsholder til billede 3">
            <a:extLst>
              <a:ext uri="{FF2B5EF4-FFF2-40B4-BE49-F238E27FC236}">
                <a16:creationId xmlns:a16="http://schemas.microsoft.com/office/drawing/2014/main" id="{DAE76AEB-82E8-4AE4-B77A-B4FDDAAC3A33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146649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481" y="779463"/>
            <a:ext cx="5083773" cy="6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472" y="3645066"/>
            <a:ext cx="3240844" cy="2436691"/>
          </a:xfrm>
        </p:spPr>
        <p:txBody>
          <a:bodyPr anchor="t" anchorCtr="0"/>
          <a:lstStyle>
            <a:lvl1pPr algn="ctr">
              <a:defRPr sz="1386">
                <a:solidFill>
                  <a:schemeClr val="bg1"/>
                </a:solidFill>
              </a:defRPr>
            </a:lvl1pPr>
            <a:lvl2pPr algn="ctr">
              <a:defRPr sz="1386">
                <a:solidFill>
                  <a:schemeClr val="bg1"/>
                </a:solidFill>
              </a:defRPr>
            </a:lvl2pPr>
            <a:lvl3pPr algn="ctr">
              <a:defRPr sz="1386">
                <a:solidFill>
                  <a:schemeClr val="bg1"/>
                </a:solidFill>
              </a:defRPr>
            </a:lvl3pPr>
            <a:lvl4pPr algn="ctr">
              <a:defRPr sz="1386">
                <a:solidFill>
                  <a:schemeClr val="bg1"/>
                </a:solidFill>
              </a:defRPr>
            </a:lvl4pPr>
            <a:lvl5pPr algn="ctr">
              <a:defRPr sz="1386">
                <a:solidFill>
                  <a:schemeClr val="bg1"/>
                </a:solidFill>
              </a:defRPr>
            </a:lvl5pPr>
            <a:lvl6pPr algn="ctr">
              <a:defRPr sz="1386">
                <a:solidFill>
                  <a:schemeClr val="bg1"/>
                </a:solidFill>
              </a:defRPr>
            </a:lvl6pPr>
            <a:lvl7pPr algn="ctr">
              <a:defRPr sz="1386">
                <a:solidFill>
                  <a:schemeClr val="bg1"/>
                </a:solidFill>
              </a:defRPr>
            </a:lvl7pPr>
            <a:lvl8pPr algn="ctr">
              <a:defRPr sz="1386">
                <a:solidFill>
                  <a:schemeClr val="bg1"/>
                </a:solidFill>
              </a:defRPr>
            </a:lvl8pPr>
            <a:lvl9pPr algn="ctr">
              <a:defRPr sz="1386"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5593" y="3645065"/>
            <a:ext cx="3240844" cy="2436691"/>
          </a:xfrm>
        </p:spPr>
        <p:txBody>
          <a:bodyPr anchor="t" anchorCtr="0"/>
          <a:lstStyle>
            <a:lvl1pPr algn="ctr">
              <a:defRPr sz="1386">
                <a:solidFill>
                  <a:schemeClr val="bg1"/>
                </a:solidFill>
              </a:defRPr>
            </a:lvl1pPr>
            <a:lvl2pPr algn="ctr">
              <a:defRPr sz="1386">
                <a:solidFill>
                  <a:schemeClr val="bg1"/>
                </a:solidFill>
              </a:defRPr>
            </a:lvl2pPr>
            <a:lvl3pPr algn="ctr">
              <a:defRPr sz="1386">
                <a:solidFill>
                  <a:schemeClr val="bg1"/>
                </a:solidFill>
              </a:defRPr>
            </a:lvl3pPr>
            <a:lvl4pPr algn="ctr">
              <a:defRPr sz="1386">
                <a:solidFill>
                  <a:schemeClr val="bg1"/>
                </a:solidFill>
              </a:defRPr>
            </a:lvl4pPr>
            <a:lvl5pPr algn="ctr">
              <a:defRPr sz="1386">
                <a:solidFill>
                  <a:schemeClr val="bg1"/>
                </a:solidFill>
              </a:defRPr>
            </a:lvl5pPr>
            <a:lvl6pPr algn="ctr">
              <a:defRPr sz="1386">
                <a:solidFill>
                  <a:schemeClr val="bg1"/>
                </a:solidFill>
              </a:defRPr>
            </a:lvl6pPr>
            <a:lvl7pPr algn="ctr">
              <a:defRPr sz="1386">
                <a:solidFill>
                  <a:schemeClr val="bg1"/>
                </a:solidFill>
              </a:defRPr>
            </a:lvl7pPr>
            <a:lvl8pPr algn="ctr">
              <a:defRPr sz="1386">
                <a:solidFill>
                  <a:schemeClr val="bg1"/>
                </a:solidFill>
              </a:defRPr>
            </a:lvl8pPr>
            <a:lvl9pPr algn="ctr">
              <a:defRPr sz="1386"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00126" y="3645065"/>
            <a:ext cx="3240844" cy="2436691"/>
          </a:xfrm>
        </p:spPr>
        <p:txBody>
          <a:bodyPr anchor="t" anchorCtr="0"/>
          <a:lstStyle>
            <a:lvl1pPr algn="ctr">
              <a:defRPr sz="1386">
                <a:solidFill>
                  <a:schemeClr val="bg1"/>
                </a:solidFill>
              </a:defRPr>
            </a:lvl1pPr>
            <a:lvl2pPr algn="ctr">
              <a:defRPr sz="1386">
                <a:solidFill>
                  <a:schemeClr val="bg1"/>
                </a:solidFill>
              </a:defRPr>
            </a:lvl2pPr>
            <a:lvl3pPr algn="ctr">
              <a:defRPr sz="1386">
                <a:solidFill>
                  <a:schemeClr val="bg1"/>
                </a:solidFill>
              </a:defRPr>
            </a:lvl3pPr>
            <a:lvl4pPr algn="ctr">
              <a:defRPr sz="1386">
                <a:solidFill>
                  <a:schemeClr val="bg1"/>
                </a:solidFill>
              </a:defRPr>
            </a:lvl4pPr>
            <a:lvl5pPr algn="ctr">
              <a:defRPr sz="1386">
                <a:solidFill>
                  <a:schemeClr val="bg1"/>
                </a:solidFill>
              </a:defRPr>
            </a:lvl5pPr>
            <a:lvl6pPr algn="ctr">
              <a:defRPr sz="1386">
                <a:solidFill>
                  <a:schemeClr val="bg1"/>
                </a:solidFill>
              </a:defRPr>
            </a:lvl6pPr>
            <a:lvl7pPr algn="ctr">
              <a:defRPr sz="1386">
                <a:solidFill>
                  <a:schemeClr val="bg1"/>
                </a:solidFill>
              </a:defRPr>
            </a:lvl7pPr>
            <a:lvl8pPr algn="ctr">
              <a:defRPr sz="1386">
                <a:solidFill>
                  <a:schemeClr val="bg1"/>
                </a:solidFill>
              </a:defRPr>
            </a:lvl8pPr>
            <a:lvl9pPr algn="ctr">
              <a:defRPr sz="1386"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1513282017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 hidden="1">
            <a:extLst>
              <a:ext uri="{FF2B5EF4-FFF2-40B4-BE49-F238E27FC236}">
                <a16:creationId xmlns:a16="http://schemas.microsoft.com/office/drawing/2014/main" id="{7C509616-3754-460D-8930-609D8F6B890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7B02BF2-EAEF-4B16-9B96-B8D7D2AAEADF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362DF3FC-ACEF-40F1-8589-7075E87B513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F68D7200-719D-454C-9271-449FB0DAE0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70"/>
            <a:ext cx="12192000" cy="608171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479" tIns="52479" rIns="52479" bIns="52479" rtlCol="0" anchor="ctr"/>
          <a:lstStyle/>
          <a:p>
            <a:pPr algn="ctr"/>
            <a:endParaRPr lang="da-DK" sz="989" dirty="0" err="1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F0DC69D7-258C-4370-B90B-FE7270CF3FC5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495995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F15AFACA-9899-4709-ABD1-FDF56EC74C41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5322116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7" name="Pladsholder til billede 3">
            <a:extLst>
              <a:ext uri="{FF2B5EF4-FFF2-40B4-BE49-F238E27FC236}">
                <a16:creationId xmlns:a16="http://schemas.microsoft.com/office/drawing/2014/main" id="{3E3A7AED-CE34-4E07-B069-DFF8BA2DA90D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146649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481" y="779463"/>
            <a:ext cx="5083773" cy="6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472" y="3645066"/>
            <a:ext cx="3240844" cy="2436691"/>
          </a:xfrm>
        </p:spPr>
        <p:txBody>
          <a:bodyPr anchor="t" anchorCtr="0"/>
          <a:lstStyle>
            <a:lvl1pPr algn="ctr">
              <a:defRPr sz="1386">
                <a:solidFill>
                  <a:schemeClr val="bg1"/>
                </a:solidFill>
              </a:defRPr>
            </a:lvl1pPr>
            <a:lvl2pPr algn="ctr">
              <a:defRPr sz="1386">
                <a:solidFill>
                  <a:schemeClr val="bg1"/>
                </a:solidFill>
              </a:defRPr>
            </a:lvl2pPr>
            <a:lvl3pPr algn="ctr">
              <a:defRPr sz="1386">
                <a:solidFill>
                  <a:schemeClr val="bg1"/>
                </a:solidFill>
              </a:defRPr>
            </a:lvl3pPr>
            <a:lvl4pPr algn="ctr">
              <a:defRPr sz="1386">
                <a:solidFill>
                  <a:schemeClr val="bg1"/>
                </a:solidFill>
              </a:defRPr>
            </a:lvl4pPr>
            <a:lvl5pPr algn="ctr">
              <a:defRPr sz="1386">
                <a:solidFill>
                  <a:schemeClr val="bg1"/>
                </a:solidFill>
              </a:defRPr>
            </a:lvl5pPr>
            <a:lvl6pPr algn="ctr">
              <a:defRPr sz="1386">
                <a:solidFill>
                  <a:schemeClr val="bg1"/>
                </a:solidFill>
              </a:defRPr>
            </a:lvl6pPr>
            <a:lvl7pPr algn="ctr">
              <a:defRPr sz="1386">
                <a:solidFill>
                  <a:schemeClr val="bg1"/>
                </a:solidFill>
              </a:defRPr>
            </a:lvl7pPr>
            <a:lvl8pPr algn="ctr">
              <a:defRPr sz="1386">
                <a:solidFill>
                  <a:schemeClr val="bg1"/>
                </a:solidFill>
              </a:defRPr>
            </a:lvl8pPr>
            <a:lvl9pPr algn="ctr">
              <a:defRPr sz="1386"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5593" y="3645065"/>
            <a:ext cx="3240844" cy="2436691"/>
          </a:xfrm>
        </p:spPr>
        <p:txBody>
          <a:bodyPr anchor="t" anchorCtr="0"/>
          <a:lstStyle>
            <a:lvl1pPr algn="ctr">
              <a:defRPr sz="1386">
                <a:solidFill>
                  <a:schemeClr val="bg1"/>
                </a:solidFill>
              </a:defRPr>
            </a:lvl1pPr>
            <a:lvl2pPr algn="ctr">
              <a:defRPr sz="1386">
                <a:solidFill>
                  <a:schemeClr val="bg1"/>
                </a:solidFill>
              </a:defRPr>
            </a:lvl2pPr>
            <a:lvl3pPr algn="ctr">
              <a:defRPr sz="1386">
                <a:solidFill>
                  <a:schemeClr val="bg1"/>
                </a:solidFill>
              </a:defRPr>
            </a:lvl3pPr>
            <a:lvl4pPr algn="ctr">
              <a:defRPr sz="1386">
                <a:solidFill>
                  <a:schemeClr val="bg1"/>
                </a:solidFill>
              </a:defRPr>
            </a:lvl4pPr>
            <a:lvl5pPr algn="ctr">
              <a:defRPr sz="1386">
                <a:solidFill>
                  <a:schemeClr val="bg1"/>
                </a:solidFill>
              </a:defRPr>
            </a:lvl5pPr>
            <a:lvl6pPr algn="ctr">
              <a:defRPr sz="1386">
                <a:solidFill>
                  <a:schemeClr val="bg1"/>
                </a:solidFill>
              </a:defRPr>
            </a:lvl6pPr>
            <a:lvl7pPr algn="ctr">
              <a:defRPr sz="1386">
                <a:solidFill>
                  <a:schemeClr val="bg1"/>
                </a:solidFill>
              </a:defRPr>
            </a:lvl7pPr>
            <a:lvl8pPr algn="ctr">
              <a:defRPr sz="1386">
                <a:solidFill>
                  <a:schemeClr val="bg1"/>
                </a:solidFill>
              </a:defRPr>
            </a:lvl8pPr>
            <a:lvl9pPr algn="ctr">
              <a:defRPr sz="1386"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00126" y="3645065"/>
            <a:ext cx="3240844" cy="2436691"/>
          </a:xfrm>
        </p:spPr>
        <p:txBody>
          <a:bodyPr anchor="t" anchorCtr="0"/>
          <a:lstStyle>
            <a:lvl1pPr algn="ctr">
              <a:defRPr sz="1386">
                <a:solidFill>
                  <a:schemeClr val="bg1"/>
                </a:solidFill>
              </a:defRPr>
            </a:lvl1pPr>
            <a:lvl2pPr algn="ctr">
              <a:defRPr sz="1386">
                <a:solidFill>
                  <a:schemeClr val="bg1"/>
                </a:solidFill>
              </a:defRPr>
            </a:lvl2pPr>
            <a:lvl3pPr algn="ctr">
              <a:defRPr sz="1386">
                <a:solidFill>
                  <a:schemeClr val="bg1"/>
                </a:solidFill>
              </a:defRPr>
            </a:lvl3pPr>
            <a:lvl4pPr algn="ctr">
              <a:defRPr sz="1386">
                <a:solidFill>
                  <a:schemeClr val="bg1"/>
                </a:solidFill>
              </a:defRPr>
            </a:lvl4pPr>
            <a:lvl5pPr algn="ctr">
              <a:defRPr sz="1386">
                <a:solidFill>
                  <a:schemeClr val="bg1"/>
                </a:solidFill>
              </a:defRPr>
            </a:lvl5pPr>
            <a:lvl6pPr algn="ctr">
              <a:defRPr sz="1386">
                <a:solidFill>
                  <a:schemeClr val="bg1"/>
                </a:solidFill>
              </a:defRPr>
            </a:lvl6pPr>
            <a:lvl7pPr algn="ctr">
              <a:defRPr sz="1386">
                <a:solidFill>
                  <a:schemeClr val="bg1"/>
                </a:solidFill>
              </a:defRPr>
            </a:lvl7pPr>
            <a:lvl8pPr algn="ctr">
              <a:defRPr sz="1386">
                <a:solidFill>
                  <a:schemeClr val="bg1"/>
                </a:solidFill>
              </a:defRPr>
            </a:lvl8pPr>
            <a:lvl9pPr algn="ctr">
              <a:defRPr sz="1386"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570607841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61BB51BF-CC09-4B49-85C6-710DE2886E3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55824745-4DE4-4D55-B3D9-FA5F132DE819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0386AFC-B449-47E3-9FF8-EDCC5CB7A42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53164A51-1EA5-4DBF-8D83-F52D2540C78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B5CEAD66-5979-CB42-BDA1-48A3ABB5B93E}"/>
              </a:ext>
            </a:extLst>
          </p:cNvPr>
          <p:cNvSpPr/>
          <p:nvPr userDrawn="1"/>
        </p:nvSpPr>
        <p:spPr>
          <a:xfrm>
            <a:off x="0" y="70"/>
            <a:ext cx="12192000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479" tIns="52479" rIns="52479" bIns="52479" rtlCol="0" anchor="ctr"/>
          <a:lstStyle/>
          <a:p>
            <a:pPr algn="ctr"/>
            <a:endParaRPr lang="da-DK" sz="989" dirty="0" err="1"/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878C2B3A-6C24-4707-8C30-2C1A49C77301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495995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4" name="Pladsholder til billede 3">
            <a:extLst>
              <a:ext uri="{FF2B5EF4-FFF2-40B4-BE49-F238E27FC236}">
                <a16:creationId xmlns:a16="http://schemas.microsoft.com/office/drawing/2014/main" id="{11175BD5-3111-4753-98CF-A9CC0C6935BD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5322116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8" name="Pladsholder til billede 3">
            <a:extLst>
              <a:ext uri="{FF2B5EF4-FFF2-40B4-BE49-F238E27FC236}">
                <a16:creationId xmlns:a16="http://schemas.microsoft.com/office/drawing/2014/main" id="{10A102A1-2519-4291-869C-7AA9AD82C3F2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146649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481" y="779463"/>
            <a:ext cx="5083773" cy="624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472" y="3645066"/>
            <a:ext cx="3240844" cy="2436691"/>
          </a:xfrm>
        </p:spPr>
        <p:txBody>
          <a:bodyPr anchor="t" anchorCtr="0"/>
          <a:lstStyle>
            <a:lvl1pPr algn="ctr">
              <a:defRPr sz="1386">
                <a:solidFill>
                  <a:schemeClr val="accent4"/>
                </a:solidFill>
              </a:defRPr>
            </a:lvl1pPr>
            <a:lvl2pPr algn="ctr">
              <a:defRPr sz="1386">
                <a:solidFill>
                  <a:schemeClr val="accent4"/>
                </a:solidFill>
              </a:defRPr>
            </a:lvl2pPr>
            <a:lvl3pPr algn="ctr">
              <a:defRPr sz="1386">
                <a:solidFill>
                  <a:schemeClr val="accent4"/>
                </a:solidFill>
              </a:defRPr>
            </a:lvl3pPr>
            <a:lvl4pPr algn="ctr">
              <a:defRPr sz="1386">
                <a:solidFill>
                  <a:schemeClr val="accent4"/>
                </a:solidFill>
              </a:defRPr>
            </a:lvl4pPr>
            <a:lvl5pPr algn="ctr">
              <a:defRPr sz="1386">
                <a:solidFill>
                  <a:schemeClr val="accent4"/>
                </a:solidFill>
              </a:defRPr>
            </a:lvl5pPr>
            <a:lvl6pPr algn="ctr">
              <a:defRPr sz="1386">
                <a:solidFill>
                  <a:schemeClr val="accent4"/>
                </a:solidFill>
              </a:defRPr>
            </a:lvl6pPr>
            <a:lvl7pPr algn="ctr">
              <a:defRPr sz="1386">
                <a:solidFill>
                  <a:schemeClr val="accent4"/>
                </a:solidFill>
              </a:defRPr>
            </a:lvl7pPr>
            <a:lvl8pPr algn="ctr">
              <a:defRPr sz="1386">
                <a:solidFill>
                  <a:schemeClr val="accent4"/>
                </a:solidFill>
              </a:defRPr>
            </a:lvl8pPr>
            <a:lvl9pPr algn="ctr">
              <a:defRPr sz="1386">
                <a:solidFill>
                  <a:schemeClr val="accent4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5593" y="3645065"/>
            <a:ext cx="3240844" cy="2436691"/>
          </a:xfrm>
        </p:spPr>
        <p:txBody>
          <a:bodyPr anchor="t" anchorCtr="0"/>
          <a:lstStyle>
            <a:lvl1pPr algn="ctr">
              <a:defRPr sz="1386">
                <a:solidFill>
                  <a:schemeClr val="accent4"/>
                </a:solidFill>
              </a:defRPr>
            </a:lvl1pPr>
            <a:lvl2pPr algn="ctr">
              <a:defRPr sz="1386">
                <a:solidFill>
                  <a:schemeClr val="accent4"/>
                </a:solidFill>
              </a:defRPr>
            </a:lvl2pPr>
            <a:lvl3pPr algn="ctr">
              <a:defRPr sz="1386">
                <a:solidFill>
                  <a:schemeClr val="accent4"/>
                </a:solidFill>
              </a:defRPr>
            </a:lvl3pPr>
            <a:lvl4pPr algn="ctr">
              <a:defRPr sz="1386">
                <a:solidFill>
                  <a:schemeClr val="accent4"/>
                </a:solidFill>
              </a:defRPr>
            </a:lvl4pPr>
            <a:lvl5pPr algn="ctr">
              <a:defRPr sz="1386">
                <a:solidFill>
                  <a:schemeClr val="accent4"/>
                </a:solidFill>
              </a:defRPr>
            </a:lvl5pPr>
            <a:lvl6pPr algn="ctr">
              <a:defRPr sz="1386">
                <a:solidFill>
                  <a:schemeClr val="accent4"/>
                </a:solidFill>
              </a:defRPr>
            </a:lvl6pPr>
            <a:lvl7pPr algn="ctr">
              <a:defRPr sz="1386">
                <a:solidFill>
                  <a:schemeClr val="accent4"/>
                </a:solidFill>
              </a:defRPr>
            </a:lvl7pPr>
            <a:lvl8pPr algn="ctr">
              <a:defRPr sz="1386">
                <a:solidFill>
                  <a:schemeClr val="accent4"/>
                </a:solidFill>
              </a:defRPr>
            </a:lvl8pPr>
            <a:lvl9pPr algn="ctr">
              <a:defRPr sz="1386">
                <a:solidFill>
                  <a:schemeClr val="accent4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00126" y="3645065"/>
            <a:ext cx="3240844" cy="2436691"/>
          </a:xfrm>
        </p:spPr>
        <p:txBody>
          <a:bodyPr anchor="t" anchorCtr="0"/>
          <a:lstStyle>
            <a:lvl1pPr algn="ctr">
              <a:defRPr sz="1386">
                <a:solidFill>
                  <a:schemeClr val="accent4"/>
                </a:solidFill>
              </a:defRPr>
            </a:lvl1pPr>
            <a:lvl2pPr algn="ctr">
              <a:defRPr sz="1386">
                <a:solidFill>
                  <a:schemeClr val="accent4"/>
                </a:solidFill>
              </a:defRPr>
            </a:lvl2pPr>
            <a:lvl3pPr algn="ctr">
              <a:defRPr sz="1386">
                <a:solidFill>
                  <a:schemeClr val="accent4"/>
                </a:solidFill>
              </a:defRPr>
            </a:lvl3pPr>
            <a:lvl4pPr algn="ctr">
              <a:defRPr sz="1386">
                <a:solidFill>
                  <a:schemeClr val="accent4"/>
                </a:solidFill>
              </a:defRPr>
            </a:lvl4pPr>
            <a:lvl5pPr algn="ctr">
              <a:defRPr sz="1386">
                <a:solidFill>
                  <a:schemeClr val="accent4"/>
                </a:solidFill>
              </a:defRPr>
            </a:lvl5pPr>
            <a:lvl6pPr algn="ctr">
              <a:defRPr sz="1386">
                <a:solidFill>
                  <a:schemeClr val="accent4"/>
                </a:solidFill>
              </a:defRPr>
            </a:lvl6pPr>
            <a:lvl7pPr algn="ctr">
              <a:defRPr sz="1386">
                <a:solidFill>
                  <a:schemeClr val="accent4"/>
                </a:solidFill>
              </a:defRPr>
            </a:lvl7pPr>
            <a:lvl8pPr algn="ctr">
              <a:defRPr sz="1386">
                <a:solidFill>
                  <a:schemeClr val="accent4"/>
                </a:solidFill>
              </a:defRPr>
            </a:lvl8pPr>
            <a:lvl9pPr algn="ctr">
              <a:defRPr sz="1386">
                <a:solidFill>
                  <a:schemeClr val="accent4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989582666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F95DB393-5B28-4C61-900E-980AD757DFF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023D27E4-6983-4DFC-A8F6-BA0873206BD7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658E895F-50CB-4966-A3B5-9B53292F28B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CB78F041-D981-43DD-8BA9-E81B43D4892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702" y="779463"/>
            <a:ext cx="5083858" cy="672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1792" y="1557339"/>
            <a:ext cx="5083773" cy="4524376"/>
          </a:xfrm>
        </p:spPr>
        <p:txBody>
          <a:bodyPr anchor="ctr" anchorCtr="0"/>
          <a:lstStyle>
            <a:lvl5pPr>
              <a:defRPr/>
            </a:lvl5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B8B704C-C3C0-104D-B9FE-A0C35400DCF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55847" y="778933"/>
            <a:ext cx="5084234" cy="672000"/>
          </a:xfrm>
        </p:spPr>
        <p:txBody>
          <a:bodyPr/>
          <a:lstStyle>
            <a:lvl1pPr algn="r">
              <a:defRPr sz="1186"/>
            </a:lvl1pPr>
            <a:lvl2pPr algn="r">
              <a:defRPr sz="1186"/>
            </a:lvl2pPr>
            <a:lvl3pPr algn="r">
              <a:defRPr sz="1186"/>
            </a:lvl3pPr>
            <a:lvl4pPr algn="r">
              <a:defRPr sz="1186"/>
            </a:lvl4pPr>
            <a:lvl5pPr algn="r">
              <a:defRPr sz="1186"/>
            </a:lvl5pPr>
            <a:lvl6pPr algn="r">
              <a:defRPr sz="1186"/>
            </a:lvl6pPr>
            <a:lvl7pPr algn="r">
              <a:defRPr sz="1186"/>
            </a:lvl7pPr>
            <a:lvl8pPr algn="r">
              <a:defRPr sz="1186"/>
            </a:lvl8pPr>
            <a:lvl9pPr algn="r">
              <a:defRPr sz="1186"/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70" y="1557872"/>
            <a:ext cx="5084500" cy="4523847"/>
          </a:xfrm>
          <a:noFill/>
        </p:spPr>
        <p:txBody>
          <a:bodyPr vert="horz" lIns="0" tIns="720000" anchor="ctr" anchorCtr="0"/>
          <a:lstStyle>
            <a:lvl1pPr algn="ctr">
              <a:defRPr sz="138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</p:spTree>
    <p:extLst>
      <p:ext uri="{BB962C8B-B14F-4D97-AF65-F5344CB8AC3E}">
        <p14:creationId xmlns:p14="http://schemas.microsoft.com/office/powerpoint/2010/main" val="3962691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58639" y="0"/>
            <a:ext cx="4242062" cy="6858000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72980" y="2607740"/>
            <a:ext cx="3337528" cy="351968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2980" y="789245"/>
            <a:ext cx="3337528" cy="1576883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3220612873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9876025-41BA-4493-B806-EFE4B43A4F7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21BD128-121C-4E73-B98B-89CCBD4E7A93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808B851-A2E6-4152-9FD4-136B977306C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F40EC5E-8E53-4318-8A37-D6CD47F401D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479" tIns="52479" rIns="52479" bIns="52479" rtlCol="0" anchor="ctr"/>
          <a:lstStyle/>
          <a:p>
            <a:pPr algn="ctr"/>
            <a:endParaRPr lang="da-DK" sz="989" dirty="0" err="1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702" y="779463"/>
            <a:ext cx="5083858" cy="6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1792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55847" y="778933"/>
            <a:ext cx="5084234" cy="672000"/>
          </a:xfrm>
        </p:spPr>
        <p:txBody>
          <a:bodyPr/>
          <a:lstStyle>
            <a:lvl1pPr algn="r">
              <a:defRPr sz="1186">
                <a:solidFill>
                  <a:schemeClr val="bg1"/>
                </a:solidFill>
              </a:defRPr>
            </a:lvl1pPr>
            <a:lvl2pPr algn="r">
              <a:defRPr sz="1186">
                <a:solidFill>
                  <a:schemeClr val="bg1"/>
                </a:solidFill>
              </a:defRPr>
            </a:lvl2pPr>
            <a:lvl3pPr algn="r">
              <a:defRPr sz="1186">
                <a:solidFill>
                  <a:schemeClr val="bg1"/>
                </a:solidFill>
              </a:defRPr>
            </a:lvl3pPr>
            <a:lvl4pPr algn="r">
              <a:defRPr sz="1186">
                <a:solidFill>
                  <a:schemeClr val="bg1"/>
                </a:solidFill>
              </a:defRPr>
            </a:lvl4pPr>
            <a:lvl5pPr algn="r">
              <a:defRPr sz="1186">
                <a:solidFill>
                  <a:schemeClr val="bg1"/>
                </a:solidFill>
              </a:defRPr>
            </a:lvl5pPr>
            <a:lvl6pPr algn="r">
              <a:defRPr sz="1186">
                <a:solidFill>
                  <a:schemeClr val="bg1"/>
                </a:solidFill>
              </a:defRPr>
            </a:lvl6pPr>
            <a:lvl7pPr algn="r">
              <a:defRPr sz="1186">
                <a:solidFill>
                  <a:schemeClr val="bg1"/>
                </a:solidFill>
              </a:defRPr>
            </a:lvl7pPr>
            <a:lvl8pPr algn="r">
              <a:defRPr sz="1186">
                <a:solidFill>
                  <a:schemeClr val="bg1"/>
                </a:solidFill>
              </a:defRPr>
            </a:lvl8pPr>
            <a:lvl9pPr algn="r">
              <a:defRPr sz="1186"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70" y="1557339"/>
            <a:ext cx="5084500" cy="4175920"/>
          </a:xfrm>
          <a:noFill/>
        </p:spPr>
        <p:txBody>
          <a:bodyPr vert="horz" lIns="0" tIns="720000" anchor="ctr" anchorCtr="0"/>
          <a:lstStyle>
            <a:lvl1pPr algn="ctr">
              <a:defRPr sz="1386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</p:spTree>
    <p:extLst>
      <p:ext uri="{BB962C8B-B14F-4D97-AF65-F5344CB8AC3E}">
        <p14:creationId xmlns:p14="http://schemas.microsoft.com/office/powerpoint/2010/main" val="19017946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E49E64D8-EC20-490A-B860-1210322D782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E272CCB-63B9-4E82-B26C-BAE543FCDBA1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D1098269-3832-4E0D-9385-65AAAA38716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411D96CD-A22D-4F2C-A422-6C2F3DE759B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479" tIns="52479" rIns="52479" bIns="52479" rtlCol="0" anchor="ctr"/>
          <a:lstStyle/>
          <a:p>
            <a:pPr algn="ctr"/>
            <a:endParaRPr lang="da-DK" sz="989" dirty="0" err="1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702" y="779463"/>
            <a:ext cx="5083858" cy="6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1792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55847" y="778933"/>
            <a:ext cx="5084234" cy="672000"/>
          </a:xfrm>
        </p:spPr>
        <p:txBody>
          <a:bodyPr/>
          <a:lstStyle>
            <a:lvl1pPr algn="r">
              <a:defRPr sz="1186">
                <a:solidFill>
                  <a:schemeClr val="bg1"/>
                </a:solidFill>
              </a:defRPr>
            </a:lvl1pPr>
            <a:lvl2pPr algn="r">
              <a:defRPr sz="1186">
                <a:solidFill>
                  <a:schemeClr val="bg1"/>
                </a:solidFill>
              </a:defRPr>
            </a:lvl2pPr>
            <a:lvl3pPr algn="r">
              <a:defRPr sz="1186">
                <a:solidFill>
                  <a:schemeClr val="bg1"/>
                </a:solidFill>
              </a:defRPr>
            </a:lvl3pPr>
            <a:lvl4pPr algn="r">
              <a:defRPr sz="1186">
                <a:solidFill>
                  <a:schemeClr val="bg1"/>
                </a:solidFill>
              </a:defRPr>
            </a:lvl4pPr>
            <a:lvl5pPr algn="r">
              <a:defRPr sz="1186">
                <a:solidFill>
                  <a:schemeClr val="bg1"/>
                </a:solidFill>
              </a:defRPr>
            </a:lvl5pPr>
            <a:lvl6pPr algn="r">
              <a:defRPr sz="1186">
                <a:solidFill>
                  <a:schemeClr val="bg1"/>
                </a:solidFill>
              </a:defRPr>
            </a:lvl6pPr>
            <a:lvl7pPr algn="r">
              <a:defRPr sz="1186">
                <a:solidFill>
                  <a:schemeClr val="bg1"/>
                </a:solidFill>
              </a:defRPr>
            </a:lvl7pPr>
            <a:lvl8pPr algn="r">
              <a:defRPr sz="1186">
                <a:solidFill>
                  <a:schemeClr val="bg1"/>
                </a:solidFill>
              </a:defRPr>
            </a:lvl8pPr>
            <a:lvl9pPr algn="r">
              <a:defRPr sz="1186"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70" y="1557339"/>
            <a:ext cx="5084500" cy="4175920"/>
          </a:xfrm>
          <a:noFill/>
        </p:spPr>
        <p:txBody>
          <a:bodyPr vert="horz" lIns="0" tIns="720000" anchor="ctr" anchorCtr="0"/>
          <a:lstStyle>
            <a:lvl1pPr algn="ctr">
              <a:defRPr sz="1386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</p:spTree>
    <p:extLst>
      <p:ext uri="{BB962C8B-B14F-4D97-AF65-F5344CB8AC3E}">
        <p14:creationId xmlns:p14="http://schemas.microsoft.com/office/powerpoint/2010/main" val="36371558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5558E9E-E5EC-4301-872A-29A11B273C6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F37D267-48AB-4030-882A-9F9FE1CD800E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733E969-9487-4D60-B099-524EF31ADAF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1C89B1-C6E0-45D9-A537-84A87D013D5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479" tIns="52479" rIns="52479" bIns="52479" rtlCol="0" anchor="ctr"/>
          <a:lstStyle/>
          <a:p>
            <a:pPr algn="ctr"/>
            <a:endParaRPr lang="da-DK" sz="989" dirty="0" err="1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6883171-03D4-FA47-9204-9F3A686B1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708" y="779463"/>
            <a:ext cx="5083773" cy="672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1792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763EDBD3-33CC-B34A-8855-2882F1E498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55847" y="778933"/>
            <a:ext cx="5084234" cy="672000"/>
          </a:xfrm>
        </p:spPr>
        <p:txBody>
          <a:bodyPr/>
          <a:lstStyle>
            <a:lvl1pPr algn="r">
              <a:defRPr sz="1186"/>
            </a:lvl1pPr>
            <a:lvl2pPr algn="r">
              <a:defRPr sz="1186"/>
            </a:lvl2pPr>
            <a:lvl3pPr algn="r">
              <a:defRPr sz="1186"/>
            </a:lvl3pPr>
            <a:lvl4pPr algn="r">
              <a:defRPr sz="1186"/>
            </a:lvl4pPr>
            <a:lvl5pPr algn="r">
              <a:defRPr sz="1186"/>
            </a:lvl5pPr>
            <a:lvl6pPr algn="r">
              <a:defRPr sz="1186"/>
            </a:lvl6pPr>
            <a:lvl7pPr algn="r">
              <a:defRPr sz="1186"/>
            </a:lvl7pPr>
            <a:lvl8pPr algn="r">
              <a:defRPr sz="1186"/>
            </a:lvl8pPr>
            <a:lvl9pPr algn="r">
              <a:defRPr sz="1186"/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70" y="1557339"/>
            <a:ext cx="5084500" cy="4175920"/>
          </a:xfrm>
          <a:noFill/>
        </p:spPr>
        <p:txBody>
          <a:bodyPr vert="horz" lIns="0" tIns="720000" anchor="ctr" anchorCtr="0"/>
          <a:lstStyle>
            <a:lvl1pPr algn="ctr">
              <a:defRPr sz="138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</p:spTree>
    <p:extLst>
      <p:ext uri="{BB962C8B-B14F-4D97-AF65-F5344CB8AC3E}">
        <p14:creationId xmlns:p14="http://schemas.microsoft.com/office/powerpoint/2010/main" val="28520002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D921CE05-8E40-44EB-8E60-7D0C3C9CFDD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3A2869B-02F3-4E63-A7EE-D6C31A0FD265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063BF431-21BD-47E3-9C1C-22F433646CE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7" name="Slide Number Placeholder 6" hidden="1">
            <a:extLst>
              <a:ext uri="{FF2B5EF4-FFF2-40B4-BE49-F238E27FC236}">
                <a16:creationId xmlns:a16="http://schemas.microsoft.com/office/drawing/2014/main" id="{F9925167-61C3-443F-8FD1-8697D31278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723" y="779463"/>
            <a:ext cx="5804145" cy="672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3" name="Pladsholder til diagram 2">
            <a:extLst>
              <a:ext uri="{FF2B5EF4-FFF2-40B4-BE49-F238E27FC236}">
                <a16:creationId xmlns:a16="http://schemas.microsoft.com/office/drawing/2014/main" id="{DE19A8A7-F159-AA41-A318-2F1E24433A73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49831" y="1557871"/>
            <a:ext cx="10890250" cy="4523317"/>
          </a:xfrm>
        </p:spPr>
        <p:txBody>
          <a:bodyPr lIns="3960000" tIns="792000" anchor="ctr" anchorCtr="0"/>
          <a:lstStyle>
            <a:lvl1pPr marL="0" marR="0" indent="0" algn="ctr" defTabSz="666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7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66766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t diagram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725C3BD1-93AB-E34D-89B2-48C316ECDA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55847" y="778933"/>
            <a:ext cx="5084234" cy="672000"/>
          </a:xfrm>
        </p:spPr>
        <p:txBody>
          <a:bodyPr/>
          <a:lstStyle>
            <a:lvl1pPr algn="r">
              <a:defRPr sz="1186"/>
            </a:lvl1pPr>
            <a:lvl2pPr algn="r">
              <a:defRPr sz="1186"/>
            </a:lvl2pPr>
            <a:lvl3pPr algn="r">
              <a:defRPr sz="1186"/>
            </a:lvl3pPr>
            <a:lvl4pPr algn="r">
              <a:defRPr sz="1186"/>
            </a:lvl4pPr>
            <a:lvl5pPr algn="r">
              <a:defRPr sz="1186"/>
            </a:lvl5pPr>
            <a:lvl6pPr algn="r">
              <a:defRPr sz="1186"/>
            </a:lvl6pPr>
            <a:lvl7pPr algn="r">
              <a:defRPr sz="1186"/>
            </a:lvl7pPr>
            <a:lvl8pPr algn="r">
              <a:defRPr sz="1186"/>
            </a:lvl8pPr>
            <a:lvl9pPr algn="r">
              <a:defRPr sz="1186"/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3664244980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2B8F4BEA-7DA9-48DE-BC83-7F877C3F51C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C29E69F-9375-43E2-88A8-7E648D614C61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F5448C6A-7742-4189-8195-96D48F34ACF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040F40E8-59AF-4B26-8620-AE93D8EE6BA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7149D3B-849F-0A4D-A824-3A80421971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700" y="779463"/>
            <a:ext cx="10889267" cy="672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080C5317-E351-3E4F-910E-18F821FD9BAC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/>
        <p:txBody>
          <a:bodyPr lIns="3960000" tIns="864000" anchor="ctr" anchorCtr="0"/>
          <a:lstStyle>
            <a:lvl1pPr marL="0" marR="0" indent="0" algn="ctr" defTabSz="666766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7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66766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72349637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CF1B228A-6A5D-407B-9C8F-6E05F03B43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5B9D8-1F2F-4604-AA9B-E291EBFE3501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6F641918-77DD-4D7B-B241-7EBE712759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B6FCA17A-0808-4CE6-906D-2FBEDA63A7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720" y="779462"/>
            <a:ext cx="10889270" cy="5302251"/>
          </a:xfrm>
        </p:spPr>
        <p:txBody>
          <a:bodyPr anchor="ctr"/>
          <a:lstStyle>
            <a:lvl1pPr algn="ctr">
              <a:defRPr sz="5915">
                <a:solidFill>
                  <a:schemeClr val="bg2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</p:spTree>
    <p:extLst>
      <p:ext uri="{BB962C8B-B14F-4D97-AF65-F5344CB8AC3E}">
        <p14:creationId xmlns:p14="http://schemas.microsoft.com/office/powerpoint/2010/main" val="562076579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DDB0D394-908F-492A-A026-ABD92B595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45633-02ED-49DB-B674-4B66A1FF8BCC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EC674FA1-9D49-4A19-9628-328429F4E1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2A17F1AD-37AA-41DE-A40F-01CC328810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6BF9ADF-5782-FA46-A09C-46A4864FF3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/>
              <a:t>Klik for at tilføje titel</a:t>
            </a:r>
          </a:p>
        </p:txBody>
      </p:sp>
    </p:spTree>
    <p:extLst>
      <p:ext uri="{BB962C8B-B14F-4D97-AF65-F5344CB8AC3E}">
        <p14:creationId xmlns:p14="http://schemas.microsoft.com/office/powerpoint/2010/main" val="632813005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Date Placeholder 6" hidden="1">
            <a:extLst>
              <a:ext uri="{FF2B5EF4-FFF2-40B4-BE49-F238E27FC236}">
                <a16:creationId xmlns:a16="http://schemas.microsoft.com/office/drawing/2014/main" id="{77A12538-135F-4FF2-A008-DD8778997A8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30AC875-3431-4F99-95D2-76090725282E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30" name="Footer Placeholder 8" hidden="1">
            <a:extLst>
              <a:ext uri="{FF2B5EF4-FFF2-40B4-BE49-F238E27FC236}">
                <a16:creationId xmlns:a16="http://schemas.microsoft.com/office/drawing/2014/main" id="{A42D56E7-CDF6-4E80-AFF3-D415EB0F22A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384820" y="8577600"/>
            <a:ext cx="5486400" cy="24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01590" rtl="0" eaLnBrk="1" latinLnBrk="0" hangingPunct="1">
              <a:defRPr sz="986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0794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159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5238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3178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397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04766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55559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635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31" name="Slide Number Placeholder 10" hidden="1">
            <a:extLst>
              <a:ext uri="{FF2B5EF4-FFF2-40B4-BE49-F238E27FC236}">
                <a16:creationId xmlns:a16="http://schemas.microsoft.com/office/drawing/2014/main" id="{42EB6738-FD94-43D4-9716-64D106B23C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5084738" y="8577600"/>
            <a:ext cx="447362" cy="24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01590" rtl="0" eaLnBrk="1" latinLnBrk="0" hangingPunct="1">
              <a:defRPr sz="986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0794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159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5238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3178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397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04766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55559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635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7" name="Text Box 3">
            <a:extLst>
              <a:ext uri="{FF2B5EF4-FFF2-40B4-BE49-F238E27FC236}">
                <a16:creationId xmlns:a16="http://schemas.microsoft.com/office/drawing/2014/main" id="{31B5A1BB-7762-4B36-9AC6-DE1A06E2748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670375" y="1566786"/>
            <a:ext cx="2879625" cy="4814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6424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da-DK" altLang="da-DK" sz="1572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COPY/PASTE INDHOLD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Du har 2 muligheder, når du kopierer gammelt indhold over i din nye præsentation: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Opret et slide i din nye præsentation og kopier ét indholdselement ad gangen (fx kopier al tekst fra én tekstboks)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Eller kopier et helt slide over i din nye præsentation og vælg derefter et passende layout . Husk at slette de gamle, forkerte layouts (gå i Vis &gt; Slidemaster og slet dem)</a:t>
            </a:r>
          </a:p>
          <a:p>
            <a:pPr eaLnBrk="1" hangingPunct="1">
              <a:spcAft>
                <a:spcPts val="450"/>
              </a:spcAft>
              <a:defRPr/>
            </a:pPr>
            <a:endParaRPr lang="da-DK" altLang="da-DK" sz="661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sz="1572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SLIDES &amp; SLIDE ELEMENTS</a:t>
            </a:r>
            <a:endParaRPr lang="da-DK" altLang="da-DK" sz="1572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Indsæt prædefineret slides og elementer fra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Templafy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. </a:t>
            </a:r>
            <a:b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eller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fra Templafy vinduet i højre side af skærmen</a:t>
            </a:r>
          </a:p>
          <a:p>
            <a:pPr eaLnBrk="1" hangingPunct="1">
              <a:spcAft>
                <a:spcPts val="450"/>
              </a:spcAft>
              <a:defRPr/>
            </a:pPr>
            <a:endParaRPr lang="da-DK" altLang="da-DK" sz="661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ACEAFA82-EAAC-4833-957D-CAE8D49331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70395" y="4428014"/>
            <a:ext cx="2001339" cy="1377291"/>
          </a:xfrm>
          <a:prstGeom prst="rect">
            <a:avLst/>
          </a:prstGeom>
        </p:spPr>
      </p:pic>
      <p:sp>
        <p:nvSpPr>
          <p:cNvPr id="42" name="Text Box 3">
            <a:extLst>
              <a:ext uri="{FF2B5EF4-FFF2-40B4-BE49-F238E27FC236}">
                <a16:creationId xmlns:a16="http://schemas.microsoft.com/office/drawing/2014/main" id="{1C8E7CF7-9C23-4D65-9E13-3EF5EB59EB9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00025" y="1566786"/>
            <a:ext cx="2879625" cy="5174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6424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886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sz="1572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BILLEDER</a:t>
            </a:r>
            <a:br>
              <a:rPr lang="da-DK" sz="1186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Indsæt fra Templafy</a:t>
            </a:r>
            <a:endParaRPr lang="da-DK" altLang="da-DK" sz="886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886" b="0" kern="1200" noProof="1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Vælg billedepladsholder, ved at klikke på rammen (helt ude i kanten)</a:t>
            </a: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886" b="1" baseline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Klik på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Billeder i </a:t>
            </a:r>
            <a:r>
              <a:rPr lang="da-DK" altLang="da-DK" sz="886" b="0" baseline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Templafy vinduet i højre side af skærmen</a:t>
            </a: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886" b="1" baseline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da-DK" altLang="da-DK" sz="886" b="0" baseline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Du kan nu beskære eller ændre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billedets fokus/størrelse</a:t>
            </a:r>
            <a:endParaRPr lang="da-DK" altLang="da-DK" sz="886" b="0" baseline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da-DK" altLang="da-DK" sz="886" b="0" baseline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da-DK" altLang="da-DK" sz="886" b="0" baseline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da-DK" altLang="da-DK" sz="886" b="0" baseline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da-DK" altLang="da-DK" sz="886" b="0" baseline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da-DK" altLang="da-DK" sz="886" b="0" baseline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da-DK" altLang="da-DK" sz="886" b="0" baseline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da-DK" altLang="da-DK" sz="886" b="0" baseline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886" b="1" baseline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Indsæt billede fra din comput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På slides med billedpladsholder, klik på ikonet og vælg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Indsæt</a:t>
            </a:r>
          </a:p>
          <a:p>
            <a:pPr eaLnBrk="1" hangingPunct="1">
              <a:spcBef>
                <a:spcPts val="886"/>
              </a:spcBef>
              <a:spcAft>
                <a:spcPts val="450"/>
              </a:spcAft>
              <a:defRPr/>
            </a:pPr>
            <a:r>
              <a:rPr 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Beskær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for at ændre billedets fokus/størrels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Ønsker du at skalere billedet, så hold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-knappen nede, mens du trækker i billedets hjørner</a:t>
            </a:r>
          </a:p>
          <a:p>
            <a:pPr eaLnBrk="1" hangingPunct="1">
              <a:spcAft>
                <a:spcPts val="450"/>
              </a:spcAft>
              <a:defRPr/>
            </a:pPr>
            <a:b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TIP: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Hvis du sletter billedet og indsætter et nyt, kan billedet lægge sig foran tekst og grafik. Hvis dette sker, højreklik på billedet og vælg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Placer bagest</a:t>
            </a:r>
          </a:p>
          <a:p>
            <a:pPr eaLnBrk="1" hangingPunct="1">
              <a:spcAft>
                <a:spcPts val="450"/>
              </a:spcAft>
              <a:defRPr/>
            </a:pPr>
            <a:endParaRPr lang="da-DK" altLang="da-DK" sz="661" b="1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17ED4EBB-1EA1-4A40-8880-DE08C1FABB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10258"/>
          <a:stretch/>
        </p:blipFill>
        <p:spPr>
          <a:xfrm>
            <a:off x="4800025" y="3058075"/>
            <a:ext cx="1999740" cy="1235022"/>
          </a:xfrm>
          <a:prstGeom prst="rect">
            <a:avLst/>
          </a:prstGeom>
        </p:spPr>
      </p:pic>
      <p:pic>
        <p:nvPicPr>
          <p:cNvPr id="49" name="Picture 33">
            <a:extLst>
              <a:ext uri="{FF2B5EF4-FFF2-40B4-BE49-F238E27FC236}">
                <a16:creationId xmlns:a16="http://schemas.microsoft.com/office/drawing/2014/main" id="{B0BAEB13-7051-4B21-80C6-FE689B2674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901" t="45142" r="62601" b="9046"/>
          <a:stretch/>
        </p:blipFill>
        <p:spPr>
          <a:xfrm>
            <a:off x="7683913" y="4570707"/>
            <a:ext cx="341204" cy="321707"/>
          </a:xfrm>
          <a:prstGeom prst="rect">
            <a:avLst/>
          </a:prstGeom>
        </p:spPr>
      </p:pic>
      <p:pic>
        <p:nvPicPr>
          <p:cNvPr id="50" name="Billede 38">
            <a:extLst>
              <a:ext uri="{FF2B5EF4-FFF2-40B4-BE49-F238E27FC236}">
                <a16:creationId xmlns:a16="http://schemas.microsoft.com/office/drawing/2014/main" id="{E6BB4716-F581-4632-A23E-E9B8968864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725414" y="5336198"/>
            <a:ext cx="366042" cy="480431"/>
          </a:xfrm>
          <a:prstGeom prst="rect">
            <a:avLst/>
          </a:prstGeom>
        </p:spPr>
      </p:pic>
      <p:sp>
        <p:nvSpPr>
          <p:cNvPr id="51" name="Fast overskrift">
            <a:extLst>
              <a:ext uri="{FF2B5EF4-FFF2-40B4-BE49-F238E27FC236}">
                <a16:creationId xmlns:a16="http://schemas.microsoft.com/office/drawing/2014/main" id="{F09568EB-373C-468D-AAF9-6C2B03344BCF}"/>
              </a:ext>
            </a:extLst>
          </p:cNvPr>
          <p:cNvSpPr txBox="1"/>
          <p:nvPr userDrawn="1"/>
        </p:nvSpPr>
        <p:spPr>
          <a:xfrm>
            <a:off x="649838" y="733377"/>
            <a:ext cx="10892979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da-DK" sz="2372" b="1" noProof="1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  <a:t>TIPS &amp; TRICKS - DIN BRUGERGUIDE</a:t>
            </a:r>
          </a:p>
        </p:txBody>
      </p:sp>
      <p:sp>
        <p:nvSpPr>
          <p:cNvPr id="52" name="Text Box 2">
            <a:extLst>
              <a:ext uri="{FF2B5EF4-FFF2-40B4-BE49-F238E27FC236}">
                <a16:creationId xmlns:a16="http://schemas.microsoft.com/office/drawing/2014/main" id="{F63407F3-90CB-49E6-9C71-93DC9CF897C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66932" y="1566781"/>
            <a:ext cx="2879625" cy="3951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6424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sz="1572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TYPOGRAFIER</a:t>
            </a:r>
            <a:endParaRPr lang="da-DK" altLang="da-DK" sz="1186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Brug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TAB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, derefter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for at skifte fra et niveau til det næst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For at gå tilbage i tekst-niveauer, brug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SHIFT+TAB</a:t>
            </a:r>
            <a:endParaRPr lang="da-DK" altLang="da-DK" sz="886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Alternativt kan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Forøg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og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Formindsk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listeniveau bruges</a:t>
            </a:r>
          </a:p>
          <a:p>
            <a:pPr eaLnBrk="1" hangingPunct="1">
              <a:spcAft>
                <a:spcPts val="450"/>
              </a:spcAft>
              <a:defRPr/>
            </a:pPr>
            <a:b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Nulstil slide</a:t>
            </a:r>
          </a:p>
          <a:p>
            <a:pPr fontAlgn="auto">
              <a:spcBef>
                <a:spcPts val="0"/>
              </a:spcBef>
              <a:spcAft>
                <a:spcPts val="450"/>
              </a:spcAft>
              <a:buFont typeface="+mj-lt"/>
              <a:buNone/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Nulstil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for at nulstille placering, størrelse og formatering af pladsholdere til layoutets oprindelige design i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fanen</a:t>
            </a: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br>
              <a:rPr lang="da-DK" altLang="da-DK" sz="11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sz="1572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da-DK" altLang="da-DK" sz="11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br>
              <a:rPr lang="da-DK" altLang="da-DK" sz="661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Klik på fanen Hjem og derefter på Ny slide. Klikkes der på Ny slide-ikonet oprettes et nyt slide magen til det der er markeret i oversigten. Klikkes der på pilen til højre for Ny slide-ikonet bliver man præsenteret for de mulige layoutvalg.</a:t>
            </a:r>
            <a:b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b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Skift layout</a:t>
            </a: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Når du har markeret et slide i oversigten til venstre, kan man skiftet layoutet ved at klikke på fanen Hjem og derefter på Layout.</a:t>
            </a:r>
          </a:p>
        </p:txBody>
      </p:sp>
      <p:pic>
        <p:nvPicPr>
          <p:cNvPr id="53" name="Billede 1">
            <a:extLst>
              <a:ext uri="{FF2B5EF4-FFF2-40B4-BE49-F238E27FC236}">
                <a16:creationId xmlns:a16="http://schemas.microsoft.com/office/drawing/2014/main" id="{B713A3FB-7A8F-49BC-AFFA-0417817D80A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58131" y="4077504"/>
            <a:ext cx="308590" cy="528031"/>
          </a:xfrm>
          <a:prstGeom prst="rect">
            <a:avLst/>
          </a:prstGeom>
        </p:spPr>
      </p:pic>
      <p:pic>
        <p:nvPicPr>
          <p:cNvPr id="54" name="Billede 4">
            <a:extLst>
              <a:ext uri="{FF2B5EF4-FFF2-40B4-BE49-F238E27FC236}">
                <a16:creationId xmlns:a16="http://schemas.microsoft.com/office/drawing/2014/main" id="{A69C4E94-6D5D-4B16-BF3F-6142D205D2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031"/>
          <a:stretch/>
        </p:blipFill>
        <p:spPr>
          <a:xfrm>
            <a:off x="3583433" y="3168940"/>
            <a:ext cx="496606" cy="172843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3BFF2C28-93F4-4BF4-8A9B-F9BFD218D73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553207" y="2402045"/>
            <a:ext cx="457142" cy="257143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A1AACA7E-CEA8-4200-8923-4EB3C030BB2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559085" y="5221718"/>
            <a:ext cx="475428" cy="17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326097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Date Placeholder 6" hidden="1">
            <a:extLst>
              <a:ext uri="{FF2B5EF4-FFF2-40B4-BE49-F238E27FC236}">
                <a16:creationId xmlns:a16="http://schemas.microsoft.com/office/drawing/2014/main" id="{77A12538-135F-4FF2-A008-DD8778997A8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30AC875-3431-4F99-95D2-76090725282E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30" name="Footer Placeholder 8" hidden="1">
            <a:extLst>
              <a:ext uri="{FF2B5EF4-FFF2-40B4-BE49-F238E27FC236}">
                <a16:creationId xmlns:a16="http://schemas.microsoft.com/office/drawing/2014/main" id="{A42D56E7-CDF6-4E80-AFF3-D415EB0F22A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384820" y="8577600"/>
            <a:ext cx="5486400" cy="24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01590" rtl="0" eaLnBrk="1" latinLnBrk="0" hangingPunct="1">
              <a:defRPr sz="986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0794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159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5238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3178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397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04766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55559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635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31" name="Slide Number Placeholder 10" hidden="1">
            <a:extLst>
              <a:ext uri="{FF2B5EF4-FFF2-40B4-BE49-F238E27FC236}">
                <a16:creationId xmlns:a16="http://schemas.microsoft.com/office/drawing/2014/main" id="{42EB6738-FD94-43D4-9716-64D106B23C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5084738" y="8577600"/>
            <a:ext cx="447362" cy="24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01590" rtl="0" eaLnBrk="1" latinLnBrk="0" hangingPunct="1">
              <a:defRPr sz="986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0794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159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5238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3178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397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04766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55559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635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6" name="Fast overskrift">
            <a:extLst>
              <a:ext uri="{FF2B5EF4-FFF2-40B4-BE49-F238E27FC236}">
                <a16:creationId xmlns:a16="http://schemas.microsoft.com/office/drawing/2014/main" id="{9E47F1A3-8C68-4A3B-963E-5BDC20AA0035}"/>
              </a:ext>
            </a:extLst>
          </p:cNvPr>
          <p:cNvSpPr txBox="1"/>
          <p:nvPr userDrawn="1"/>
        </p:nvSpPr>
        <p:spPr>
          <a:xfrm>
            <a:off x="649838" y="733377"/>
            <a:ext cx="10892979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da-DK" sz="2372" b="1" noProof="1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  <a:t>TIPS &amp; TRICKS - DIN BRUGERGUIDE</a:t>
            </a:r>
          </a:p>
        </p:txBody>
      </p:sp>
      <p:sp>
        <p:nvSpPr>
          <p:cNvPr id="17" name="Text Box 3">
            <a:extLst>
              <a:ext uri="{FF2B5EF4-FFF2-40B4-BE49-F238E27FC236}">
                <a16:creationId xmlns:a16="http://schemas.microsoft.com/office/drawing/2014/main" id="{0157CAF6-20E1-4D62-AD14-A6DE6D3E1F2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584029" y="1566820"/>
            <a:ext cx="2879625" cy="1766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6424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sz="1572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SIDEHOVED &amp; -FOD</a:t>
            </a:r>
            <a:endParaRPr lang="da-DK" altLang="da-DK" sz="1572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Gør dette som</a:t>
            </a:r>
            <a:r>
              <a:rPr lang="da-DK" altLang="da-DK" sz="886" b="0" baseline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det sidste i din præsentation, så ændringerne slår igennem på alle slides</a:t>
            </a:r>
            <a:br>
              <a:rPr lang="da-DK" altLang="da-DK" sz="886" b="0" baseline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endParaRPr lang="da-DK" sz="886" b="1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Sidehoved og Sidefod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i fanen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Indsæt</a:t>
            </a:r>
            <a:b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(indtast evt. tekst i sidefod, klik dato eller sidetal fra eller til)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Anvend på alle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eller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Anvend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hvis det kun skal være på et enkelt slide</a:t>
            </a:r>
          </a:p>
          <a:p>
            <a:pPr eaLnBrk="1" hangingPunct="1">
              <a:spcAft>
                <a:spcPts val="450"/>
              </a:spcAft>
              <a:defRPr/>
            </a:pPr>
            <a:endParaRPr lang="da-DK" altLang="da-DK" sz="661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da-DK" altLang="da-DK" sz="661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8" name="Billede 21">
            <a:extLst>
              <a:ext uri="{FF2B5EF4-FFF2-40B4-BE49-F238E27FC236}">
                <a16:creationId xmlns:a16="http://schemas.microsoft.com/office/drawing/2014/main" id="{A6F1764C-D174-4F81-A784-A55936F87C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45137" y="2433093"/>
            <a:ext cx="440195" cy="543367"/>
          </a:xfrm>
          <a:prstGeom prst="rect">
            <a:avLst/>
          </a:prstGeom>
        </p:spPr>
      </p:pic>
      <p:sp>
        <p:nvSpPr>
          <p:cNvPr id="19" name="Text Box 2">
            <a:extLst>
              <a:ext uri="{FF2B5EF4-FFF2-40B4-BE49-F238E27FC236}">
                <a16:creationId xmlns:a16="http://schemas.microsoft.com/office/drawing/2014/main" id="{17ED1D00-ADEC-4356-926C-BDFF29E8190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66932" y="1566778"/>
            <a:ext cx="2879625" cy="2168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6424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sz="1572" kern="1200" cap="all" baseline="0" noProof="1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Skift diagram</a:t>
            </a:r>
            <a:endParaRPr lang="da-DK" altLang="da-DK" sz="1572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>
              <a:defRPr/>
            </a:pPr>
            <a:r>
              <a:rPr lang="da-DK" sz="886" b="0" kern="1200" noProof="1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Højreklik på diagrammet og vælg Seriediagramtype for at ændre typen på diagrammet</a:t>
            </a:r>
          </a:p>
          <a:p>
            <a:pPr>
              <a:defRPr/>
            </a:pPr>
            <a:endParaRPr lang="da-DK" altLang="da-DK" sz="886" b="0" kern="1200" noProof="1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>
              <a:spcAft>
                <a:spcPts val="180"/>
              </a:spcAft>
              <a:defRPr/>
            </a:pPr>
            <a:r>
              <a:rPr lang="da-DK" sz="886" b="0" kern="1200" noProof="1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Rediger data</a:t>
            </a:r>
          </a:p>
          <a:p>
            <a:pPr>
              <a:defRPr/>
            </a:pPr>
            <a:r>
              <a:rPr lang="da-DK" sz="886" b="0" kern="1200" noProof="1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Højreklik på diagrammet og vælg Rediger data i Excel</a:t>
            </a:r>
          </a:p>
          <a:p>
            <a:pPr>
              <a:defRPr/>
            </a:pPr>
            <a:br>
              <a:rPr lang="da-DK" altLang="da-DK" sz="1572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sz="1572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HJÆLPELINJER</a:t>
            </a:r>
            <a:endParaRPr lang="da-DK" altLang="da-DK" sz="1572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Klik på fanen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Vis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og sæt hak ved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TIP: Alt + F9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for hurtig visning af hjælpelinjer</a:t>
            </a:r>
            <a:b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Mac: </a:t>
            </a:r>
            <a:r>
              <a:rPr lang="da-DK" sz="886" b="0" i="0" dirty="0">
                <a:solidFill>
                  <a:schemeClr val="bg2"/>
                </a:solidFill>
                <a:effectLst/>
                <a:latin typeface="Arial"/>
              </a:rPr>
              <a:t>⌘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+ option + ctrl + G</a:t>
            </a:r>
            <a:endParaRPr lang="da-DK" altLang="da-DK" sz="886" b="1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da-DK" altLang="da-DK" sz="661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Text Box 3">
            <a:extLst>
              <a:ext uri="{FF2B5EF4-FFF2-40B4-BE49-F238E27FC236}">
                <a16:creationId xmlns:a16="http://schemas.microsoft.com/office/drawing/2014/main" id="{41385CE8-8883-4CDC-ACB1-77B4E1AA60D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666501" y="1566779"/>
            <a:ext cx="2109633" cy="736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6424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886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sz="1572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Farver</a:t>
            </a:r>
            <a:br>
              <a:rPr lang="da-DK" sz="1186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886" b="0" kern="1200" noProof="1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Husk at holde dig til FSTS’ farvepalet. Brug derfor kun de øverste farver i farvetemaet.</a:t>
            </a:r>
            <a:endParaRPr lang="da-DK" altLang="da-DK" sz="661" b="0" kern="1200" noProof="1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da-DK" altLang="da-DK" sz="661" b="1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4C2E583-A5E7-45D0-BB39-087B77C1ADF6}"/>
              </a:ext>
            </a:extLst>
          </p:cNvPr>
          <p:cNvGrpSpPr/>
          <p:nvPr userDrawn="1"/>
        </p:nvGrpSpPr>
        <p:grpSpPr>
          <a:xfrm>
            <a:off x="8677372" y="2348880"/>
            <a:ext cx="1954541" cy="2830707"/>
            <a:chOff x="8577240" y="2134464"/>
            <a:chExt cx="1954796" cy="2830707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E4C31754-31B8-4354-BB8A-0B0183CE60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8584971" y="2134464"/>
              <a:ext cx="1947064" cy="2830707"/>
            </a:xfrm>
            <a:prstGeom prst="rect">
              <a:avLst/>
            </a:prstGeom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7EA97EE-5592-4CAB-B87B-EBDCEA1F81BA}"/>
                </a:ext>
              </a:extLst>
            </p:cNvPr>
            <p:cNvSpPr/>
            <p:nvPr userDrawn="1"/>
          </p:nvSpPr>
          <p:spPr>
            <a:xfrm>
              <a:off x="8589161" y="2433052"/>
              <a:ext cx="1935143" cy="278065"/>
            </a:xfrm>
            <a:prstGeom prst="rect">
              <a:avLst/>
            </a:prstGeom>
            <a:noFill/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a-DK" sz="1772" dirty="0" err="1"/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8BCCB9FF-0EE1-44D3-9F35-8D6E0D3F4C31}"/>
                </a:ext>
              </a:extLst>
            </p:cNvPr>
            <p:cNvCxnSpPr>
              <a:endCxn id="27" idx="3"/>
            </p:cNvCxnSpPr>
            <p:nvPr userDrawn="1"/>
          </p:nvCxnSpPr>
          <p:spPr>
            <a:xfrm>
              <a:off x="8577240" y="2756926"/>
              <a:ext cx="1954796" cy="792892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C6FB47FE-A574-494B-A59B-D3815B44801E}"/>
                </a:ext>
              </a:extLst>
            </p:cNvPr>
            <p:cNvCxnSpPr>
              <a:cxnSpLocks/>
              <a:stCxn id="27" idx="1"/>
            </p:cNvCxnSpPr>
            <p:nvPr userDrawn="1"/>
          </p:nvCxnSpPr>
          <p:spPr>
            <a:xfrm flipV="1">
              <a:off x="8584972" y="2766039"/>
              <a:ext cx="1932538" cy="783779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9E635690-83A9-4D6F-B74C-3478B4F36DE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593397" y="4005064"/>
              <a:ext cx="1924113" cy="192021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26418D6A-1557-4075-A213-94E5D6FC32F4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589162" y="4005065"/>
              <a:ext cx="1928348" cy="192021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55760991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Brug ikke layouts efter dette &gt;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3211" tIns="53211" rIns="53211" bIns="532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buClr>
                <a:srgbClr val="003755"/>
              </a:buClr>
            </a:pPr>
            <a:endParaRPr lang="da-DK" sz="1036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34" y="656866"/>
            <a:ext cx="11356978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3544" b="0" noProof="0" dirty="0">
                <a:solidFill>
                  <a:schemeClr val="bg1"/>
                </a:solidFill>
              </a:rPr>
              <a:t>Hvis du ser andre </a:t>
            </a:r>
            <a:r>
              <a:rPr lang="da-DK" sz="3544" b="1" i="1" noProof="0" dirty="0">
                <a:solidFill>
                  <a:schemeClr val="bg1"/>
                </a:solidFill>
              </a:rPr>
              <a:t>layouts efter dette,</a:t>
            </a:r>
            <a:br>
              <a:rPr lang="da-DK" sz="3544" b="0" i="0" noProof="0" dirty="0">
                <a:solidFill>
                  <a:schemeClr val="bg1"/>
                </a:solidFill>
              </a:rPr>
            </a:br>
            <a:r>
              <a:rPr lang="da-DK" sz="3544" b="0" noProof="0" dirty="0">
                <a:solidFill>
                  <a:schemeClr val="bg1"/>
                </a:solidFill>
              </a:rPr>
              <a:t>brug dem ikke. Disse layouts </a:t>
            </a:r>
            <a:r>
              <a:rPr lang="da-DK" sz="3544" b="1" i="1" u="none" noProof="0" dirty="0">
                <a:solidFill>
                  <a:schemeClr val="bg1"/>
                </a:solidFill>
              </a:rPr>
              <a:t>tilhører ikke </a:t>
            </a:r>
            <a:r>
              <a:rPr lang="da-DK" sz="3544" b="0" i="0" u="none" noProof="0" dirty="0">
                <a:solidFill>
                  <a:schemeClr val="bg1"/>
                </a:solidFill>
              </a:rPr>
              <a:t>vores </a:t>
            </a:r>
            <a:r>
              <a:rPr lang="da-DK" sz="3544" b="0" i="0" u="none" noProof="1">
                <a:solidFill>
                  <a:schemeClr val="bg1"/>
                </a:solidFill>
              </a:rPr>
              <a:t>corporate</a:t>
            </a:r>
            <a:r>
              <a:rPr lang="da-DK" sz="3544" b="0" noProof="0" dirty="0">
                <a:solidFill>
                  <a:schemeClr val="bg1"/>
                </a:solidFill>
              </a:rPr>
              <a:t>skabelon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96" y="3190417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da-DK" sz="1036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da-DK" sz="1036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72557" y="2851876"/>
            <a:ext cx="1015234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9463" b="1" i="1" noProof="0" dirty="0">
                <a:solidFill>
                  <a:schemeClr val="bg1"/>
                </a:solidFill>
              </a:rPr>
              <a:t>Brug dem ikke</a:t>
            </a:r>
            <a:endParaRPr lang="da-DK" sz="9463" b="1" i="1" noProof="0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96"/>
            <a:ext cx="11356975" cy="6796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1972" b="0" noProof="0" dirty="0">
                <a:solidFill>
                  <a:schemeClr val="bg1"/>
                </a:solidFill>
              </a:rPr>
              <a:t>Pga. PowerPoints standard Kopier/Indsæt funktionalitet kan ekstra uønskede layouts forekomme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1972" b="0" noProof="0" dirty="0">
                <a:solidFill>
                  <a:schemeClr val="bg1"/>
                </a:solidFill>
              </a:rPr>
              <a:t>OBS! Layouts efter dette kan indeholde potential fortrolig information.</a:t>
            </a: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16F02AC0-8835-4687-9809-625BC7974E0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E3055A7-526C-4789-A6CD-9EBC39144239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06D6C9CE-4F2C-454C-BB55-801B8D39FB8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384820" y="8577600"/>
            <a:ext cx="5486400" cy="24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01590" rtl="0" eaLnBrk="1" latinLnBrk="0" hangingPunct="1">
              <a:defRPr sz="986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0794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159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5238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3178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397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04766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55559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635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475F42F-AD98-4F3B-A294-8047E72ED3B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5084738" y="8577600"/>
            <a:ext cx="447362" cy="24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01590" rtl="0" eaLnBrk="1" latinLnBrk="0" hangingPunct="1">
              <a:defRPr sz="986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0794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159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5238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3178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397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04766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55559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635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676905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22772A8C-5A1B-E74C-98FD-E87FD5A80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95879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370101" y="2322504"/>
            <a:ext cx="7821900" cy="2211293"/>
          </a:xfrm>
          <a:prstGeom prst="rect">
            <a:avLst/>
          </a:prstGeom>
          <a:solidFill>
            <a:srgbClr val="41517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78416" y="2330971"/>
            <a:ext cx="3024440" cy="220398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370099" y="2356493"/>
            <a:ext cx="7821900" cy="1089939"/>
          </a:xfrm>
          <a:prstGeom prst="rect">
            <a:avLst/>
          </a:prstGeom>
          <a:noFill/>
        </p:spPr>
        <p:txBody>
          <a:bodyPr lIns="108000" anchor="b">
            <a:normAutofit/>
          </a:bodyPr>
          <a:lstStyle>
            <a:lvl1pPr algn="l">
              <a:defRPr sz="3200" cap="all" baseline="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370100" y="4133725"/>
            <a:ext cx="7404712" cy="408392"/>
          </a:xfrm>
          <a:prstGeom prst="rect">
            <a:avLst/>
          </a:prstGeom>
        </p:spPr>
        <p:txBody>
          <a:bodyPr lIns="108000">
            <a:normAutofit/>
          </a:bodyPr>
          <a:lstStyle>
            <a:lvl1pPr marL="0" indent="0" algn="l">
              <a:buNone/>
              <a:defRPr sz="1333" cap="none" baseline="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Click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sub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917" y="3446432"/>
            <a:ext cx="7821083" cy="687293"/>
          </a:xfrm>
          <a:prstGeom prst="rect">
            <a:avLst/>
          </a:prstGeom>
        </p:spPr>
        <p:txBody>
          <a:bodyPr lIns="108000">
            <a:normAutofit/>
          </a:bodyPr>
          <a:lstStyle>
            <a:lvl1pPr>
              <a:defRPr sz="1867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D84508F6-00B3-504D-8D64-8A1CBDC280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ladsholder til sidefod 16">
            <a:extLst>
              <a:ext uri="{FF2B5EF4-FFF2-40B4-BE49-F238E27FC236}">
                <a16:creationId xmlns:a16="http://schemas.microsoft.com/office/drawing/2014/main" id="{3D0E73FE-9C03-3F4C-AE02-4B27E46C24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60241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66"/>
                    </a14:imgEffect>
                    <a14:imgEffect>
                      <a14:saturation sat="1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400" y="2323200"/>
            <a:ext cx="7824000" cy="2218493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78416" y="2330971"/>
            <a:ext cx="3024440" cy="220398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370099" y="2356493"/>
            <a:ext cx="7821900" cy="1089939"/>
          </a:xfrm>
          <a:prstGeom prst="rect">
            <a:avLst/>
          </a:prstGeom>
          <a:noFill/>
        </p:spPr>
        <p:txBody>
          <a:bodyPr lIns="108000" anchor="b">
            <a:normAutofit/>
          </a:bodyPr>
          <a:lstStyle>
            <a:lvl1pPr algn="l">
              <a:defRPr sz="3200" cap="all" baseline="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4370100" y="4133725"/>
            <a:ext cx="7404712" cy="408392"/>
          </a:xfrm>
          <a:prstGeom prst="rect">
            <a:avLst/>
          </a:prstGeom>
        </p:spPr>
        <p:txBody>
          <a:bodyPr lIns="108000">
            <a:normAutofit/>
          </a:bodyPr>
          <a:lstStyle>
            <a:lvl1pPr marL="0" indent="0" algn="l">
              <a:buNone/>
              <a:defRPr sz="1333" cap="none" baseline="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Click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sub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917" y="3446432"/>
            <a:ext cx="7821083" cy="687293"/>
          </a:xfrm>
          <a:prstGeom prst="rect">
            <a:avLst/>
          </a:prstGeom>
        </p:spPr>
        <p:txBody>
          <a:bodyPr lIns="108000">
            <a:normAutofit/>
          </a:bodyPr>
          <a:lstStyle>
            <a:lvl1pPr>
              <a:defRPr sz="1867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4484B22-69DB-F241-849C-1BB74D7E35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ladsholder til sidefod 16">
            <a:extLst>
              <a:ext uri="{FF2B5EF4-FFF2-40B4-BE49-F238E27FC236}">
                <a16:creationId xmlns:a16="http://schemas.microsoft.com/office/drawing/2014/main" id="{36E80DB8-66A9-4346-9D89-3ACFD4EE71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93311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big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"/>
          <p:cNvSpPr/>
          <p:nvPr userDrawn="1"/>
        </p:nvSpPr>
        <p:spPr>
          <a:xfrm>
            <a:off x="4360610" y="0"/>
            <a:ext cx="7831391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EFA6DA2-BB5C-B149-9DBD-565F1AAF7C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60610" y="849746"/>
            <a:ext cx="6479669" cy="5233940"/>
          </a:xfrm>
          <a:prstGeom prst="rect">
            <a:avLst/>
          </a:prstGeom>
          <a:noFill/>
        </p:spPr>
        <p:txBody>
          <a:bodyPr lIns="251999" rIns="360000" anchor="ctr" anchorCtr="0">
            <a:noAutofit/>
          </a:bodyPr>
          <a:lstStyle>
            <a:lvl1pPr algn="l">
              <a:lnSpc>
                <a:spcPts val="4533"/>
              </a:lnSpc>
              <a:defRPr sz="4800" cap="all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CLICK TO EDIT MASTER TITLE STYLE  </a:t>
            </a:r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0C72774-DFD8-FD40-9072-63620A34E2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bg1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Pladsholder til sidefod 16">
            <a:extLst>
              <a:ext uri="{FF2B5EF4-FFF2-40B4-BE49-F238E27FC236}">
                <a16:creationId xmlns:a16="http://schemas.microsoft.com/office/drawing/2014/main" id="{11137D54-F2AB-1740-A2DA-722E8D245A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pic>
        <p:nvPicPr>
          <p:cNvPr id="8" name="Picture 6">
            <a:extLst>
              <a:ext uri="{FF2B5EF4-FFF2-40B4-BE49-F238E27FC236}">
                <a16:creationId xmlns:a16="http://schemas.microsoft.com/office/drawing/2014/main" id="{E785499B-F65E-A04A-9CD1-E4905E5110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78416" y="2330971"/>
            <a:ext cx="3024440" cy="2203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091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big 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"/>
          <p:cNvSpPr/>
          <p:nvPr userDrawn="1"/>
        </p:nvSpPr>
        <p:spPr>
          <a:xfrm flipH="1">
            <a:off x="1" y="0"/>
            <a:ext cx="4360609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7754286-8220-C541-B63B-C9D9D5B091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60610" y="807597"/>
            <a:ext cx="6479669" cy="5233940"/>
          </a:xfrm>
          <a:prstGeom prst="rect">
            <a:avLst/>
          </a:prstGeom>
          <a:noFill/>
        </p:spPr>
        <p:txBody>
          <a:bodyPr lIns="251999" rIns="360000" anchor="ctr" anchorCtr="0">
            <a:noAutofit/>
          </a:bodyPr>
          <a:lstStyle>
            <a:lvl1pPr algn="l">
              <a:lnSpc>
                <a:spcPts val="4533"/>
              </a:lnSpc>
              <a:defRPr sz="4800" cap="all" baseline="0">
                <a:solidFill>
                  <a:schemeClr val="accent5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B05DEB6F-EE4D-2940-8AC2-882B798AE0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 rot="10800000" flipH="1" flipV="1">
            <a:off x="466233" y="2322729"/>
            <a:ext cx="3071795" cy="2203679"/>
          </a:xfrm>
          <a:prstGeom prst="rect">
            <a:avLst/>
          </a:prstGeom>
          <a:noFill/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3C89446-0478-FD4F-B0AF-5CB514B9A7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Pladsholder til sidefod 16">
            <a:extLst>
              <a:ext uri="{FF2B5EF4-FFF2-40B4-BE49-F238E27FC236}">
                <a16:creationId xmlns:a16="http://schemas.microsoft.com/office/drawing/2014/main" id="{C55BF26F-3EEC-F54F-8C6D-4D5C408597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72467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+ text / progra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"/>
          <p:cNvSpPr/>
          <p:nvPr userDrawn="1"/>
        </p:nvSpPr>
        <p:spPr>
          <a:xfrm>
            <a:off x="4360610" y="0"/>
            <a:ext cx="7831391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4425520" y="791211"/>
            <a:ext cx="7291059" cy="1089939"/>
          </a:xfrm>
          <a:prstGeom prst="rect">
            <a:avLst/>
          </a:prstGeom>
          <a:noFill/>
        </p:spPr>
        <p:txBody>
          <a:bodyPr lIns="108000" anchor="b">
            <a:normAutofit/>
          </a:bodyPr>
          <a:lstStyle>
            <a:lvl1pPr algn="l">
              <a:defRPr sz="3200" cap="all" baseline="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4425520" y="1919251"/>
            <a:ext cx="7291059" cy="4006628"/>
          </a:xfrm>
          <a:prstGeom prst="rect">
            <a:avLst/>
          </a:prstGeom>
        </p:spPr>
        <p:txBody>
          <a:bodyPr lIns="108000">
            <a:normAutofit/>
          </a:bodyPr>
          <a:lstStyle>
            <a:lvl1pPr marL="0" indent="0" algn="l">
              <a:buNone/>
              <a:defRPr sz="2667" cap="none" baseline="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Click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sub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A7A3A1D-A502-BE49-A1E3-6AD4823D1D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bg1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Pladsholder til sidefod 16">
            <a:extLst>
              <a:ext uri="{FF2B5EF4-FFF2-40B4-BE49-F238E27FC236}">
                <a16:creationId xmlns:a16="http://schemas.microsoft.com/office/drawing/2014/main" id="{869C50AA-7018-594B-8740-657C92B6F1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pic>
        <p:nvPicPr>
          <p:cNvPr id="8" name="Picture 6">
            <a:extLst>
              <a:ext uri="{FF2B5EF4-FFF2-40B4-BE49-F238E27FC236}">
                <a16:creationId xmlns:a16="http://schemas.microsoft.com/office/drawing/2014/main" id="{E6005DC8-FC14-9E4A-93B6-6DF9A2661C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78416" y="2330971"/>
            <a:ext cx="3024440" cy="2203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869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+ tex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"/>
          <p:cNvSpPr/>
          <p:nvPr userDrawn="1"/>
        </p:nvSpPr>
        <p:spPr>
          <a:xfrm flipH="1">
            <a:off x="1" y="0"/>
            <a:ext cx="4360609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4425520" y="791211"/>
            <a:ext cx="7291059" cy="1089939"/>
          </a:xfrm>
          <a:prstGeom prst="rect">
            <a:avLst/>
          </a:prstGeom>
          <a:noFill/>
        </p:spPr>
        <p:txBody>
          <a:bodyPr lIns="108000" anchor="b">
            <a:normAutofit/>
          </a:bodyPr>
          <a:lstStyle>
            <a:lvl1pPr algn="l">
              <a:defRPr sz="3200" cap="all" baseline="0">
                <a:solidFill>
                  <a:schemeClr val="accent5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4425520" y="1919250"/>
            <a:ext cx="7291059" cy="4147539"/>
          </a:xfrm>
          <a:prstGeom prst="rect">
            <a:avLst/>
          </a:prstGeom>
        </p:spPr>
        <p:txBody>
          <a:bodyPr lIns="108000">
            <a:normAutofit/>
          </a:bodyPr>
          <a:lstStyle>
            <a:lvl1pPr marL="0" indent="0" algn="l">
              <a:buNone/>
              <a:defRPr sz="2400" cap="none" baseline="0">
                <a:solidFill>
                  <a:schemeClr val="accent5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Click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sub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208F877D-6CA5-F341-ABF5-92C69B25AC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 rot="10800000" flipH="1" flipV="1">
            <a:off x="466233" y="2322729"/>
            <a:ext cx="3071795" cy="2203679"/>
          </a:xfrm>
          <a:prstGeom prst="rect">
            <a:avLst/>
          </a:prstGeom>
          <a:noFill/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BFC7692-6258-164E-8EA4-EE2FE6DD1C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Pladsholder til sidefod 16">
            <a:extLst>
              <a:ext uri="{FF2B5EF4-FFF2-40B4-BE49-F238E27FC236}">
                <a16:creationId xmlns:a16="http://schemas.microsoft.com/office/drawing/2014/main" id="{AE087B77-3B61-E94F-BAB3-7B5F2540C4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97302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6">
            <a:extLst>
              <a:ext uri="{FF2B5EF4-FFF2-40B4-BE49-F238E27FC236}">
                <a16:creationId xmlns:a16="http://schemas.microsoft.com/office/drawing/2014/main" id="{31E923DF-1C9D-7446-85A6-204B1E9606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82650" y="482600"/>
            <a:ext cx="11207012" cy="5878912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B1D8BA9C-D539-AC4C-BFA1-0CD1B445FD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1066" y="1919999"/>
            <a:ext cx="11209007" cy="4080752"/>
          </a:xfrm>
          <a:prstGeom prst="rect">
            <a:avLst/>
          </a:prstGeom>
        </p:spPr>
        <p:txBody>
          <a:bodyPr lIns="0"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aseline="0">
                <a:solidFill>
                  <a:srgbClr val="000000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2BB85DC8-924F-3D49-9E9F-29DD9A8457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648" y="422461"/>
            <a:ext cx="9426123" cy="1200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cap="all" baseline="0"/>
            </a:lvl1pPr>
          </a:lstStyle>
          <a:p>
            <a:r>
              <a:rPr lang="da-DK" dirty="0"/>
              <a:t>CLICK TO EDIT TITLE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C829D46-7B6A-CF42-BDB4-AE43B06D76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Pladsholder til sidefod 16">
            <a:extLst>
              <a:ext uri="{FF2B5EF4-FFF2-40B4-BE49-F238E27FC236}">
                <a16:creationId xmlns:a16="http://schemas.microsoft.com/office/drawing/2014/main" id="{161C6C07-1E2E-0441-9064-819D6C916F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00117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s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>
            <a:extLst>
              <a:ext uri="{FF2B5EF4-FFF2-40B4-BE49-F238E27FC236}">
                <a16:creationId xmlns:a16="http://schemas.microsoft.com/office/drawing/2014/main" id="{23A9AF75-2736-264F-807E-3F5E372F8F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82650" y="482600"/>
            <a:ext cx="11207012" cy="5878912"/>
          </a:xfrm>
          <a:prstGeom prst="rect">
            <a:avLst/>
          </a:prstGeom>
        </p:spPr>
      </p:pic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ECC58FAE-E39D-6F40-8557-62DCEA61F2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648" y="422461"/>
            <a:ext cx="9426123" cy="1200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cap="all" baseline="0"/>
            </a:lvl1pPr>
          </a:lstStyle>
          <a:p>
            <a:r>
              <a:rPr lang="da-DK" dirty="0"/>
              <a:t>CLICK TO EDIT TITLE</a:t>
            </a:r>
            <a:endParaRPr lang="en-US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B6931B3A-048D-4442-96FD-63E078F3192E}"/>
              </a:ext>
            </a:extLst>
          </p:cNvPr>
          <p:cNvSpPr txBox="1"/>
          <p:nvPr userDrawn="1"/>
        </p:nvSpPr>
        <p:spPr>
          <a:xfrm>
            <a:off x="1506931" y="6195975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ctr" anchorCtr="1">
            <a:normAutofit fontScale="25000" lnSpcReduction="20000"/>
          </a:bodyPr>
          <a:lstStyle/>
          <a:p>
            <a:pPr algn="l"/>
            <a:endParaRPr lang="da-DK" sz="1800" baseline="0" dirty="0">
              <a:solidFill>
                <a:srgbClr val="F2EBEC"/>
              </a:solidFill>
            </a:endParaRPr>
          </a:p>
        </p:txBody>
      </p:sp>
      <p:sp>
        <p:nvSpPr>
          <p:cNvPr id="12" name="Pladsholder til slidenummer 5">
            <a:extLst>
              <a:ext uri="{FF2B5EF4-FFF2-40B4-BE49-F238E27FC236}">
                <a16:creationId xmlns:a16="http://schemas.microsoft.com/office/drawing/2014/main" id="{3706BDE0-878E-FD48-81C6-708462DDB5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rot="5400000">
            <a:off x="13939663" y="4328582"/>
            <a:ext cx="4165599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ctr" defTabSz="1219170" rtl="0" eaLnBrk="1" latinLnBrk="0" hangingPunct="1">
              <a:defRPr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/>
              <a:t>NR. </a:t>
            </a:r>
            <a:fld id="{C64ACE25-9AF1-4A48-981C-68072164E8CE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1" name="Pladsholder til lodret titel 2">
            <a:extLst>
              <a:ext uri="{FF2B5EF4-FFF2-40B4-BE49-F238E27FC236}">
                <a16:creationId xmlns:a16="http://schemas.microsoft.com/office/drawing/2014/main" id="{3CA86016-BF09-644C-8E50-FCF99DB2F7E4}"/>
              </a:ext>
            </a:extLst>
          </p:cNvPr>
          <p:cNvSpPr>
            <a:spLocks noGrp="1"/>
          </p:cNvSpPr>
          <p:nvPr>
            <p:ph type="body" orient="vert" idx="13"/>
          </p:nvPr>
        </p:nvSpPr>
        <p:spPr>
          <a:xfrm>
            <a:off x="482649" y="1913861"/>
            <a:ext cx="11209008" cy="3926959"/>
          </a:xfrm>
          <a:prstGeom prst="rect">
            <a:avLst/>
          </a:prstGeom>
        </p:spPr>
        <p:txBody>
          <a:bodyPr vert="horz" lIns="0" tIns="72000" rIns="91440" bIns="45720" rtlCol="0" anchor="t" anchorCtr="0">
            <a:normAutofit/>
          </a:bodyPr>
          <a:lstStyle>
            <a:lvl1pPr marL="304792" indent="-304792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Clr>
                <a:schemeClr val="accent5"/>
              </a:buClr>
              <a:buFont typeface="Wingdings" pitchFamily="2" charset="2"/>
              <a:buChar char="§"/>
              <a:defRPr sz="1600" kern="12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accent5"/>
              </a:buClr>
              <a:buFont typeface="Wingdings" pitchFamily="2" charset="2"/>
              <a:buChar char="§"/>
              <a:defRPr sz="1600" kern="12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accent5"/>
              </a:buClr>
              <a:buFont typeface="Wingdings" pitchFamily="2" charset="2"/>
              <a:buChar char="§"/>
              <a:defRPr sz="1600" kern="12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accent5"/>
              </a:buClr>
              <a:buFont typeface="Wingdings" pitchFamily="2" charset="2"/>
              <a:buChar char="§"/>
              <a:defRPr sz="1600" kern="12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Clr>
                <a:schemeClr val="accent5"/>
              </a:buClr>
              <a:buFont typeface="Wingdings" pitchFamily="2" charset="2"/>
              <a:buChar char="§"/>
              <a:defRPr sz="1600" kern="12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DC4B3FC3-95AC-B941-B477-22F12444391C}"/>
              </a:ext>
            </a:extLst>
          </p:cNvPr>
          <p:cNvSpPr txBox="1">
            <a:spLocks/>
          </p:cNvSpPr>
          <p:nvPr userDrawn="1"/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457200" rtl="0" eaLnBrk="1" latinLnBrk="0" hangingPunct="1">
              <a:defRPr sz="600" kern="1200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4BFF388-B944-D942-957B-07F88FBC34F8}" type="slidenum">
              <a:rPr lang="en-US" sz="800" smtClean="0"/>
              <a:pPr/>
              <a:t>‹#›</a:t>
            </a:fld>
            <a:endParaRPr lang="en-US" sz="800" dirty="0"/>
          </a:p>
        </p:txBody>
      </p:sp>
      <p:sp>
        <p:nvSpPr>
          <p:cNvPr id="19" name="Pladsholder til sidefod 16">
            <a:extLst>
              <a:ext uri="{FF2B5EF4-FFF2-40B4-BE49-F238E27FC236}">
                <a16:creationId xmlns:a16="http://schemas.microsoft.com/office/drawing/2014/main" id="{428C8509-2631-5D4E-AB33-84C5803D07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50923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slide 2 colum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6">
            <a:extLst>
              <a:ext uri="{FF2B5EF4-FFF2-40B4-BE49-F238E27FC236}">
                <a16:creationId xmlns:a16="http://schemas.microsoft.com/office/drawing/2014/main" id="{B5BD83E0-8AA4-BC4A-8F1C-1AE6FC9DDC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82650" y="482600"/>
            <a:ext cx="11207012" cy="5878912"/>
          </a:xfrm>
          <a:prstGeom prst="rect">
            <a:avLst/>
          </a:prstGeom>
        </p:spPr>
      </p:pic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2648" y="422461"/>
            <a:ext cx="9426123" cy="1200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cap="all" baseline="0"/>
            </a:lvl1pPr>
          </a:lstStyle>
          <a:p>
            <a:r>
              <a:rPr lang="da-DK" dirty="0"/>
              <a:t>CLICK TO EDIT TIT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B1D8BA9C-D539-AC4C-BFA1-0CD1B445FD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1067" y="1919999"/>
            <a:ext cx="5450781" cy="4080752"/>
          </a:xfrm>
          <a:prstGeom prst="rect">
            <a:avLst/>
          </a:prstGeom>
        </p:spPr>
        <p:txBody>
          <a:bodyPr lIns="7200"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Tx/>
              <a:buFont typeface="Wingdings" pitchFamily="2" charset="2"/>
              <a:buChar char="§"/>
              <a:tabLst/>
              <a:defRPr baseline="0">
                <a:solidFill>
                  <a:srgbClr val="000000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</p:txBody>
      </p:sp>
      <p:sp>
        <p:nvSpPr>
          <p:cNvPr id="13" name="Pladsholder til tekst 5">
            <a:extLst>
              <a:ext uri="{FF2B5EF4-FFF2-40B4-BE49-F238E27FC236}">
                <a16:creationId xmlns:a16="http://schemas.microsoft.com/office/drawing/2014/main" id="{32DD4713-E2AD-2844-949E-E305FBCCBF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7612" y="1919999"/>
            <a:ext cx="5450781" cy="4080752"/>
          </a:xfrm>
          <a:prstGeom prst="rect">
            <a:avLst/>
          </a:prstGeom>
        </p:spPr>
        <p:txBody>
          <a:bodyPr lIns="7200"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Tx/>
              <a:buFont typeface="Wingdings" pitchFamily="2" charset="2"/>
              <a:buChar char="§"/>
              <a:tabLst/>
              <a:defRPr baseline="0">
                <a:solidFill>
                  <a:srgbClr val="000000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CCAC47E-8ACD-BD43-8F92-516570CDD5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Pladsholder til sidefod 16">
            <a:extLst>
              <a:ext uri="{FF2B5EF4-FFF2-40B4-BE49-F238E27FC236}">
                <a16:creationId xmlns:a16="http://schemas.microsoft.com/office/drawing/2014/main" id="{9C238300-D098-C349-8F6F-3E748437EB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04738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6">
            <a:extLst>
              <a:ext uri="{FF2B5EF4-FFF2-40B4-BE49-F238E27FC236}">
                <a16:creationId xmlns:a16="http://schemas.microsoft.com/office/drawing/2014/main" id="{A0EB33C8-143C-0E44-B273-3524A90078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82650" y="482600"/>
            <a:ext cx="11207012" cy="5878912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49" y="1919999"/>
            <a:ext cx="11232000" cy="4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 marL="609585" indent="0">
              <a:buNone/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1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36098CEC-AF25-784B-BE45-2C3E94E940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648" y="422461"/>
            <a:ext cx="9426123" cy="1200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cap="all" baseline="0"/>
            </a:lvl1pPr>
          </a:lstStyle>
          <a:p>
            <a:r>
              <a:rPr lang="da-DK" dirty="0"/>
              <a:t>CLICK TO EDIT TITLE</a:t>
            </a:r>
            <a:endParaRPr lang="en-US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267B765C-BC2B-9F44-914C-738B3F1C46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Pladsholder til sidefod 16">
            <a:extLst>
              <a:ext uri="{FF2B5EF4-FFF2-40B4-BE49-F238E27FC236}">
                <a16:creationId xmlns:a16="http://schemas.microsoft.com/office/drawing/2014/main" id="{1B5A6019-B3AB-7247-8C75-B519B035E4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84717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5F867355-AAA7-FD40-B0C3-7BAE5A5FC3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D8A753AC-05F3-AD4C-BF95-2BE4A21C048C}"/>
              </a:ext>
            </a:extLst>
          </p:cNvPr>
          <p:cNvSpPr txBox="1"/>
          <p:nvPr userDrawn="1"/>
        </p:nvSpPr>
        <p:spPr>
          <a:xfrm>
            <a:off x="3479800" y="1876695"/>
            <a:ext cx="5232400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5000" dirty="0">
                <a:solidFill>
                  <a:schemeClr val="bg1"/>
                </a:solidFill>
              </a:rPr>
              <a:t>PAUS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3DDF7F7-0AC1-C443-BA29-DD597A10C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575" y="2261415"/>
            <a:ext cx="4020155" cy="393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588806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page content slide + tex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 marL="609585" indent="0">
              <a:buNone/>
              <a:defRPr baseline="0">
                <a:solidFill>
                  <a:schemeClr val="bg1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1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478F87F2-761F-AF4C-9299-6EDCD4A523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648" y="422461"/>
            <a:ext cx="9426123" cy="1200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CLICK TO EDIT TITLE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8B13CA7-A720-ED4F-ADD2-13BC7A7839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ladsholder til sidefod 16">
            <a:extLst>
              <a:ext uri="{FF2B5EF4-FFF2-40B4-BE49-F238E27FC236}">
                <a16:creationId xmlns:a16="http://schemas.microsoft.com/office/drawing/2014/main" id="{7A6D0676-DEC1-A148-8C46-AC2CCC2E4D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3844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page content slide + textbox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 marL="609585" indent="0">
              <a:buNone/>
              <a:defRPr baseline="0">
                <a:solidFill>
                  <a:schemeClr val="bg1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1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31F57EE-A25C-D94C-9089-1520EA6D0F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7377" y="4076806"/>
            <a:ext cx="6943388" cy="1728396"/>
          </a:xfrm>
          <a:prstGeom prst="rect">
            <a:avLst/>
          </a:prstGeom>
          <a:solidFill>
            <a:schemeClr val="bg1"/>
          </a:solidFill>
        </p:spPr>
        <p:txBody>
          <a:bodyPr vert="horz" lIns="108000" tIns="72000" rIns="180000" bIns="144000" rtlCol="0" anchor="t" anchorCtr="0">
            <a:normAutofit/>
          </a:bodyPr>
          <a:lstStyle>
            <a:lvl1pPr>
              <a:defRPr cap="all" baseline="0">
                <a:solidFill>
                  <a:schemeClr val="accent5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AD47311-10EF-9D48-AAF4-F23FE38048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Pladsholder til sidefod 16">
            <a:extLst>
              <a:ext uri="{FF2B5EF4-FFF2-40B4-BE49-F238E27FC236}">
                <a16:creationId xmlns:a16="http://schemas.microsoft.com/office/drawing/2014/main" id="{54D73CF5-05A9-F640-86C3-7FCD4CDCF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60284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 page content + tex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B709DA7-AA71-CD42-BFD8-007DC97A694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60610" y="0"/>
            <a:ext cx="7830628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endParaRPr lang="en-US" dirty="0"/>
          </a:p>
        </p:txBody>
      </p:sp>
      <p:sp>
        <p:nvSpPr>
          <p:cNvPr id="6" name="Rectangle 8"/>
          <p:cNvSpPr/>
          <p:nvPr userDrawn="1"/>
        </p:nvSpPr>
        <p:spPr>
          <a:xfrm flipH="1">
            <a:off x="1" y="0"/>
            <a:ext cx="4360609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Pladsholder til tekst 5">
            <a:extLst>
              <a:ext uri="{FF2B5EF4-FFF2-40B4-BE49-F238E27FC236}">
                <a16:creationId xmlns:a16="http://schemas.microsoft.com/office/drawing/2014/main" id="{95C891AC-03BE-6D45-82AC-2613A3CA48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1881" y="2826807"/>
            <a:ext cx="3485188" cy="3072156"/>
          </a:xfrm>
          <a:prstGeom prst="rect">
            <a:avLst/>
          </a:prstGeom>
        </p:spPr>
        <p:txBody>
          <a:bodyPr lIns="0" rIns="90000"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Char char="§"/>
              <a:tabLst/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da-DK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0E54EAF-9214-2A42-8450-76AF5ECF6B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1881" y="1929793"/>
            <a:ext cx="3485187" cy="832640"/>
          </a:xfrm>
          <a:prstGeom prst="rect">
            <a:avLst/>
          </a:prstGeom>
        </p:spPr>
        <p:txBody>
          <a:bodyPr lIns="0" rIns="90000" anchor="b" anchorCtr="0">
            <a:no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7436FA6-3A73-B44E-86B0-1B59F8E5A9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Pladsholder til sidefod 16">
            <a:extLst>
              <a:ext uri="{FF2B5EF4-FFF2-40B4-BE49-F238E27FC236}">
                <a16:creationId xmlns:a16="http://schemas.microsoft.com/office/drawing/2014/main" id="{5065ADB1-CC7D-4443-AE65-B5DE0087B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  <p:pic>
        <p:nvPicPr>
          <p:cNvPr id="12" name="Picture 7">
            <a:extLst>
              <a:ext uri="{FF2B5EF4-FFF2-40B4-BE49-F238E27FC236}">
                <a16:creationId xmlns:a16="http://schemas.microsoft.com/office/drawing/2014/main" id="{E5329461-D8B3-6846-B6B0-1C443163FE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-2" r="18"/>
          <a:stretch/>
        </p:blipFill>
        <p:spPr>
          <a:xfrm rot="10800000" flipH="1" flipV="1">
            <a:off x="491880" y="492195"/>
            <a:ext cx="11207688" cy="58746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20771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rrow page content + tex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B709DA7-AA71-CD42-BFD8-007DC97A694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484143" y="0"/>
            <a:ext cx="4707308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endParaRPr lang="en-US" dirty="0"/>
          </a:p>
        </p:txBody>
      </p:sp>
      <p:sp>
        <p:nvSpPr>
          <p:cNvPr id="6" name="Rectangle 8"/>
          <p:cNvSpPr/>
          <p:nvPr userDrawn="1"/>
        </p:nvSpPr>
        <p:spPr>
          <a:xfrm flipH="1">
            <a:off x="-1" y="0"/>
            <a:ext cx="7484144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6" name="Picture 7">
            <a:extLst>
              <a:ext uri="{FF2B5EF4-FFF2-40B4-BE49-F238E27FC236}">
                <a16:creationId xmlns:a16="http://schemas.microsoft.com/office/drawing/2014/main" id="{90A03EA0-864D-2D4D-AAF0-EB1AA9296B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-2" r="18"/>
          <a:stretch/>
        </p:blipFill>
        <p:spPr>
          <a:xfrm rot="10800000" flipH="1" flipV="1">
            <a:off x="491880" y="492195"/>
            <a:ext cx="11207688" cy="5874600"/>
          </a:xfrm>
          <a:prstGeom prst="rect">
            <a:avLst/>
          </a:prstGeom>
          <a:noFill/>
        </p:spPr>
      </p:pic>
      <p:sp>
        <p:nvSpPr>
          <p:cNvPr id="8" name="Pladsholder til tekst 5">
            <a:extLst>
              <a:ext uri="{FF2B5EF4-FFF2-40B4-BE49-F238E27FC236}">
                <a16:creationId xmlns:a16="http://schemas.microsoft.com/office/drawing/2014/main" id="{95C891AC-03BE-6D45-82AC-2613A3CA48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1881" y="2826807"/>
            <a:ext cx="6500380" cy="3072156"/>
          </a:xfrm>
          <a:prstGeom prst="rect">
            <a:avLst/>
          </a:prstGeom>
        </p:spPr>
        <p:txBody>
          <a:bodyPr lIns="0" rIns="90000"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Char char="§"/>
              <a:tabLst/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da-DK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0E54EAF-9214-2A42-8450-76AF5ECF6B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1882" y="1929793"/>
            <a:ext cx="6500377" cy="832640"/>
          </a:xfrm>
          <a:prstGeom prst="rect">
            <a:avLst/>
          </a:prstGeom>
        </p:spPr>
        <p:txBody>
          <a:bodyPr lIns="0" rIns="90000" anchor="b" anchorCtr="0">
            <a:noAutofit/>
          </a:bodyPr>
          <a:lstStyle>
            <a:lvl1pPr>
              <a:defRPr sz="2400" b="1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E05951E-70CB-D54D-9DF8-F74A686DB9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Pladsholder til sidefod 16">
            <a:extLst>
              <a:ext uri="{FF2B5EF4-FFF2-40B4-BE49-F238E27FC236}">
                <a16:creationId xmlns:a16="http://schemas.microsoft.com/office/drawing/2014/main" id="{CC08CBB8-2BA7-FD4A-A702-1B29ACE185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25432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 page cont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 marL="609585" indent="0">
              <a:buNone/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1"/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82648" y="422461"/>
            <a:ext cx="9426123" cy="1200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F6EA2F9-5C48-4648-B49E-BF78E22357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ladsholder til sidefod 16">
            <a:extLst>
              <a:ext uri="{FF2B5EF4-FFF2-40B4-BE49-F238E27FC236}">
                <a16:creationId xmlns:a16="http://schemas.microsoft.com/office/drawing/2014/main" id="{E5327900-A543-D541-B47C-B6A98B6E6D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3360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cont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6">
            <a:extLst>
              <a:ext uri="{FF2B5EF4-FFF2-40B4-BE49-F238E27FC236}">
                <a16:creationId xmlns:a16="http://schemas.microsoft.com/office/drawing/2014/main" id="{A8E70C1B-D8C5-3943-B4AE-5FA3F7680D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82650" y="482600"/>
            <a:ext cx="11207012" cy="5878912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50155" y="1919999"/>
            <a:ext cx="5458435" cy="40800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B1D8BA9C-D539-AC4C-BFA1-0CD1B445FD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1067" y="1919999"/>
            <a:ext cx="5450781" cy="4080752"/>
          </a:xfrm>
          <a:prstGeom prst="rect">
            <a:avLst/>
          </a:prstGeom>
        </p:spPr>
        <p:txBody>
          <a:bodyPr lIns="0"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aseline="0">
                <a:solidFill>
                  <a:srgbClr val="000000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8EF21EF3-E03F-0B45-AE43-B517F06CDA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648" y="422461"/>
            <a:ext cx="9426123" cy="1200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cap="all" baseline="0"/>
            </a:lvl1pPr>
          </a:lstStyle>
          <a:p>
            <a:r>
              <a:rPr lang="da-DK" dirty="0"/>
              <a:t>CLICK TO EDIT TITLE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048984-511E-1E48-A752-FAB084C290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ladsholder til sidefod 16">
            <a:extLst>
              <a:ext uri="{FF2B5EF4-FFF2-40B4-BE49-F238E27FC236}">
                <a16:creationId xmlns:a16="http://schemas.microsoft.com/office/drawing/2014/main" id="{E6F01DC0-2851-DD49-812B-2CE677CF5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37197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x cont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6">
            <a:extLst>
              <a:ext uri="{FF2B5EF4-FFF2-40B4-BE49-F238E27FC236}">
                <a16:creationId xmlns:a16="http://schemas.microsoft.com/office/drawing/2014/main" id="{FDC58BEC-D715-7C43-8378-AC166305EC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82650" y="482600"/>
            <a:ext cx="11207012" cy="5878912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50155" y="1919999"/>
            <a:ext cx="5458435" cy="40800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82648" y="422461"/>
            <a:ext cx="9426123" cy="1200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cap="all" baseline="0"/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2C27546-4725-BC4D-8BA8-DE6371B6907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0487" y="1919999"/>
            <a:ext cx="5458435" cy="40800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endParaRPr lang="en-US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97F203A7-64F3-B348-ACAA-3001433E19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Pladsholder til sidefod 16">
            <a:extLst>
              <a:ext uri="{FF2B5EF4-FFF2-40B4-BE49-F238E27FC236}">
                <a16:creationId xmlns:a16="http://schemas.microsoft.com/office/drawing/2014/main" id="{4B621ED5-0F93-FF4F-9109-5CDDE6889E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07695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x cont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6">
            <a:extLst>
              <a:ext uri="{FF2B5EF4-FFF2-40B4-BE49-F238E27FC236}">
                <a16:creationId xmlns:a16="http://schemas.microsoft.com/office/drawing/2014/main" id="{1F1EA250-B873-9944-989B-042FC0D26F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82650" y="482600"/>
            <a:ext cx="11207012" cy="5878912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74173" y="1919999"/>
            <a:ext cx="3641144" cy="40800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82648" y="422461"/>
            <a:ext cx="9426123" cy="1200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cap="all" baseline="0"/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97B98D0-0AAE-8A46-9779-E358E228BC0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18320" y="1919999"/>
            <a:ext cx="3641144" cy="40800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1AE6C197-8C62-6140-9E38-C7B2EC77D816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230028" y="1919999"/>
            <a:ext cx="3484931" cy="40800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endParaRPr lang="en-US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FCAF73C7-816D-984C-864B-7C7E791970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ladsholder til sidefod 16">
            <a:extLst>
              <a:ext uri="{FF2B5EF4-FFF2-40B4-BE49-F238E27FC236}">
                <a16:creationId xmlns:a16="http://schemas.microsoft.com/office/drawing/2014/main" id="{58766B05-F2DC-0C46-A6EC-3C4BDE0147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81843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1A798C3-B737-7C48-9073-4C9C8BA130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ladsholder til sidefod 16">
            <a:extLst>
              <a:ext uri="{FF2B5EF4-FFF2-40B4-BE49-F238E27FC236}">
                <a16:creationId xmlns:a16="http://schemas.microsoft.com/office/drawing/2014/main" id="{43CAFC91-4562-054F-84B8-DD50E17778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9E8BADEF-8C77-C848-9D3D-D0B8523F00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82650" y="482600"/>
            <a:ext cx="11207012" cy="5878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766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gram + text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3772F1C-E70F-7A4A-BFE8-7B7016DDA1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82650" y="482600"/>
            <a:ext cx="11207012" cy="5878912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9D41253B-2AE0-B041-A977-E3A56694C7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91115" y="791211"/>
            <a:ext cx="4557136" cy="1590040"/>
          </a:xfrm>
          <a:prstGeom prst="rect">
            <a:avLst/>
          </a:prstGeom>
          <a:noFill/>
        </p:spPr>
        <p:txBody>
          <a:bodyPr lIns="108000" anchor="b">
            <a:normAutofit/>
          </a:bodyPr>
          <a:lstStyle>
            <a:lvl1pPr algn="l">
              <a:defRPr sz="3200" cap="all" baseline="0">
                <a:solidFill>
                  <a:schemeClr val="accent5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01B2E5DC-FBB1-F645-A08A-13DBF0A372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1115" y="2381251"/>
            <a:ext cx="4557136" cy="3685539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000" cap="none" baseline="0">
                <a:solidFill>
                  <a:srgbClr val="000000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Click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sub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73ED3C0-6884-594D-B139-C4C6CD8617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Pladsholder til sidefod 16">
            <a:extLst>
              <a:ext uri="{FF2B5EF4-FFF2-40B4-BE49-F238E27FC236}">
                <a16:creationId xmlns:a16="http://schemas.microsoft.com/office/drawing/2014/main" id="{3B72026F-3BDB-E740-803C-E7C063761C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44736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ørgsmå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99" b="1121"/>
          <a:stretch/>
        </p:blipFill>
        <p:spPr>
          <a:xfrm>
            <a:off x="-16298" y="0"/>
            <a:ext cx="12208298" cy="6857999"/>
          </a:xfrm>
          <a:prstGeom prst="rect">
            <a:avLst/>
          </a:prstGeom>
        </p:spPr>
      </p:pic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389376" y="5822731"/>
            <a:ext cx="6410325" cy="377825"/>
          </a:xfrm>
        </p:spPr>
        <p:txBody>
          <a:bodyPr/>
          <a:lstStyle>
            <a:lvl1pPr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ONTAKT: Tlf.: xx xx xx xx Mail: </a:t>
            </a:r>
            <a:r>
              <a:rPr lang="da-DK" dirty="0" err="1"/>
              <a:t>XXX@energinet.dk</a:t>
            </a:r>
            <a:endParaRPr lang="da-DK" dirty="0"/>
          </a:p>
        </p:txBody>
      </p:sp>
      <p:sp>
        <p:nvSpPr>
          <p:cNvPr id="4" name="Tekstfelt 3"/>
          <p:cNvSpPr txBox="1"/>
          <p:nvPr userDrawn="1"/>
        </p:nvSpPr>
        <p:spPr>
          <a:xfrm>
            <a:off x="2701158" y="2026750"/>
            <a:ext cx="6600497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0" dirty="0">
                <a:solidFill>
                  <a:schemeClr val="bg1"/>
                </a:solidFill>
              </a:rPr>
              <a:t>SPØRGSMÅL</a:t>
            </a:r>
          </a:p>
        </p:txBody>
      </p:sp>
    </p:spTree>
    <p:extLst>
      <p:ext uri="{BB962C8B-B14F-4D97-AF65-F5344CB8AC3E}">
        <p14:creationId xmlns:p14="http://schemas.microsoft.com/office/powerpoint/2010/main" val="4037986628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akta x 2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0601943F-7002-174E-B9B8-B3145C5C3BA6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/>
          </a:p>
        </p:txBody>
      </p:sp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Pladsholder til tekst 5">
            <a:extLst>
              <a:ext uri="{FF2B5EF4-FFF2-40B4-BE49-F238E27FC236}">
                <a16:creationId xmlns:a16="http://schemas.microsoft.com/office/drawing/2014/main" id="{C7769CE2-EC8C-AD40-BAD7-93D1CF7215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1067" y="2215991"/>
            <a:ext cx="5202539" cy="3784759"/>
          </a:xfrm>
          <a:prstGeom prst="rect">
            <a:avLst/>
          </a:prstGeom>
        </p:spPr>
        <p:txBody>
          <a:bodyPr lIns="0" rIns="90000"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Char char="§"/>
              <a:tabLst/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da-DK" dirty="0"/>
          </a:p>
        </p:txBody>
      </p:sp>
      <p:sp>
        <p:nvSpPr>
          <p:cNvPr id="43" name="Tekstfelt 42">
            <a:extLst>
              <a:ext uri="{FF2B5EF4-FFF2-40B4-BE49-F238E27FC236}">
                <a16:creationId xmlns:a16="http://schemas.microsoft.com/office/drawing/2014/main" id="{AF3CA117-30AE-BE4D-BBB1-9D422883214F}"/>
              </a:ext>
            </a:extLst>
          </p:cNvPr>
          <p:cNvSpPr txBox="1"/>
          <p:nvPr userDrawn="1"/>
        </p:nvSpPr>
        <p:spPr>
          <a:xfrm>
            <a:off x="6738357" y="2610793"/>
            <a:ext cx="5453644" cy="1497576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/>
          <a:p>
            <a:pPr algn="l"/>
            <a:endParaRPr lang="da-DK" sz="2400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D7C8ACF7-F874-0245-8B7C-F390AD1647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2432" y="1246909"/>
            <a:ext cx="5202539" cy="832640"/>
          </a:xfrm>
          <a:prstGeom prst="rect">
            <a:avLst/>
          </a:prstGeom>
        </p:spPr>
        <p:txBody>
          <a:bodyPr lIns="0" rIns="90000" anchor="b" anchorCtr="0">
            <a:noAutofit/>
          </a:bodyPr>
          <a:lstStyle>
            <a:lvl1pPr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28" name="Pladsholder til tekst 5">
            <a:extLst>
              <a:ext uri="{FF2B5EF4-FFF2-40B4-BE49-F238E27FC236}">
                <a16:creationId xmlns:a16="http://schemas.microsoft.com/office/drawing/2014/main" id="{37380C2E-CF55-E240-82DA-49168840B94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97031" y="2215991"/>
            <a:ext cx="5219548" cy="3784759"/>
          </a:xfrm>
          <a:prstGeom prst="rect">
            <a:avLst/>
          </a:prstGeom>
        </p:spPr>
        <p:txBody>
          <a:bodyPr lIns="0" rIns="90000"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aseline="0">
                <a:solidFill>
                  <a:schemeClr val="accent5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5DD0018F-59FE-7946-BDEE-442ADA00C3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97032" y="1246909"/>
            <a:ext cx="5219547" cy="832640"/>
          </a:xfrm>
          <a:prstGeom prst="rect">
            <a:avLst/>
          </a:prstGeom>
        </p:spPr>
        <p:txBody>
          <a:bodyPr lIns="0" rIns="90000" anchor="b" anchorCtr="0">
            <a:noAutofit/>
          </a:bodyPr>
          <a:lstStyle>
            <a:lvl1pPr>
              <a:defRPr sz="2400" b="1" cap="all" baseline="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pic>
        <p:nvPicPr>
          <p:cNvPr id="17" name="Picture 7">
            <a:extLst>
              <a:ext uri="{FF2B5EF4-FFF2-40B4-BE49-F238E27FC236}">
                <a16:creationId xmlns:a16="http://schemas.microsoft.com/office/drawing/2014/main" id="{0647C13B-5B05-4A44-AD06-72FB355B5E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95109"/>
          <a:stretch/>
        </p:blipFill>
        <p:spPr>
          <a:xfrm rot="10800000" flipH="1" flipV="1">
            <a:off x="491880" y="492195"/>
            <a:ext cx="548253" cy="5874600"/>
          </a:xfrm>
          <a:prstGeom prst="rect">
            <a:avLst/>
          </a:prstGeom>
          <a:noFill/>
        </p:spPr>
      </p:pic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FD6B0338-B2BA-D24D-9B3F-AC6CCDD5E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Pladsholder til sidefod 16">
            <a:extLst>
              <a:ext uri="{FF2B5EF4-FFF2-40B4-BE49-F238E27FC236}">
                <a16:creationId xmlns:a16="http://schemas.microsoft.com/office/drawing/2014/main" id="{A12B1E2E-E7F7-4F49-AC5D-E33304DC94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  <p:pic>
        <p:nvPicPr>
          <p:cNvPr id="26" name="Picture 6">
            <a:extLst>
              <a:ext uri="{FF2B5EF4-FFF2-40B4-BE49-F238E27FC236}">
                <a16:creationId xmlns:a16="http://schemas.microsoft.com/office/drawing/2014/main" id="{526BB09C-874F-9640-96CB-BE38EEC8D3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468" b="87008"/>
          <a:stretch/>
        </p:blipFill>
        <p:spPr>
          <a:xfrm rot="10800000" flipH="1" flipV="1">
            <a:off x="10173109" y="482600"/>
            <a:ext cx="1516552" cy="76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839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akta x 2 slide 2 blue">
    <p:bg>
      <p:bgPr>
        <a:solidFill>
          <a:schemeClr val="accent5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0601943F-7002-174E-B9B8-B3145C5C3BA6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/>
          </a:p>
        </p:txBody>
      </p:sp>
      <p:pic>
        <p:nvPicPr>
          <p:cNvPr id="32" name="Picture 7">
            <a:extLst>
              <a:ext uri="{FF2B5EF4-FFF2-40B4-BE49-F238E27FC236}">
                <a16:creationId xmlns:a16="http://schemas.microsoft.com/office/drawing/2014/main" id="{AA8D4990-F0A8-CF41-9A94-B06A36DC08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-2" r="18"/>
          <a:stretch/>
        </p:blipFill>
        <p:spPr>
          <a:xfrm rot="10800000" flipH="1" flipV="1">
            <a:off x="491880" y="492195"/>
            <a:ext cx="11207688" cy="5874600"/>
          </a:xfrm>
          <a:prstGeom prst="rect">
            <a:avLst/>
          </a:prstGeom>
          <a:noFill/>
        </p:spPr>
      </p:pic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Pladsholder til tekst 5">
            <a:extLst>
              <a:ext uri="{FF2B5EF4-FFF2-40B4-BE49-F238E27FC236}">
                <a16:creationId xmlns:a16="http://schemas.microsoft.com/office/drawing/2014/main" id="{C7769CE2-EC8C-AD40-BAD7-93D1CF7215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1067" y="2215991"/>
            <a:ext cx="5202539" cy="3784759"/>
          </a:xfrm>
          <a:prstGeom prst="rect">
            <a:avLst/>
          </a:prstGeom>
        </p:spPr>
        <p:txBody>
          <a:bodyPr lIns="0" rIns="90000"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Char char="§"/>
              <a:tabLst/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da-DK" dirty="0"/>
          </a:p>
        </p:txBody>
      </p:sp>
      <p:sp>
        <p:nvSpPr>
          <p:cNvPr id="43" name="Tekstfelt 42">
            <a:extLst>
              <a:ext uri="{FF2B5EF4-FFF2-40B4-BE49-F238E27FC236}">
                <a16:creationId xmlns:a16="http://schemas.microsoft.com/office/drawing/2014/main" id="{AF3CA117-30AE-BE4D-BBB1-9D422883214F}"/>
              </a:ext>
            </a:extLst>
          </p:cNvPr>
          <p:cNvSpPr txBox="1"/>
          <p:nvPr userDrawn="1"/>
        </p:nvSpPr>
        <p:spPr>
          <a:xfrm>
            <a:off x="6738357" y="2610793"/>
            <a:ext cx="5453644" cy="1497576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/>
          <a:p>
            <a:pPr algn="l"/>
            <a:endParaRPr lang="da-DK" sz="2400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D7C8ACF7-F874-0245-8B7C-F390AD1647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2432" y="1246909"/>
            <a:ext cx="5202539" cy="832640"/>
          </a:xfrm>
          <a:prstGeom prst="rect">
            <a:avLst/>
          </a:prstGeom>
        </p:spPr>
        <p:txBody>
          <a:bodyPr lIns="0" rIns="90000" anchor="b" anchorCtr="0">
            <a:noAutofit/>
          </a:bodyPr>
          <a:lstStyle>
            <a:lvl1pPr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28" name="Pladsholder til tekst 5">
            <a:extLst>
              <a:ext uri="{FF2B5EF4-FFF2-40B4-BE49-F238E27FC236}">
                <a16:creationId xmlns:a16="http://schemas.microsoft.com/office/drawing/2014/main" id="{37380C2E-CF55-E240-82DA-49168840B94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97032" y="2215991"/>
            <a:ext cx="5306585" cy="3784759"/>
          </a:xfrm>
          <a:prstGeom prst="rect">
            <a:avLst/>
          </a:prstGeom>
        </p:spPr>
        <p:txBody>
          <a:bodyPr lIns="0" rIns="90000"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5DD0018F-59FE-7946-BDEE-442ADA00C3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97032" y="1246909"/>
            <a:ext cx="5323597" cy="832640"/>
          </a:xfrm>
          <a:prstGeom prst="rect">
            <a:avLst/>
          </a:prstGeom>
        </p:spPr>
        <p:txBody>
          <a:bodyPr lIns="0" rIns="90000" anchor="b" anchorCtr="0">
            <a:noAutofit/>
          </a:bodyPr>
          <a:lstStyle>
            <a:lvl1pPr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ACDE4D4B-AEAE-B144-9333-08F326ED8C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bg1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Pladsholder til sidefod 16">
            <a:extLst>
              <a:ext uri="{FF2B5EF4-FFF2-40B4-BE49-F238E27FC236}">
                <a16:creationId xmlns:a16="http://schemas.microsoft.com/office/drawing/2014/main" id="{CD73AC05-1525-8644-A198-ABC9156D04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63806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akta x 2 slide headlin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6">
            <a:extLst>
              <a:ext uri="{FF2B5EF4-FFF2-40B4-BE49-F238E27FC236}">
                <a16:creationId xmlns:a16="http://schemas.microsoft.com/office/drawing/2014/main" id="{B564DFFA-F62E-AB49-9E42-D2ECB86567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82650" y="482600"/>
            <a:ext cx="11207012" cy="5878912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B6DACD4C-D47D-C847-98EC-A1ABCD17C83A}"/>
              </a:ext>
            </a:extLst>
          </p:cNvPr>
          <p:cNvSpPr/>
          <p:nvPr userDrawn="1"/>
        </p:nvSpPr>
        <p:spPr>
          <a:xfrm>
            <a:off x="474658" y="1849740"/>
            <a:ext cx="5621343" cy="4151931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/>
          </a:p>
        </p:txBody>
      </p:sp>
      <p:sp>
        <p:nvSpPr>
          <p:cNvPr id="22" name="Pladsholder til tekst 5">
            <a:extLst>
              <a:ext uri="{FF2B5EF4-FFF2-40B4-BE49-F238E27FC236}">
                <a16:creationId xmlns:a16="http://schemas.microsoft.com/office/drawing/2014/main" id="{ED618B44-FBB1-3C44-85A3-917F94E96D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5019" y="2876067"/>
            <a:ext cx="5227781" cy="3072156"/>
          </a:xfrm>
          <a:prstGeom prst="rect">
            <a:avLst/>
          </a:prstGeom>
        </p:spPr>
        <p:txBody>
          <a:bodyPr lIns="0" rIns="90000"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Char char="§"/>
              <a:tabLst/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da-DK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F6D1B94F-CEAD-AE42-BC97-67E9D18668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5019" y="1979053"/>
            <a:ext cx="5240620" cy="832640"/>
          </a:xfrm>
          <a:prstGeom prst="rect">
            <a:avLst/>
          </a:prstGeom>
        </p:spPr>
        <p:txBody>
          <a:bodyPr lIns="0" rIns="90000" anchor="b" anchorCtr="0">
            <a:noAutofit/>
          </a:bodyPr>
          <a:lstStyle>
            <a:lvl1pPr>
              <a:defRPr sz="24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F69797C0-C0A3-A74F-87DF-32326AB6C52C}"/>
              </a:ext>
            </a:extLst>
          </p:cNvPr>
          <p:cNvSpPr/>
          <p:nvPr userDrawn="1"/>
        </p:nvSpPr>
        <p:spPr>
          <a:xfrm>
            <a:off x="6071894" y="1849740"/>
            <a:ext cx="5621343" cy="415193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/>
          </a:p>
        </p:txBody>
      </p:sp>
      <p:sp>
        <p:nvSpPr>
          <p:cNvPr id="27" name="Pladsholder til tekst 5">
            <a:extLst>
              <a:ext uri="{FF2B5EF4-FFF2-40B4-BE49-F238E27FC236}">
                <a16:creationId xmlns:a16="http://schemas.microsoft.com/office/drawing/2014/main" id="{81355CDA-B254-4C46-9CD6-7C57AC99E0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62255" y="2876067"/>
            <a:ext cx="5227781" cy="3072156"/>
          </a:xfrm>
          <a:prstGeom prst="rect">
            <a:avLst/>
          </a:prstGeom>
        </p:spPr>
        <p:txBody>
          <a:bodyPr lIns="0" rIns="90000"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Char char="§"/>
              <a:tabLst/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da-DK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DE61250F-0AB5-4940-BF15-F856114151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2256" y="1979053"/>
            <a:ext cx="5224163" cy="832640"/>
          </a:xfrm>
          <a:prstGeom prst="rect">
            <a:avLst/>
          </a:prstGeom>
        </p:spPr>
        <p:txBody>
          <a:bodyPr lIns="0" rIns="90000" anchor="b" anchorCtr="0">
            <a:noAutofit/>
          </a:bodyPr>
          <a:lstStyle>
            <a:lvl1pPr>
              <a:defRPr sz="24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B2AB9256-BA2E-0643-B284-0B13FF671B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648" y="422461"/>
            <a:ext cx="9426123" cy="1200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cap="all" baseline="0"/>
            </a:lvl1pPr>
          </a:lstStyle>
          <a:p>
            <a:r>
              <a:rPr lang="da-DK" dirty="0"/>
              <a:t>CLICK TO EDIT TITLE STYLE</a:t>
            </a:r>
            <a:endParaRPr lang="en-US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4834FA6B-B58B-6D4C-8F35-54F204DFAC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Pladsholder til sidefod 16">
            <a:extLst>
              <a:ext uri="{FF2B5EF4-FFF2-40B4-BE49-F238E27FC236}">
                <a16:creationId xmlns:a16="http://schemas.microsoft.com/office/drawing/2014/main" id="{C02B4915-E832-7E4A-80F8-8084A0492B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6478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akta x 3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ktangel 24">
            <a:extLst>
              <a:ext uri="{FF2B5EF4-FFF2-40B4-BE49-F238E27FC236}">
                <a16:creationId xmlns:a16="http://schemas.microsoft.com/office/drawing/2014/main" id="{DB5AE909-45A4-C74F-9763-A7FD40E360E3}"/>
              </a:ext>
            </a:extLst>
          </p:cNvPr>
          <p:cNvSpPr/>
          <p:nvPr userDrawn="1"/>
        </p:nvSpPr>
        <p:spPr>
          <a:xfrm>
            <a:off x="3964712" y="0"/>
            <a:ext cx="4170872" cy="6858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0601943F-7002-174E-B9B8-B3145C5C3BA6}"/>
              </a:ext>
            </a:extLst>
          </p:cNvPr>
          <p:cNvSpPr/>
          <p:nvPr userDrawn="1"/>
        </p:nvSpPr>
        <p:spPr>
          <a:xfrm>
            <a:off x="-748" y="0"/>
            <a:ext cx="4065600" cy="6858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/>
          </a:p>
        </p:txBody>
      </p:sp>
      <p:pic>
        <p:nvPicPr>
          <p:cNvPr id="27" name="Picture 7">
            <a:extLst>
              <a:ext uri="{FF2B5EF4-FFF2-40B4-BE49-F238E27FC236}">
                <a16:creationId xmlns:a16="http://schemas.microsoft.com/office/drawing/2014/main" id="{79B1ADAF-C840-3641-B39C-7C445BC20C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95109"/>
          <a:stretch/>
        </p:blipFill>
        <p:spPr>
          <a:xfrm rot="10800000" flipH="1" flipV="1">
            <a:off x="491880" y="492195"/>
            <a:ext cx="548253" cy="5874600"/>
          </a:xfrm>
          <a:prstGeom prst="rect">
            <a:avLst/>
          </a:prstGeom>
          <a:noFill/>
        </p:spPr>
      </p:pic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3" name="Tekstfelt 42">
            <a:extLst>
              <a:ext uri="{FF2B5EF4-FFF2-40B4-BE49-F238E27FC236}">
                <a16:creationId xmlns:a16="http://schemas.microsoft.com/office/drawing/2014/main" id="{AF3CA117-30AE-BE4D-BBB1-9D422883214F}"/>
              </a:ext>
            </a:extLst>
          </p:cNvPr>
          <p:cNvSpPr txBox="1"/>
          <p:nvPr userDrawn="1"/>
        </p:nvSpPr>
        <p:spPr>
          <a:xfrm>
            <a:off x="6738357" y="2610793"/>
            <a:ext cx="5453644" cy="1497576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/>
          <a:p>
            <a:pPr algn="l"/>
            <a:endParaRPr lang="da-DK" sz="2400" dirty="0"/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4EEBDEFE-D5C8-7143-806A-D11FB554C3F8}"/>
              </a:ext>
            </a:extLst>
          </p:cNvPr>
          <p:cNvSpPr txBox="1"/>
          <p:nvPr userDrawn="1"/>
        </p:nvSpPr>
        <p:spPr>
          <a:xfrm>
            <a:off x="12301728" y="7351776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rmAutofit fontScale="25000" lnSpcReduction="20000"/>
          </a:bodyPr>
          <a:lstStyle/>
          <a:p>
            <a:pPr algn="l"/>
            <a:endParaRPr lang="da-DK" sz="2400" dirty="0"/>
          </a:p>
        </p:txBody>
      </p:sp>
      <p:sp>
        <p:nvSpPr>
          <p:cNvPr id="32" name="Pladsholder til tekst 5">
            <a:extLst>
              <a:ext uri="{FF2B5EF4-FFF2-40B4-BE49-F238E27FC236}">
                <a16:creationId xmlns:a16="http://schemas.microsoft.com/office/drawing/2014/main" id="{E0746252-A73C-DB42-B352-95D031928A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1068" y="2215991"/>
            <a:ext cx="3370153" cy="3784759"/>
          </a:xfrm>
          <a:prstGeom prst="rect">
            <a:avLst/>
          </a:prstGeom>
        </p:spPr>
        <p:txBody>
          <a:bodyPr lIns="0" rIns="90000"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Char char="§"/>
              <a:tabLst/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da-DK" dirty="0"/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015857E-C49F-E644-B45E-1EDECDD257C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2433" y="1301096"/>
            <a:ext cx="3370153" cy="832640"/>
          </a:xfrm>
          <a:prstGeom prst="rect">
            <a:avLst/>
          </a:prstGeom>
        </p:spPr>
        <p:txBody>
          <a:bodyPr lIns="0" rIns="90000" anchor="b" anchorCtr="0">
            <a:noAutofit/>
          </a:bodyPr>
          <a:lstStyle>
            <a:lvl1pPr>
              <a:defRPr sz="24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34" name="Pladsholder til tekst 5">
            <a:extLst>
              <a:ext uri="{FF2B5EF4-FFF2-40B4-BE49-F238E27FC236}">
                <a16:creationId xmlns:a16="http://schemas.microsoft.com/office/drawing/2014/main" id="{8785CAF2-8DF2-4949-BAFD-C671422880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41" y="2215991"/>
            <a:ext cx="3669700" cy="3784759"/>
          </a:xfrm>
          <a:prstGeom prst="rect">
            <a:avLst/>
          </a:prstGeom>
        </p:spPr>
        <p:txBody>
          <a:bodyPr lIns="0" rIns="90000"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Char char="§"/>
              <a:tabLst/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da-DK" dirty="0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F7727B90-642A-8240-9A7B-70319D6AEEA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9406" y="1301096"/>
            <a:ext cx="3669700" cy="832640"/>
          </a:xfrm>
          <a:prstGeom prst="rect">
            <a:avLst/>
          </a:prstGeom>
        </p:spPr>
        <p:txBody>
          <a:bodyPr lIns="0" rIns="90000" anchor="b" anchorCtr="0">
            <a:noAutofit/>
          </a:bodyPr>
          <a:lstStyle>
            <a:lvl1pPr>
              <a:defRPr sz="24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36" name="Pladsholder til tekst 5">
            <a:extLst>
              <a:ext uri="{FF2B5EF4-FFF2-40B4-BE49-F238E27FC236}">
                <a16:creationId xmlns:a16="http://schemas.microsoft.com/office/drawing/2014/main" id="{9FC3B36B-FEEB-5F47-A499-DDB15AA58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51827" y="2215991"/>
            <a:ext cx="3363387" cy="3784759"/>
          </a:xfrm>
          <a:prstGeom prst="rect">
            <a:avLst/>
          </a:prstGeom>
        </p:spPr>
        <p:txBody>
          <a:bodyPr lIns="0" rIns="90000"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Char char="§"/>
              <a:tabLst/>
              <a:defRPr baseline="0">
                <a:solidFill>
                  <a:schemeClr val="accent5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da-DK" dirty="0"/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F72E9E97-306F-D54E-81CD-0E29B4AFEEB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53192" y="1301096"/>
            <a:ext cx="3363387" cy="832640"/>
          </a:xfrm>
          <a:prstGeom prst="rect">
            <a:avLst/>
          </a:prstGeom>
        </p:spPr>
        <p:txBody>
          <a:bodyPr lIns="0" rIns="90000" anchor="b" anchorCtr="0">
            <a:noAutofit/>
          </a:bodyPr>
          <a:lstStyle>
            <a:lvl1pPr>
              <a:defRPr sz="2400" cap="all" baseline="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E47A72E3-0231-E841-9174-BCA89711A0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Pladsholder til sidefod 16">
            <a:extLst>
              <a:ext uri="{FF2B5EF4-FFF2-40B4-BE49-F238E27FC236}">
                <a16:creationId xmlns:a16="http://schemas.microsoft.com/office/drawing/2014/main" id="{7BEF6CDB-8741-8542-8A85-7B15EC7D4D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  <p:pic>
        <p:nvPicPr>
          <p:cNvPr id="19" name="Picture 6">
            <a:extLst>
              <a:ext uri="{FF2B5EF4-FFF2-40B4-BE49-F238E27FC236}">
                <a16:creationId xmlns:a16="http://schemas.microsoft.com/office/drawing/2014/main" id="{2CA54FAC-F5D8-BE4A-AAA5-0797B0AC6D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468" b="87008"/>
          <a:stretch/>
        </p:blipFill>
        <p:spPr>
          <a:xfrm rot="10800000" flipH="1" flipV="1">
            <a:off x="10173109" y="482600"/>
            <a:ext cx="1516552" cy="76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3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akta x 4 slide blue">
    <p:bg>
      <p:bgPr>
        <a:solidFill>
          <a:schemeClr val="accent5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ktangel 16">
            <a:extLst>
              <a:ext uri="{FF2B5EF4-FFF2-40B4-BE49-F238E27FC236}">
                <a16:creationId xmlns:a16="http://schemas.microsoft.com/office/drawing/2014/main" id="{C04BC9C5-2F84-1B40-A459-4D794EB45372}"/>
              </a:ext>
            </a:extLst>
          </p:cNvPr>
          <p:cNvSpPr/>
          <p:nvPr userDrawn="1"/>
        </p:nvSpPr>
        <p:spPr>
          <a:xfrm>
            <a:off x="0" y="3429001"/>
            <a:ext cx="6096000" cy="343592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0601943F-7002-174E-B9B8-B3145C5C3BA6}"/>
              </a:ext>
            </a:extLst>
          </p:cNvPr>
          <p:cNvSpPr/>
          <p:nvPr userDrawn="1"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/>
          </a:p>
        </p:txBody>
      </p:sp>
      <p:pic>
        <p:nvPicPr>
          <p:cNvPr id="32" name="Picture 7">
            <a:extLst>
              <a:ext uri="{FF2B5EF4-FFF2-40B4-BE49-F238E27FC236}">
                <a16:creationId xmlns:a16="http://schemas.microsoft.com/office/drawing/2014/main" id="{AA8D4990-F0A8-CF41-9A94-B06A36DC08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-2" r="18"/>
          <a:stretch/>
        </p:blipFill>
        <p:spPr>
          <a:xfrm rot="10800000" flipH="1" flipV="1">
            <a:off x="491880" y="492195"/>
            <a:ext cx="11207688" cy="5874600"/>
          </a:xfrm>
          <a:prstGeom prst="rect">
            <a:avLst/>
          </a:prstGeom>
          <a:noFill/>
        </p:spPr>
      </p:pic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Pladsholder til tekst 5">
            <a:extLst>
              <a:ext uri="{FF2B5EF4-FFF2-40B4-BE49-F238E27FC236}">
                <a16:creationId xmlns:a16="http://schemas.microsoft.com/office/drawing/2014/main" id="{C7769CE2-EC8C-AD40-BAD7-93D1CF7215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1067" y="2019720"/>
            <a:ext cx="5202539" cy="1213009"/>
          </a:xfrm>
          <a:prstGeom prst="rect">
            <a:avLst/>
          </a:prstGeom>
        </p:spPr>
        <p:txBody>
          <a:bodyPr lIns="0" rIns="90000"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Char char="§"/>
              <a:tabLst/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da-DK" dirty="0"/>
          </a:p>
        </p:txBody>
      </p:sp>
      <p:sp>
        <p:nvSpPr>
          <p:cNvPr id="43" name="Tekstfelt 42">
            <a:extLst>
              <a:ext uri="{FF2B5EF4-FFF2-40B4-BE49-F238E27FC236}">
                <a16:creationId xmlns:a16="http://schemas.microsoft.com/office/drawing/2014/main" id="{AF3CA117-30AE-BE4D-BBB1-9D422883214F}"/>
              </a:ext>
            </a:extLst>
          </p:cNvPr>
          <p:cNvSpPr txBox="1"/>
          <p:nvPr userDrawn="1"/>
        </p:nvSpPr>
        <p:spPr>
          <a:xfrm>
            <a:off x="6738357" y="2610793"/>
            <a:ext cx="5453644" cy="1497576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/>
          <a:p>
            <a:pPr algn="l"/>
            <a:endParaRPr lang="da-DK" sz="2400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D7C8ACF7-F874-0245-8B7C-F390AD1647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2432" y="1246910"/>
            <a:ext cx="5202539" cy="735863"/>
          </a:xfrm>
          <a:prstGeom prst="rect">
            <a:avLst/>
          </a:prstGeom>
        </p:spPr>
        <p:txBody>
          <a:bodyPr lIns="0" rIns="90000" anchor="b" anchorCtr="0">
            <a:noAutofit/>
          </a:bodyPr>
          <a:lstStyle>
            <a:lvl1pPr>
              <a:defRPr sz="24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28" name="Pladsholder til tekst 5">
            <a:extLst>
              <a:ext uri="{FF2B5EF4-FFF2-40B4-BE49-F238E27FC236}">
                <a16:creationId xmlns:a16="http://schemas.microsoft.com/office/drawing/2014/main" id="{37380C2E-CF55-E240-82DA-49168840B94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97032" y="1982773"/>
            <a:ext cx="5306585" cy="1249956"/>
          </a:xfrm>
          <a:prstGeom prst="rect">
            <a:avLst/>
          </a:prstGeom>
        </p:spPr>
        <p:txBody>
          <a:bodyPr lIns="0" rIns="90000"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5DD0018F-59FE-7946-BDEE-442ADA00C3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97032" y="1246910"/>
            <a:ext cx="5323597" cy="735863"/>
          </a:xfrm>
          <a:prstGeom prst="rect">
            <a:avLst/>
          </a:prstGeom>
        </p:spPr>
        <p:txBody>
          <a:bodyPr lIns="0" rIns="90000" anchor="b" anchorCtr="0">
            <a:noAutofit/>
          </a:bodyPr>
          <a:lstStyle>
            <a:lvl1pPr>
              <a:defRPr sz="24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21" name="Pladsholder til tekst 5">
            <a:extLst>
              <a:ext uri="{FF2B5EF4-FFF2-40B4-BE49-F238E27FC236}">
                <a16:creationId xmlns:a16="http://schemas.microsoft.com/office/drawing/2014/main" id="{287B6136-772B-6540-AF58-46645B6208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1067" y="4679066"/>
            <a:ext cx="5202539" cy="1321548"/>
          </a:xfrm>
          <a:prstGeom prst="rect">
            <a:avLst/>
          </a:prstGeom>
        </p:spPr>
        <p:txBody>
          <a:bodyPr lIns="0" rIns="90000"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Tx/>
              <a:buFont typeface="Wingdings" pitchFamily="2" charset="2"/>
              <a:buChar char="§"/>
              <a:tabLst/>
              <a:defRPr baseline="0">
                <a:solidFill>
                  <a:schemeClr val="accent5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da-DK" dirty="0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C62763D0-82E0-A448-9BFE-7BE9E724F13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2432" y="3906257"/>
            <a:ext cx="5202539" cy="735863"/>
          </a:xfrm>
          <a:prstGeom prst="rect">
            <a:avLst/>
          </a:prstGeom>
        </p:spPr>
        <p:txBody>
          <a:bodyPr lIns="0" rIns="90000" anchor="b" anchorCtr="0">
            <a:noAutofit/>
          </a:bodyPr>
          <a:lstStyle>
            <a:lvl1pPr>
              <a:defRPr sz="2400" cap="all" baseline="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ECCE3219-E073-DA43-8113-E7E5482D4A00}"/>
              </a:ext>
            </a:extLst>
          </p:cNvPr>
          <p:cNvSpPr/>
          <p:nvPr userDrawn="1"/>
        </p:nvSpPr>
        <p:spPr>
          <a:xfrm>
            <a:off x="6094638" y="3429001"/>
            <a:ext cx="6115836" cy="343592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/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3790DA02-56CA-4D43-AC08-1C418F534B96}"/>
              </a:ext>
            </a:extLst>
          </p:cNvPr>
          <p:cNvSpPr txBox="1"/>
          <p:nvPr userDrawn="1"/>
        </p:nvSpPr>
        <p:spPr>
          <a:xfrm>
            <a:off x="9642764" y="-1884219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rmAutofit fontScale="25000" lnSpcReduction="20000"/>
          </a:bodyPr>
          <a:lstStyle/>
          <a:p>
            <a:pPr algn="l"/>
            <a:endParaRPr lang="da-DK" sz="2400" dirty="0"/>
          </a:p>
        </p:txBody>
      </p:sp>
      <p:sp>
        <p:nvSpPr>
          <p:cNvPr id="27" name="Pladsholder til tekst 5">
            <a:extLst>
              <a:ext uri="{FF2B5EF4-FFF2-40B4-BE49-F238E27FC236}">
                <a16:creationId xmlns:a16="http://schemas.microsoft.com/office/drawing/2014/main" id="{86505632-4552-1D4F-A326-52885B868D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7759" y="4679066"/>
            <a:ext cx="5202539" cy="1321548"/>
          </a:xfrm>
          <a:prstGeom prst="rect">
            <a:avLst/>
          </a:prstGeom>
        </p:spPr>
        <p:txBody>
          <a:bodyPr lIns="0" rIns="90000"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Tx/>
              <a:buFont typeface="Wingdings" pitchFamily="2" charset="2"/>
              <a:buChar char="§"/>
              <a:tabLst/>
              <a:defRPr baseline="0">
                <a:solidFill>
                  <a:schemeClr val="accent5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da-DK" dirty="0"/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50AA0988-C2B8-DE4D-AFAB-89259067178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59124" y="3906257"/>
            <a:ext cx="5202539" cy="735863"/>
          </a:xfrm>
          <a:prstGeom prst="rect">
            <a:avLst/>
          </a:prstGeom>
        </p:spPr>
        <p:txBody>
          <a:bodyPr lIns="0" rIns="90000" anchor="b" anchorCtr="0">
            <a:noAutofit/>
          </a:bodyPr>
          <a:lstStyle>
            <a:lvl1pPr>
              <a:defRPr sz="2400" cap="all" baseline="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DA85D06C-6097-0140-84E9-4670663C9ABD}"/>
              </a:ext>
            </a:extLst>
          </p:cNvPr>
          <p:cNvSpPr txBox="1"/>
          <p:nvPr userDrawn="1"/>
        </p:nvSpPr>
        <p:spPr>
          <a:xfrm>
            <a:off x="11139055" y="7610764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rmAutofit fontScale="25000" lnSpcReduction="20000"/>
          </a:bodyPr>
          <a:lstStyle/>
          <a:p>
            <a:pPr algn="l"/>
            <a:endParaRPr lang="da-DK" sz="2400" dirty="0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94DD86B6-3C3A-2E4D-8EB2-63D50B7A34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3" name="Pladsholder til sidefod 16">
            <a:extLst>
              <a:ext uri="{FF2B5EF4-FFF2-40B4-BE49-F238E27FC236}">
                <a16:creationId xmlns:a16="http://schemas.microsoft.com/office/drawing/2014/main" id="{ADA471ED-93F6-5849-8BAD-A3E76199F6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03134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akta x 6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ktangel 39">
            <a:extLst>
              <a:ext uri="{FF2B5EF4-FFF2-40B4-BE49-F238E27FC236}">
                <a16:creationId xmlns:a16="http://schemas.microsoft.com/office/drawing/2014/main" id="{DC14487D-CC0B-5842-BBF5-4BA25E9CEE73}"/>
              </a:ext>
            </a:extLst>
          </p:cNvPr>
          <p:cNvSpPr/>
          <p:nvPr userDrawn="1"/>
        </p:nvSpPr>
        <p:spPr>
          <a:xfrm>
            <a:off x="8121928" y="0"/>
            <a:ext cx="4070072" cy="3429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/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79359AAA-27F5-4D40-B715-45B454283CCF}"/>
              </a:ext>
            </a:extLst>
          </p:cNvPr>
          <p:cNvSpPr/>
          <p:nvPr userDrawn="1"/>
        </p:nvSpPr>
        <p:spPr>
          <a:xfrm>
            <a:off x="1" y="3429000"/>
            <a:ext cx="4070071" cy="3429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0601943F-7002-174E-B9B8-B3145C5C3BA6}"/>
              </a:ext>
            </a:extLst>
          </p:cNvPr>
          <p:cNvSpPr/>
          <p:nvPr userDrawn="1"/>
        </p:nvSpPr>
        <p:spPr>
          <a:xfrm>
            <a:off x="0" y="0"/>
            <a:ext cx="4070072" cy="3429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/>
          </a:p>
        </p:txBody>
      </p:sp>
      <p:pic>
        <p:nvPicPr>
          <p:cNvPr id="46" name="Picture 7">
            <a:extLst>
              <a:ext uri="{FF2B5EF4-FFF2-40B4-BE49-F238E27FC236}">
                <a16:creationId xmlns:a16="http://schemas.microsoft.com/office/drawing/2014/main" id="{B9B91EAD-4BC1-9842-9987-B7904869EE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95109"/>
          <a:stretch/>
        </p:blipFill>
        <p:spPr>
          <a:xfrm rot="10800000" flipH="1" flipV="1">
            <a:off x="491880" y="492195"/>
            <a:ext cx="548253" cy="5874600"/>
          </a:xfrm>
          <a:prstGeom prst="rect">
            <a:avLst/>
          </a:prstGeom>
          <a:noFill/>
        </p:spPr>
      </p:pic>
      <p:sp>
        <p:nvSpPr>
          <p:cNvPr id="25" name="Rektangel 24">
            <a:extLst>
              <a:ext uri="{FF2B5EF4-FFF2-40B4-BE49-F238E27FC236}">
                <a16:creationId xmlns:a16="http://schemas.microsoft.com/office/drawing/2014/main" id="{DB5AE909-45A4-C74F-9763-A7FD40E360E3}"/>
              </a:ext>
            </a:extLst>
          </p:cNvPr>
          <p:cNvSpPr/>
          <p:nvPr userDrawn="1"/>
        </p:nvSpPr>
        <p:spPr>
          <a:xfrm>
            <a:off x="4070073" y="0"/>
            <a:ext cx="4070072" cy="3429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/>
          </a:p>
        </p:txBody>
      </p:sp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Pladsholder til tekst 5">
            <a:extLst>
              <a:ext uri="{FF2B5EF4-FFF2-40B4-BE49-F238E27FC236}">
                <a16:creationId xmlns:a16="http://schemas.microsoft.com/office/drawing/2014/main" id="{C7769CE2-EC8C-AD40-BAD7-93D1CF7215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1067" y="1934466"/>
            <a:ext cx="3232903" cy="1332991"/>
          </a:xfrm>
          <a:prstGeom prst="rect">
            <a:avLst/>
          </a:prstGeom>
        </p:spPr>
        <p:txBody>
          <a:bodyPr lIns="0"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Char char="§"/>
              <a:tabLst/>
              <a:defRPr sz="1333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da-DK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D7C8ACF7-F874-0245-8B7C-F390AD1647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2433" y="1429096"/>
            <a:ext cx="3232903" cy="485048"/>
          </a:xfrm>
          <a:prstGeom prst="rect">
            <a:avLst/>
          </a:prstGeom>
        </p:spPr>
        <p:txBody>
          <a:bodyPr lIns="0" anchor="b" anchorCtr="0">
            <a:noAutofit/>
          </a:bodyPr>
          <a:lstStyle>
            <a:lvl1pPr>
              <a:defRPr sz="1733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4EEBDEFE-D5C8-7143-806A-D11FB554C3F8}"/>
              </a:ext>
            </a:extLst>
          </p:cNvPr>
          <p:cNvSpPr txBox="1"/>
          <p:nvPr userDrawn="1"/>
        </p:nvSpPr>
        <p:spPr>
          <a:xfrm>
            <a:off x="12301728" y="7351776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rmAutofit fontScale="25000" lnSpcReduction="20000"/>
          </a:bodyPr>
          <a:lstStyle/>
          <a:p>
            <a:pPr algn="l"/>
            <a:endParaRPr lang="da-DK" sz="2400" dirty="0"/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FDA5DAC4-FC15-3240-9C23-67816E10DE55}"/>
              </a:ext>
            </a:extLst>
          </p:cNvPr>
          <p:cNvSpPr txBox="1"/>
          <p:nvPr userDrawn="1"/>
        </p:nvSpPr>
        <p:spPr>
          <a:xfrm>
            <a:off x="-134112" y="7156704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rmAutofit fontScale="25000" lnSpcReduction="20000"/>
          </a:bodyPr>
          <a:lstStyle/>
          <a:p>
            <a:pPr algn="l"/>
            <a:endParaRPr lang="da-DK" sz="2400" dirty="0"/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AD3AF47A-E1C1-594F-935A-4E65D59AC430}"/>
              </a:ext>
            </a:extLst>
          </p:cNvPr>
          <p:cNvSpPr/>
          <p:nvPr userDrawn="1"/>
        </p:nvSpPr>
        <p:spPr>
          <a:xfrm>
            <a:off x="4070071" y="3429000"/>
            <a:ext cx="4070075" cy="3429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81AC896B-704A-B648-930A-87894A22FE19}"/>
              </a:ext>
            </a:extLst>
          </p:cNvPr>
          <p:cNvSpPr txBox="1"/>
          <p:nvPr userDrawn="1"/>
        </p:nvSpPr>
        <p:spPr>
          <a:xfrm>
            <a:off x="12033504" y="4742688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rmAutofit fontScale="25000" lnSpcReduction="20000"/>
          </a:bodyPr>
          <a:lstStyle/>
          <a:p>
            <a:pPr algn="l"/>
            <a:endParaRPr lang="da-DK" sz="2400" baseline="0" dirty="0">
              <a:solidFill>
                <a:schemeClr val="accent5"/>
              </a:solidFill>
            </a:endParaRPr>
          </a:p>
        </p:txBody>
      </p:sp>
      <p:sp>
        <p:nvSpPr>
          <p:cNvPr id="48" name="Pladsholder til tekst 5">
            <a:extLst>
              <a:ext uri="{FF2B5EF4-FFF2-40B4-BE49-F238E27FC236}">
                <a16:creationId xmlns:a16="http://schemas.microsoft.com/office/drawing/2014/main" id="{DCF11B5D-0E51-5246-9E33-89A2378C50D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77791" y="1934466"/>
            <a:ext cx="3347347" cy="1332991"/>
          </a:xfrm>
          <a:prstGeom prst="rect">
            <a:avLst/>
          </a:prstGeom>
        </p:spPr>
        <p:txBody>
          <a:bodyPr lIns="0"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Tx/>
              <a:buFont typeface="Wingdings" pitchFamily="2" charset="2"/>
              <a:buChar char="§"/>
              <a:tabLst/>
              <a:defRPr sz="1333" baseline="0">
                <a:solidFill>
                  <a:schemeClr val="accent5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da-DK" dirty="0"/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55EB406F-F9B4-1247-87AA-34788BA3FF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79156" y="1429096"/>
            <a:ext cx="3347347" cy="485048"/>
          </a:xfrm>
          <a:prstGeom prst="rect">
            <a:avLst/>
          </a:prstGeom>
        </p:spPr>
        <p:txBody>
          <a:bodyPr lIns="0" anchor="b" anchorCtr="0">
            <a:noAutofit/>
          </a:bodyPr>
          <a:lstStyle>
            <a:lvl1pPr>
              <a:defRPr sz="1733" cap="all" baseline="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50" name="Pladsholder til tekst 5">
            <a:extLst>
              <a:ext uri="{FF2B5EF4-FFF2-40B4-BE49-F238E27FC236}">
                <a16:creationId xmlns:a16="http://schemas.microsoft.com/office/drawing/2014/main" id="{B8E6B801-F695-1C46-B03C-C0D3ACD0B6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19600" y="1934466"/>
            <a:ext cx="3347347" cy="1332991"/>
          </a:xfrm>
          <a:prstGeom prst="rect">
            <a:avLst/>
          </a:prstGeom>
        </p:spPr>
        <p:txBody>
          <a:bodyPr lIns="0"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Char char="§"/>
              <a:tabLst/>
              <a:defRPr sz="1333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da-DK" dirty="0"/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74F78E46-EEA4-AB44-9564-9FB6AA7E2D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20965" y="1429096"/>
            <a:ext cx="3347347" cy="485048"/>
          </a:xfrm>
          <a:prstGeom prst="rect">
            <a:avLst/>
          </a:prstGeom>
        </p:spPr>
        <p:txBody>
          <a:bodyPr lIns="0" anchor="b" anchorCtr="0">
            <a:noAutofit/>
          </a:bodyPr>
          <a:lstStyle>
            <a:lvl1pPr>
              <a:defRPr sz="1733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52" name="Pladsholder til tekst 5">
            <a:extLst>
              <a:ext uri="{FF2B5EF4-FFF2-40B4-BE49-F238E27FC236}">
                <a16:creationId xmlns:a16="http://schemas.microsoft.com/office/drawing/2014/main" id="{25327969-49AA-2945-ACA5-D4E7E498693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0053" y="4449654"/>
            <a:ext cx="3347347" cy="1332991"/>
          </a:xfrm>
          <a:prstGeom prst="rect">
            <a:avLst/>
          </a:prstGeom>
        </p:spPr>
        <p:txBody>
          <a:bodyPr lIns="0"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Tx/>
              <a:buFont typeface="Wingdings" pitchFamily="2" charset="2"/>
              <a:buChar char="§"/>
              <a:tabLst/>
              <a:defRPr sz="1333" baseline="0">
                <a:solidFill>
                  <a:schemeClr val="accent5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da-DK" dirty="0"/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1B0C3103-13CD-1C47-845D-4CCD53DBDB2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71419" y="3944284"/>
            <a:ext cx="3347347" cy="485048"/>
          </a:xfrm>
          <a:prstGeom prst="rect">
            <a:avLst/>
          </a:prstGeom>
        </p:spPr>
        <p:txBody>
          <a:bodyPr lIns="0" anchor="b" anchorCtr="0">
            <a:noAutofit/>
          </a:bodyPr>
          <a:lstStyle>
            <a:lvl1pPr>
              <a:defRPr sz="1733" cap="all" baseline="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54" name="Pladsholder til tekst 5">
            <a:extLst>
              <a:ext uri="{FF2B5EF4-FFF2-40B4-BE49-F238E27FC236}">
                <a16:creationId xmlns:a16="http://schemas.microsoft.com/office/drawing/2014/main" id="{B40EB973-E277-B645-83D6-14ECACF86EB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19600" y="4449654"/>
            <a:ext cx="3347347" cy="1332991"/>
          </a:xfrm>
          <a:prstGeom prst="rect">
            <a:avLst/>
          </a:prstGeom>
        </p:spPr>
        <p:txBody>
          <a:bodyPr lIns="0"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Tx/>
              <a:buFont typeface="Wingdings" pitchFamily="2" charset="2"/>
              <a:buChar char="§"/>
              <a:tabLst/>
              <a:defRPr sz="1333" baseline="0">
                <a:solidFill>
                  <a:schemeClr val="accent5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da-DK" dirty="0"/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1F07C888-2FC1-E543-A8A2-808B952F9C0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20965" y="3944284"/>
            <a:ext cx="3347347" cy="485048"/>
          </a:xfrm>
          <a:prstGeom prst="rect">
            <a:avLst/>
          </a:prstGeom>
        </p:spPr>
        <p:txBody>
          <a:bodyPr lIns="0" anchor="b" anchorCtr="0">
            <a:noAutofit/>
          </a:bodyPr>
          <a:lstStyle>
            <a:lvl1pPr>
              <a:defRPr sz="1733" cap="all" baseline="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56" name="Pladsholder til tekst 5">
            <a:extLst>
              <a:ext uri="{FF2B5EF4-FFF2-40B4-BE49-F238E27FC236}">
                <a16:creationId xmlns:a16="http://schemas.microsoft.com/office/drawing/2014/main" id="{12E481AF-152D-1741-AC44-32D64A18AC0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974" y="4449654"/>
            <a:ext cx="3232903" cy="1332991"/>
          </a:xfrm>
          <a:prstGeom prst="rect">
            <a:avLst/>
          </a:prstGeom>
        </p:spPr>
        <p:txBody>
          <a:bodyPr lIns="0"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Tx/>
              <a:buFont typeface="Wingdings" pitchFamily="2" charset="2"/>
              <a:buChar char="§"/>
              <a:tabLst/>
              <a:defRPr sz="1333" baseline="0">
                <a:solidFill>
                  <a:schemeClr val="accent5"/>
                </a:solidFill>
              </a:defRPr>
            </a:lvl1pPr>
            <a:lvl2pPr>
              <a:defRPr baseline="0">
                <a:solidFill>
                  <a:srgbClr val="000000"/>
                </a:solidFill>
              </a:defRPr>
            </a:lvl2pPr>
            <a:lvl3pPr>
              <a:defRPr baseline="0">
                <a:solidFill>
                  <a:srgbClr val="000000"/>
                </a:solidFill>
              </a:defRPr>
            </a:lvl3pPr>
            <a:lvl4pPr>
              <a:defRPr baseline="0">
                <a:solidFill>
                  <a:srgbClr val="000000"/>
                </a:solidFill>
              </a:defRPr>
            </a:lvl4pPr>
            <a:lvl5pPr>
              <a:defRPr baseline="0">
                <a:solidFill>
                  <a:srgbClr val="000000"/>
                </a:solidFill>
              </a:defRPr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da-DK" dirty="0"/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F3C7A052-3296-B94B-8498-22C62F7FEDA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5339" y="3944284"/>
            <a:ext cx="3232903" cy="485048"/>
          </a:xfrm>
          <a:prstGeom prst="rect">
            <a:avLst/>
          </a:prstGeom>
        </p:spPr>
        <p:txBody>
          <a:bodyPr lIns="0" anchor="b" anchorCtr="0">
            <a:noAutofit/>
          </a:bodyPr>
          <a:lstStyle>
            <a:lvl1pPr>
              <a:defRPr sz="1733" cap="all" baseline="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3F5DD0A3-E1B3-BD4A-8F4F-8341209C79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Pladsholder til sidefod 16">
            <a:extLst>
              <a:ext uri="{FF2B5EF4-FFF2-40B4-BE49-F238E27FC236}">
                <a16:creationId xmlns:a16="http://schemas.microsoft.com/office/drawing/2014/main" id="{AAB886D6-1EBE-E44D-9C6F-C336971B5C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  <p:pic>
        <p:nvPicPr>
          <p:cNvPr id="32" name="Picture 6">
            <a:extLst>
              <a:ext uri="{FF2B5EF4-FFF2-40B4-BE49-F238E27FC236}">
                <a16:creationId xmlns:a16="http://schemas.microsoft.com/office/drawing/2014/main" id="{71774A43-B326-1345-8964-571A97CBA3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468" b="87008"/>
          <a:stretch/>
        </p:blipFill>
        <p:spPr>
          <a:xfrm rot="10800000" flipH="1" flipV="1">
            <a:off x="10173109" y="482600"/>
            <a:ext cx="1516552" cy="763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18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use bl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 rot="10800000" flipH="1" flipV="1">
            <a:off x="491115" y="489515"/>
            <a:ext cx="11209008" cy="5874600"/>
          </a:xfrm>
          <a:prstGeom prst="rect">
            <a:avLst/>
          </a:prstGeom>
          <a:noFill/>
        </p:spPr>
      </p:pic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12AD9DF-901E-7D48-93A9-D1B694E1CFD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145706" y="2146650"/>
            <a:ext cx="1899825" cy="2478993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F9C25C2-D8C2-5541-9D57-A571AE8041E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3627" y="4826677"/>
            <a:ext cx="9615820" cy="964100"/>
          </a:xfrm>
          <a:prstGeom prst="rect">
            <a:avLst/>
          </a:prstGeom>
        </p:spPr>
        <p:txBody>
          <a:bodyPr lIns="108000" anchor="t" anchorCtr="0">
            <a:noAutofit/>
          </a:bodyPr>
          <a:lstStyle>
            <a:lvl1pPr algn="ctr">
              <a:defRPr sz="5333" b="1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TEXT STYLES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2A62E09-B9D2-164A-843C-C5FE253247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bg1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Pladsholder til sidefod 16">
            <a:extLst>
              <a:ext uri="{FF2B5EF4-FFF2-40B4-BE49-F238E27FC236}">
                <a16:creationId xmlns:a16="http://schemas.microsoft.com/office/drawing/2014/main" id="{323CB78A-F6C4-8A40-AD9A-57C3CB369D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12828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REAKER bl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 rot="10800000" flipH="1" flipV="1">
            <a:off x="491115" y="489515"/>
            <a:ext cx="11209008" cy="5874600"/>
          </a:xfrm>
          <a:prstGeom prst="rect">
            <a:avLst/>
          </a:prstGeom>
          <a:noFill/>
        </p:spPr>
      </p:pic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6F81831-D82C-7E4A-8BB7-0E5D55762D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819" y="1728266"/>
            <a:ext cx="8822812" cy="3201076"/>
          </a:xfrm>
          <a:prstGeom prst="rect">
            <a:avLst/>
          </a:prstGeom>
        </p:spPr>
        <p:txBody>
          <a:bodyPr lIns="108000" anchor="ctr" anchorCtr="0">
            <a:noAutofit/>
          </a:bodyPr>
          <a:lstStyle>
            <a:lvl1pPr algn="ctr">
              <a:defRPr sz="6667" b="1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DAB4A9D-BBA1-A748-BFA3-F7387BD229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bg1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ladsholder til sidefod 16">
            <a:extLst>
              <a:ext uri="{FF2B5EF4-FFF2-40B4-BE49-F238E27FC236}">
                <a16:creationId xmlns:a16="http://schemas.microsoft.com/office/drawing/2014/main" id="{5241CDFC-EEC3-FC45-A1F2-D0F5DED5D1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43125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REAKER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F9C25C2-D8C2-5541-9D57-A571AE8041E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51819" y="1728266"/>
            <a:ext cx="8822812" cy="3201076"/>
          </a:xfrm>
          <a:prstGeom prst="rect">
            <a:avLst/>
          </a:prstGeom>
        </p:spPr>
        <p:txBody>
          <a:bodyPr lIns="108000" anchor="ctr" anchorCtr="0">
            <a:noAutofit/>
          </a:bodyPr>
          <a:lstStyle>
            <a:lvl1pPr algn="ctr">
              <a:defRPr sz="6667" b="1" i="0" cap="all" baseline="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6E3F23A-9319-DF44-A222-CC9FEBE50B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1275" y="6147716"/>
            <a:ext cx="545304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ladsholder til sidefod 16">
            <a:extLst>
              <a:ext uri="{FF2B5EF4-FFF2-40B4-BE49-F238E27FC236}">
                <a16:creationId xmlns:a16="http://schemas.microsoft.com/office/drawing/2014/main" id="{0F336558-ABB5-BD48-B6AE-B4A159D46E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896347" y="6147187"/>
            <a:ext cx="1274928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aseline="0">
                <a:solidFill>
                  <a:schemeClr val="accent5"/>
                </a:solidFill>
              </a:defRPr>
            </a:lvl1pPr>
          </a:lstStyle>
          <a:p>
            <a:endParaRPr lang="da-DK" dirty="0"/>
          </a:p>
        </p:txBody>
      </p:sp>
      <p:pic>
        <p:nvPicPr>
          <p:cNvPr id="12" name="Picture 6">
            <a:extLst>
              <a:ext uri="{FF2B5EF4-FFF2-40B4-BE49-F238E27FC236}">
                <a16:creationId xmlns:a16="http://schemas.microsoft.com/office/drawing/2014/main" id="{1670754C-083E-6647-B52B-899C7ABE09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82650" y="482600"/>
            <a:ext cx="11207012" cy="5878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334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82650" y="482600"/>
            <a:ext cx="11207012" cy="5878912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50" y="1919999"/>
            <a:ext cx="11233929" cy="4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82650" y="422461"/>
            <a:ext cx="10276668" cy="1200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cap="all" baseline="0"/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9448" y="6147716"/>
            <a:ext cx="957131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Pladsholder til tekst 8"/>
          <p:cNvSpPr>
            <a:spLocks noGrp="1"/>
          </p:cNvSpPr>
          <p:nvPr>
            <p:ph type="body" sz="quarter" idx="10" hasCustomPrompt="1"/>
          </p:nvPr>
        </p:nvSpPr>
        <p:spPr>
          <a:xfrm>
            <a:off x="2684733" y="6147717"/>
            <a:ext cx="797772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Doc. </a:t>
            </a:r>
            <a:r>
              <a:rPr lang="da-DK" dirty="0" err="1"/>
              <a:t>no</a:t>
            </a:r>
            <a:endParaRPr lang="da-DK" dirty="0"/>
          </a:p>
        </p:txBody>
      </p:sp>
      <p:sp>
        <p:nvSpPr>
          <p:cNvPr id="17" name="Pladsholder til tekst 8"/>
          <p:cNvSpPr>
            <a:spLocks noGrp="1"/>
          </p:cNvSpPr>
          <p:nvPr>
            <p:ph type="body" sz="quarter" idx="12" hasCustomPrompt="1"/>
          </p:nvPr>
        </p:nvSpPr>
        <p:spPr>
          <a:xfrm>
            <a:off x="2005001" y="6147717"/>
            <a:ext cx="671264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ID: </a:t>
            </a:r>
          </a:p>
        </p:txBody>
      </p:sp>
      <p:sp>
        <p:nvSpPr>
          <p:cNvPr id="18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143627" y="6147717"/>
            <a:ext cx="861375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Date:</a:t>
            </a:r>
          </a:p>
        </p:txBody>
      </p:sp>
    </p:spTree>
    <p:extLst>
      <p:ext uri="{BB962C8B-B14F-4D97-AF65-F5344CB8AC3E}">
        <p14:creationId xmlns:p14="http://schemas.microsoft.com/office/powerpoint/2010/main" val="1401528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ast overskrift"/>
          <p:cNvSpPr txBox="1"/>
          <p:nvPr userDrawn="1"/>
        </p:nvSpPr>
        <p:spPr>
          <a:xfrm>
            <a:off x="982663" y="539750"/>
            <a:ext cx="9361487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7" name="Text Box 2"/>
          <p:cNvSpPr txBox="1">
            <a:spLocks noChangeArrowheads="1"/>
          </p:cNvSpPr>
          <p:nvPr userDrawn="1"/>
        </p:nvSpPr>
        <p:spPr bwMode="auto">
          <a:xfrm>
            <a:off x="982667" y="1833789"/>
            <a:ext cx="2280360" cy="4678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10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for at fjerne og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ætte bullet på igen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s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dia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ndsætte nyt sl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det layout, du ønsker,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ændre dit nuværende layout til et alternativt.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 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3"/>
          <p:cNvSpPr txBox="1">
            <a:spLocks noChangeArrowheads="1"/>
          </p:cNvSpPr>
          <p:nvPr userDrawn="1"/>
        </p:nvSpPr>
        <p:spPr bwMode="auto">
          <a:xfrm>
            <a:off x="5039973" y="1833789"/>
            <a:ext cx="1927222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ér billedet. 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værktøj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.</a:t>
            </a:r>
          </a:p>
        </p:txBody>
      </p:sp>
      <p:sp>
        <p:nvSpPr>
          <p:cNvPr id="19" name="Text Box 4"/>
          <p:cNvSpPr txBox="1">
            <a:spLocks noChangeArrowheads="1"/>
          </p:cNvSpPr>
          <p:nvPr userDrawn="1"/>
        </p:nvSpPr>
        <p:spPr bwMode="auto">
          <a:xfrm>
            <a:off x="9062174" y="1815926"/>
            <a:ext cx="2256615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så det slår igennem på alle slides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tast evt. tekst i sidefod)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1 Forøg formindsk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43464" y="2877130"/>
            <a:ext cx="549328" cy="285228"/>
          </a:xfrm>
          <a:prstGeom prst="rect">
            <a:avLst/>
          </a:prstGeom>
        </p:spPr>
      </p:pic>
      <p:pic>
        <p:nvPicPr>
          <p:cNvPr id="26" name="2 Ny slide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57383" y="3958874"/>
            <a:ext cx="363713" cy="647461"/>
          </a:xfrm>
          <a:prstGeom prst="rect">
            <a:avLst/>
          </a:prstGeom>
        </p:spPr>
      </p:pic>
      <p:pic>
        <p:nvPicPr>
          <p:cNvPr id="27" name="4 Nulsti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45551" y="5464557"/>
            <a:ext cx="547241" cy="197798"/>
          </a:xfrm>
          <a:prstGeom prst="rect">
            <a:avLst/>
          </a:prstGeom>
        </p:spPr>
      </p:pic>
      <p:pic>
        <p:nvPicPr>
          <p:cNvPr id="30" name="5 Indsæt billed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7195" y="2075087"/>
            <a:ext cx="262151" cy="256054"/>
          </a:xfrm>
          <a:prstGeom prst="rect">
            <a:avLst/>
          </a:prstGeom>
        </p:spPr>
      </p:pic>
      <p:pic>
        <p:nvPicPr>
          <p:cNvPr id="31" name="6 Beskær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29570" y="3095427"/>
            <a:ext cx="337400" cy="321707"/>
          </a:xfrm>
          <a:prstGeom prst="rect">
            <a:avLst/>
          </a:prstGeom>
        </p:spPr>
      </p:pic>
      <p:pic>
        <p:nvPicPr>
          <p:cNvPr id="32" name="7 Skalér billed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5349" y="3543401"/>
            <a:ext cx="359695" cy="335309"/>
          </a:xfrm>
          <a:prstGeom prst="rect">
            <a:avLst/>
          </a:prstGeom>
        </p:spPr>
      </p:pic>
      <p:pic>
        <p:nvPicPr>
          <p:cNvPr id="33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39595" y="3321050"/>
            <a:ext cx="199287" cy="192169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5349" y="2723498"/>
            <a:ext cx="595309" cy="350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2598691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 hidden="1"/>
          <p:cNvSpPr>
            <a:spLocks noGrp="1"/>
          </p:cNvSpPr>
          <p:nvPr>
            <p:ph type="dt" sz="half" idx="10"/>
          </p:nvPr>
        </p:nvSpPr>
        <p:spPr>
          <a:xfrm>
            <a:off x="13326565" y="6398800"/>
            <a:ext cx="2844800" cy="365125"/>
          </a:xfrm>
          <a:prstGeom prst="rect">
            <a:avLst/>
          </a:prstGeom>
        </p:spPr>
        <p:txBody>
          <a:bodyPr/>
          <a:lstStyle/>
          <a:p>
            <a:fld id="{F66CA07D-64E1-034A-8F24-0DAB39FC3D07}" type="datetime3">
              <a:t>08.06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FFC2FA75-A41F-AF45-B044-73D2FD7526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727" y="4365104"/>
            <a:ext cx="2251259" cy="540000"/>
          </a:xfrm>
        </p:spPr>
        <p:txBody>
          <a:bodyPr anchor="b" anchorCtr="0"/>
          <a:lstStyle>
            <a:lvl1pPr algn="r">
              <a:defRPr lang="da-DK" sz="1189" b="1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8" name="Pladsholder til tekst 4">
            <a:extLst>
              <a:ext uri="{FF2B5EF4-FFF2-40B4-BE49-F238E27FC236}">
                <a16:creationId xmlns:a16="http://schemas.microsoft.com/office/drawing/2014/main" id="{36D652E3-BAFC-964A-B2C9-1952C9AAF6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727" y="5173236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44E55857-C7BD-CD49-9DDF-FE95D8EE2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5936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454F0FB0-0930-E74E-8BCD-237833E2E8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727" y="4929433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4026471398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779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5936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5426B8D0-6451-734B-AB7E-3E8886D805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727" y="4365104"/>
            <a:ext cx="2251259" cy="540000"/>
          </a:xfrm>
        </p:spPr>
        <p:txBody>
          <a:bodyPr anchor="b" anchorCtr="0"/>
          <a:lstStyle>
            <a:lvl1pPr algn="r">
              <a:defRPr lang="da-DK" sz="1189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7576BDBF-B923-3D47-9E0B-2061C34A06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727" y="5173236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F56EFBC7-2209-6D48-B526-57ABE1AC4C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727" y="4929433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1982093426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2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779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5936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5426B8D0-6451-734B-AB7E-3E8886D805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727" y="4365104"/>
            <a:ext cx="2251259" cy="540000"/>
          </a:xfrm>
        </p:spPr>
        <p:txBody>
          <a:bodyPr anchor="b" anchorCtr="0"/>
          <a:lstStyle>
            <a:lvl1pPr algn="r">
              <a:defRPr lang="da-DK" sz="1189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7576BDBF-B923-3D47-9E0B-2061C34A06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727" y="5173236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F56EFBC7-2209-6D48-B526-57ABE1AC4C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727" y="4929433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2999077612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33" y="61"/>
            <a:ext cx="12191999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779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6" name="Titel 10">
            <a:extLst>
              <a:ext uri="{FF2B5EF4-FFF2-40B4-BE49-F238E27FC236}">
                <a16:creationId xmlns:a16="http://schemas.microsoft.com/office/drawing/2014/main" id="{A618B4AE-9447-C943-8C77-78BA514BB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5936">
                <a:solidFill>
                  <a:schemeClr val="accent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42B49B3D-4866-474E-B5F1-BC5836BAAD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727" y="4365104"/>
            <a:ext cx="2251259" cy="540000"/>
          </a:xfrm>
        </p:spPr>
        <p:txBody>
          <a:bodyPr anchor="b" anchorCtr="0"/>
          <a:lstStyle>
            <a:lvl1pPr algn="r">
              <a:defRPr lang="da-DK" sz="1189" b="1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3" name="Pladsholder til tekst 4">
            <a:extLst>
              <a:ext uri="{FF2B5EF4-FFF2-40B4-BE49-F238E27FC236}">
                <a16:creationId xmlns:a16="http://schemas.microsoft.com/office/drawing/2014/main" id="{28B61AEC-F957-7E4A-8764-380FB29C31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727" y="5173236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5" name="Pladsholder til tekst 4">
            <a:extLst>
              <a:ext uri="{FF2B5EF4-FFF2-40B4-BE49-F238E27FC236}">
                <a16:creationId xmlns:a16="http://schemas.microsoft.com/office/drawing/2014/main" id="{240A9312-A4D3-6C4C-9289-47F9CFB5DE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727" y="4929433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3578872691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mørk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61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989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mørkt billede, via fanen Indsæt, Billeder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B7F9C7AC-DC81-ED40-9796-33611B5DB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5936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0FE724D6-0010-3743-B773-F1E842B91E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727" y="4365104"/>
            <a:ext cx="2251259" cy="540000"/>
          </a:xfrm>
        </p:spPr>
        <p:txBody>
          <a:bodyPr anchor="b" anchorCtr="0"/>
          <a:lstStyle>
            <a:lvl1pPr algn="r">
              <a:defRPr lang="da-DK" sz="1189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0" name="Pladsholder til tekst 4">
            <a:extLst>
              <a:ext uri="{FF2B5EF4-FFF2-40B4-BE49-F238E27FC236}">
                <a16:creationId xmlns:a16="http://schemas.microsoft.com/office/drawing/2014/main" id="{BE265931-DAC6-D44C-A798-75A6AEDB7B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727" y="5173236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3A38A144-48BD-4840-B806-50FD592F2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727" y="4929433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1785323129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lys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61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989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lyst billede, via fanen Indsæt, Billeder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0D1A318C-794C-8F43-BB2A-5B5C17C66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5936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E2DB6ED-3774-F147-BC5B-CBB2C762BF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727" y="4365104"/>
            <a:ext cx="2251259" cy="540000"/>
          </a:xfrm>
        </p:spPr>
        <p:txBody>
          <a:bodyPr anchor="b" anchorCtr="0"/>
          <a:lstStyle>
            <a:lvl1pPr algn="r">
              <a:defRPr lang="da-DK" sz="1189" b="1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0" name="Pladsholder til tekst 4">
            <a:extLst>
              <a:ext uri="{FF2B5EF4-FFF2-40B4-BE49-F238E27FC236}">
                <a16:creationId xmlns:a16="http://schemas.microsoft.com/office/drawing/2014/main" id="{243ED9BF-2A3C-6049-A1E1-AB5D7B574C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727" y="5173236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5C5A113F-50FD-ED43-8C56-0A78605B7F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727" y="4929433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3957817835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gsorde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2C2D31F3-CACE-E542-8D63-F51828BAB7CB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51718" y="1557867"/>
            <a:ext cx="5083772" cy="3742267"/>
          </a:xfrm>
        </p:spPr>
        <p:txBody>
          <a:bodyPr anchor="ctr"/>
          <a:lstStyle>
            <a:lvl1pPr marL="0" marR="0" indent="0" algn="l" defTabSz="904153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04153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  <p:sp>
        <p:nvSpPr>
          <p:cNvPr id="9" name="Pladsholder til tabel 3">
            <a:extLst>
              <a:ext uri="{FF2B5EF4-FFF2-40B4-BE49-F238E27FC236}">
                <a16:creationId xmlns:a16="http://schemas.microsoft.com/office/drawing/2014/main" id="{552EDF94-9408-1844-A084-BB4D7A171B0D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5863" y="1557867"/>
            <a:ext cx="5083772" cy="3742267"/>
          </a:xfrm>
        </p:spPr>
        <p:txBody>
          <a:bodyPr anchor="ctr"/>
          <a:lstStyle>
            <a:lvl1pPr marL="0" marR="0" indent="0" algn="l" defTabSz="904153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04153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</p:spTree>
    <p:extLst>
      <p:ext uri="{BB962C8B-B14F-4D97-AF65-F5344CB8AC3E}">
        <p14:creationId xmlns:p14="http://schemas.microsoft.com/office/powerpoint/2010/main" val="3413989142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7" name="Pladsholder til tekst 2">
            <a:extLst>
              <a:ext uri="{FF2B5EF4-FFF2-40B4-BE49-F238E27FC236}">
                <a16:creationId xmlns:a16="http://schemas.microsoft.com/office/drawing/2014/main" id="{2B905F23-B72E-2848-8F49-90F1C7478C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58660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41727044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høj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6456459" y="61"/>
            <a:ext cx="5084499" cy="6081713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77A5E23-3409-F646-BCD4-73EEB471E1DF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34303365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venst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74AD5B-8FEC-8D44-AC75-C1F527063C07}" type="datetime3">
              <a:t>08.06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56456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9489" y="61"/>
            <a:ext cx="5083775" cy="6081713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489" y="779463"/>
            <a:ext cx="5084497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4119565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ikkerhe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pic>
        <p:nvPicPr>
          <p:cNvPr id="6" name="Billed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3086" y="2146300"/>
            <a:ext cx="1655064" cy="1636776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50507" y="2146300"/>
            <a:ext cx="1655064" cy="1636776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7928" y="2146300"/>
            <a:ext cx="1655064" cy="1636776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5665" y="2146300"/>
            <a:ext cx="1655064" cy="1636776"/>
          </a:xfrm>
          <a:prstGeom prst="rect">
            <a:avLst/>
          </a:prstGeom>
        </p:spPr>
      </p:pic>
      <p:sp>
        <p:nvSpPr>
          <p:cNvPr id="10" name="Tekstfelt 9"/>
          <p:cNvSpPr txBox="1"/>
          <p:nvPr userDrawn="1"/>
        </p:nvSpPr>
        <p:spPr>
          <a:xfrm>
            <a:off x="1555054" y="4057651"/>
            <a:ext cx="207397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IKKERHEDSGUIDE</a:t>
            </a:r>
          </a:p>
          <a:p>
            <a:endParaRPr lang="da-DK" sz="2000" dirty="0" err="1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1" name="Tekstfelt 10"/>
          <p:cNvSpPr txBox="1"/>
          <p:nvPr userDrawn="1"/>
        </p:nvSpPr>
        <p:spPr>
          <a:xfrm>
            <a:off x="4118517" y="4057651"/>
            <a:ext cx="166792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NØDUDGANGE</a:t>
            </a:r>
          </a:p>
        </p:txBody>
      </p:sp>
      <p:sp>
        <p:nvSpPr>
          <p:cNvPr id="12" name="Tekstfelt 11"/>
          <p:cNvSpPr txBox="1"/>
          <p:nvPr userDrawn="1"/>
        </p:nvSpPr>
        <p:spPr>
          <a:xfrm>
            <a:off x="6188773" y="4057651"/>
            <a:ext cx="20739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HJERTESTARTER</a:t>
            </a:r>
          </a:p>
        </p:txBody>
      </p:sp>
      <p:sp>
        <p:nvSpPr>
          <p:cNvPr id="13" name="Tekstfelt 12"/>
          <p:cNvSpPr txBox="1"/>
          <p:nvPr userDrawn="1"/>
        </p:nvSpPr>
        <p:spPr>
          <a:xfrm>
            <a:off x="8674803" y="4057651"/>
            <a:ext cx="18645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AMLINGSSTED</a:t>
            </a:r>
          </a:p>
        </p:txBody>
      </p:sp>
    </p:spTree>
    <p:extLst>
      <p:ext uri="{BB962C8B-B14F-4D97-AF65-F5344CB8AC3E}">
        <p14:creationId xmlns:p14="http://schemas.microsoft.com/office/powerpoint/2010/main" val="4281735566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15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48" y="4868333"/>
            <a:ext cx="10890249" cy="1212851"/>
          </a:xfrm>
        </p:spPr>
        <p:txBody>
          <a:bodyPr anchor="ctr" anchorCtr="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1771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56294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00025140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15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48" y="4868333"/>
            <a:ext cx="10890249" cy="1212851"/>
          </a:xfrm>
        </p:spPr>
        <p:txBody>
          <a:bodyPr anchor="ctr" anchorCtr="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 rot="5400000">
            <a:off x="3097647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1771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56294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Højrepil 7">
            <a:extLst>
              <a:ext uri="{FF2B5EF4-FFF2-40B4-BE49-F238E27FC236}">
                <a16:creationId xmlns:a16="http://schemas.microsoft.com/office/drawing/2014/main" id="{75257325-A8A5-DD44-BA20-840B4FC669FE}"/>
              </a:ext>
            </a:extLst>
          </p:cNvPr>
          <p:cNvSpPr/>
          <p:nvPr userDrawn="1"/>
        </p:nvSpPr>
        <p:spPr>
          <a:xfrm rot="5400000">
            <a:off x="8902170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</p:spTree>
    <p:extLst>
      <p:ext uri="{BB962C8B-B14F-4D97-AF65-F5344CB8AC3E}">
        <p14:creationId xmlns:p14="http://schemas.microsoft.com/office/powerpoint/2010/main" val="3495756850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15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48" y="4868333"/>
            <a:ext cx="10890249" cy="1212851"/>
          </a:xfrm>
        </p:spPr>
        <p:txBody>
          <a:bodyPr anchor="ctr" anchorCtr="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5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63927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0940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406429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7925423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</p:spTree>
    <p:extLst>
      <p:ext uri="{BB962C8B-B14F-4D97-AF65-F5344CB8AC3E}">
        <p14:creationId xmlns:p14="http://schemas.microsoft.com/office/powerpoint/2010/main" val="3133035039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15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48" y="4868333"/>
            <a:ext cx="10890249" cy="1212851"/>
          </a:xfrm>
        </p:spPr>
        <p:txBody>
          <a:bodyPr anchor="ctr" anchorCtr="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5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63927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0940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2137804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11" name="Højrepil 10">
            <a:extLst>
              <a:ext uri="{FF2B5EF4-FFF2-40B4-BE49-F238E27FC236}">
                <a16:creationId xmlns:a16="http://schemas.microsoft.com/office/drawing/2014/main" id="{BD0089C5-39E9-C745-A39F-3CD7D32908D7}"/>
              </a:ext>
            </a:extLst>
          </p:cNvPr>
          <p:cNvSpPr/>
          <p:nvPr userDrawn="1"/>
        </p:nvSpPr>
        <p:spPr>
          <a:xfrm rot="5400000">
            <a:off x="5998930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1B398A9-5D04-164D-BB75-5BFDF2E7EB1A}"/>
              </a:ext>
            </a:extLst>
          </p:cNvPr>
          <p:cNvSpPr/>
          <p:nvPr userDrawn="1"/>
        </p:nvSpPr>
        <p:spPr>
          <a:xfrm rot="5400000">
            <a:off x="9851916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</p:spTree>
    <p:extLst>
      <p:ext uri="{BB962C8B-B14F-4D97-AF65-F5344CB8AC3E}">
        <p14:creationId xmlns:p14="http://schemas.microsoft.com/office/powerpoint/2010/main" val="752745354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15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48" y="4868333"/>
            <a:ext cx="10890249" cy="1212851"/>
          </a:xfrm>
        </p:spPr>
        <p:txBody>
          <a:bodyPr anchor="ctr" anchorCtr="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47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2730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67475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85102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3181302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881655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</p:spTree>
    <p:extLst>
      <p:ext uri="{BB962C8B-B14F-4D97-AF65-F5344CB8AC3E}">
        <p14:creationId xmlns:p14="http://schemas.microsoft.com/office/powerpoint/2010/main" val="3101330350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15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48" y="4868333"/>
            <a:ext cx="10890249" cy="1212851"/>
          </a:xfrm>
        </p:spPr>
        <p:txBody>
          <a:bodyPr anchor="ctr" anchorCtr="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47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  <a:ln w="6350">
            <a:noFill/>
          </a:ln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2730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67475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85102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1723571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F819482-7C14-7E43-A620-0B19F87364BA}"/>
              </a:ext>
            </a:extLst>
          </p:cNvPr>
          <p:cNvSpPr/>
          <p:nvPr userDrawn="1"/>
        </p:nvSpPr>
        <p:spPr>
          <a:xfrm rot="5400000">
            <a:off x="4541199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15" name="Højrepil 14">
            <a:extLst>
              <a:ext uri="{FF2B5EF4-FFF2-40B4-BE49-F238E27FC236}">
                <a16:creationId xmlns:a16="http://schemas.microsoft.com/office/drawing/2014/main" id="{29E70971-7A29-5B45-99ED-430CD18479DF}"/>
              </a:ext>
            </a:extLst>
          </p:cNvPr>
          <p:cNvSpPr/>
          <p:nvPr userDrawn="1"/>
        </p:nvSpPr>
        <p:spPr>
          <a:xfrm rot="5400000">
            <a:off x="7358827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16" name="Højrepil 15">
            <a:extLst>
              <a:ext uri="{FF2B5EF4-FFF2-40B4-BE49-F238E27FC236}">
                <a16:creationId xmlns:a16="http://schemas.microsoft.com/office/drawing/2014/main" id="{BEF88CB5-A1ED-2746-A344-31420505FA3C}"/>
              </a:ext>
            </a:extLst>
          </p:cNvPr>
          <p:cNvSpPr/>
          <p:nvPr userDrawn="1"/>
        </p:nvSpPr>
        <p:spPr>
          <a:xfrm rot="5400000">
            <a:off x="10176454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</p:spTree>
    <p:extLst>
      <p:ext uri="{BB962C8B-B14F-4D97-AF65-F5344CB8AC3E}">
        <p14:creationId xmlns:p14="http://schemas.microsoft.com/office/powerpoint/2010/main" val="8743424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14831" y="1557340"/>
            <a:ext cx="9362339" cy="3743325"/>
          </a:xfrm>
        </p:spPr>
        <p:txBody>
          <a:bodyPr tIns="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975288134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m iko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14831" y="779638"/>
            <a:ext cx="9362339" cy="4521087"/>
          </a:xfrm>
        </p:spPr>
        <p:txBody>
          <a:bodyPr tIns="108000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9E642AAF-364D-7D43-9F2A-A9F9E4874C3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195795" y="779576"/>
            <a:ext cx="1800469" cy="1800000"/>
          </a:xfrm>
        </p:spPr>
        <p:txBody>
          <a:bodyPr tIns="612000" anchor="ctr" anchorCtr="0"/>
          <a:lstStyle>
            <a:lvl1pPr algn="ctr"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3570616714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B03487C-BD18-0048-9D0F-3C1D2ED597B4}" type="datetime3">
              <a:t>08.06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89" y="2204874"/>
            <a:ext cx="3240844" cy="876513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81868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42" y="2204874"/>
            <a:ext cx="3240844" cy="876513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609" y="2204874"/>
            <a:ext cx="3240844" cy="876513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>
            <a:extLst>
              <a:ext uri="{FF2B5EF4-FFF2-40B4-BE49-F238E27FC236}">
                <a16:creationId xmlns:a16="http://schemas.microsoft.com/office/drawing/2014/main" id="{C48F51AF-EE09-7640-985D-49A9AACC625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4480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9" name="Pladsholder til billede 3">
            <a:extLst>
              <a:ext uri="{FF2B5EF4-FFF2-40B4-BE49-F238E27FC236}">
                <a16:creationId xmlns:a16="http://schemas.microsoft.com/office/drawing/2014/main" id="{48734797-E8DF-014D-A55D-6BF430204DE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47092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7FD11B2D-4CCA-B241-84AE-FEEE1ABA1A4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9489" y="4869166"/>
            <a:ext cx="3240844" cy="876513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569D038D-5624-EF47-A522-C6916B347C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818680" y="3892240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305F192E-8164-454B-A226-E3A490C19B2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00142" y="4869166"/>
            <a:ext cx="3240844" cy="876513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4" name="Pladsholder til tekst 2">
            <a:extLst>
              <a:ext uri="{FF2B5EF4-FFF2-40B4-BE49-F238E27FC236}">
                <a16:creationId xmlns:a16="http://schemas.microsoft.com/office/drawing/2014/main" id="{29618506-C79D-9843-8CE5-115DF2F55A7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75609" y="4869166"/>
            <a:ext cx="3240844" cy="876513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EC2F9887-080D-2746-ACBF-1B62B1DAE9F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644800" y="3896363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5502AEEC-30C1-FC48-BEC4-560AB09C51C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469333" y="3892240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3209590260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B1EC739-852F-EE44-8C9C-01284F54EED3}" type="datetime3">
              <a:t>08.06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89" y="3645025"/>
            <a:ext cx="3240844" cy="2436691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42" y="3645024"/>
            <a:ext cx="3240844" cy="2436691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609" y="3645024"/>
            <a:ext cx="3240844" cy="2436691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Pladsholder til billede 3">
            <a:extLst>
              <a:ext uri="{FF2B5EF4-FFF2-40B4-BE49-F238E27FC236}">
                <a16:creationId xmlns:a16="http://schemas.microsoft.com/office/drawing/2014/main" id="{BE374975-7548-DB43-B322-B05C57DFC86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4" name="Pladsholder til billede 3">
            <a:extLst>
              <a:ext uri="{FF2B5EF4-FFF2-40B4-BE49-F238E27FC236}">
                <a16:creationId xmlns:a16="http://schemas.microsoft.com/office/drawing/2014/main" id="{4DCAFDAA-8A78-CD42-932F-D2E25057BF2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F5603915-428E-3A4A-8A34-A63E0C91CB5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23073741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kst og bille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7555345" y="0"/>
            <a:ext cx="4636655" cy="6858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/>
              <a:t>Træk billede til pladsholder eller klik på symbol for at tilføje billed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7555345" cy="685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58814" y="1196976"/>
            <a:ext cx="666852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52739"/>
            <a:ext cx="6685672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indsætte brødtekst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05915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61"/>
            <a:ext cx="12192000" cy="608171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340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89" y="3645025"/>
            <a:ext cx="3240844" cy="2436691"/>
          </a:xfrm>
        </p:spPr>
        <p:txBody>
          <a:bodyPr anchor="t" anchorCtr="0"/>
          <a:lstStyle>
            <a:lvl1pPr algn="ctr">
              <a:defRPr sz="1579">
                <a:solidFill>
                  <a:schemeClr val="bg1"/>
                </a:solidFill>
              </a:defRPr>
            </a:lvl1pPr>
            <a:lvl2pPr algn="ctr">
              <a:defRPr sz="1579">
                <a:solidFill>
                  <a:schemeClr val="bg1"/>
                </a:solidFill>
              </a:defRPr>
            </a:lvl2pPr>
            <a:lvl3pPr algn="ctr">
              <a:defRPr sz="1579">
                <a:solidFill>
                  <a:schemeClr val="bg1"/>
                </a:solidFill>
              </a:defRPr>
            </a:lvl3pPr>
            <a:lvl4pPr algn="ctr">
              <a:defRPr sz="1579">
                <a:solidFill>
                  <a:schemeClr val="bg1"/>
                </a:solidFill>
              </a:defRPr>
            </a:lvl4pPr>
            <a:lvl5pPr algn="ctr">
              <a:defRPr sz="1579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42" y="3645024"/>
            <a:ext cx="3240844" cy="2436691"/>
          </a:xfrm>
        </p:spPr>
        <p:txBody>
          <a:bodyPr anchor="t" anchorCtr="0"/>
          <a:lstStyle>
            <a:lvl1pPr algn="ctr">
              <a:defRPr sz="1579">
                <a:solidFill>
                  <a:schemeClr val="bg1"/>
                </a:solidFill>
              </a:defRPr>
            </a:lvl1pPr>
            <a:lvl2pPr algn="ctr">
              <a:defRPr sz="1579">
                <a:solidFill>
                  <a:schemeClr val="bg1"/>
                </a:solidFill>
              </a:defRPr>
            </a:lvl2pPr>
            <a:lvl3pPr algn="ctr">
              <a:defRPr sz="1579">
                <a:solidFill>
                  <a:schemeClr val="bg1"/>
                </a:solidFill>
              </a:defRPr>
            </a:lvl3pPr>
            <a:lvl4pPr algn="ctr">
              <a:defRPr sz="1579">
                <a:solidFill>
                  <a:schemeClr val="bg1"/>
                </a:solidFill>
              </a:defRPr>
            </a:lvl4pPr>
            <a:lvl5pPr algn="ctr">
              <a:defRPr sz="1579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609" y="3645024"/>
            <a:ext cx="3240844" cy="2436691"/>
          </a:xfrm>
        </p:spPr>
        <p:txBody>
          <a:bodyPr anchor="t" anchorCtr="0"/>
          <a:lstStyle>
            <a:lvl1pPr algn="ctr">
              <a:defRPr sz="1579">
                <a:solidFill>
                  <a:schemeClr val="bg1"/>
                </a:solidFill>
              </a:defRPr>
            </a:lvl1pPr>
            <a:lvl2pPr algn="ctr">
              <a:defRPr sz="1579">
                <a:solidFill>
                  <a:schemeClr val="bg1"/>
                </a:solidFill>
              </a:defRPr>
            </a:lvl2pPr>
            <a:lvl3pPr algn="ctr">
              <a:defRPr sz="1579">
                <a:solidFill>
                  <a:schemeClr val="bg1"/>
                </a:solidFill>
              </a:defRPr>
            </a:lvl3pPr>
            <a:lvl4pPr algn="ctr">
              <a:defRPr sz="1579">
                <a:solidFill>
                  <a:schemeClr val="bg1"/>
                </a:solidFill>
              </a:defRPr>
            </a:lvl4pPr>
            <a:lvl5pPr algn="ctr">
              <a:defRPr sz="1579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B0893C6-87C9-7F41-B621-3BE80FDFE46D}" type="datetime3">
              <a:t>08.06.2023</a:t>
            </a:fld>
            <a:endParaRPr lang="da-DK" dirty="0"/>
          </a:p>
        </p:txBody>
      </p:sp>
      <p:sp>
        <p:nvSpPr>
          <p:cNvPr id="11" name="Pladsholder til billede 3">
            <a:extLst>
              <a:ext uri="{FF2B5EF4-FFF2-40B4-BE49-F238E27FC236}">
                <a16:creationId xmlns:a16="http://schemas.microsoft.com/office/drawing/2014/main" id="{E0700900-EA42-9240-82A1-A3E92F01B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C06FFD9D-DB0A-2E49-8AA3-80E9DC64473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425A97FC-E0D2-714A-BD6F-6A5564969C2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4174625970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61"/>
            <a:ext cx="12192000" cy="608171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340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89" y="3645025"/>
            <a:ext cx="3240844" cy="2436691"/>
          </a:xfrm>
        </p:spPr>
        <p:txBody>
          <a:bodyPr anchor="t" anchorCtr="0"/>
          <a:lstStyle>
            <a:lvl1pPr algn="ctr">
              <a:defRPr sz="1579">
                <a:solidFill>
                  <a:schemeClr val="bg1"/>
                </a:solidFill>
              </a:defRPr>
            </a:lvl1pPr>
            <a:lvl2pPr algn="ctr">
              <a:defRPr sz="1579">
                <a:solidFill>
                  <a:schemeClr val="bg1"/>
                </a:solidFill>
              </a:defRPr>
            </a:lvl2pPr>
            <a:lvl3pPr algn="ctr">
              <a:defRPr sz="1579">
                <a:solidFill>
                  <a:schemeClr val="bg1"/>
                </a:solidFill>
              </a:defRPr>
            </a:lvl3pPr>
            <a:lvl4pPr algn="ctr">
              <a:defRPr sz="1579">
                <a:solidFill>
                  <a:schemeClr val="bg1"/>
                </a:solidFill>
              </a:defRPr>
            </a:lvl4pPr>
            <a:lvl5pPr algn="ctr">
              <a:defRPr sz="1579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42" y="3645024"/>
            <a:ext cx="3240844" cy="2436691"/>
          </a:xfrm>
        </p:spPr>
        <p:txBody>
          <a:bodyPr anchor="t" anchorCtr="0"/>
          <a:lstStyle>
            <a:lvl1pPr algn="ctr">
              <a:defRPr sz="1579">
                <a:solidFill>
                  <a:schemeClr val="bg1"/>
                </a:solidFill>
              </a:defRPr>
            </a:lvl1pPr>
            <a:lvl2pPr algn="ctr">
              <a:defRPr sz="1579">
                <a:solidFill>
                  <a:schemeClr val="bg1"/>
                </a:solidFill>
              </a:defRPr>
            </a:lvl2pPr>
            <a:lvl3pPr algn="ctr">
              <a:defRPr sz="1579">
                <a:solidFill>
                  <a:schemeClr val="bg1"/>
                </a:solidFill>
              </a:defRPr>
            </a:lvl3pPr>
            <a:lvl4pPr algn="ctr">
              <a:defRPr sz="1579">
                <a:solidFill>
                  <a:schemeClr val="bg1"/>
                </a:solidFill>
              </a:defRPr>
            </a:lvl4pPr>
            <a:lvl5pPr algn="ctr">
              <a:defRPr sz="1579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609" y="3645024"/>
            <a:ext cx="3240844" cy="2436691"/>
          </a:xfrm>
        </p:spPr>
        <p:txBody>
          <a:bodyPr anchor="t" anchorCtr="0"/>
          <a:lstStyle>
            <a:lvl1pPr algn="ctr">
              <a:defRPr sz="1579">
                <a:solidFill>
                  <a:schemeClr val="bg1"/>
                </a:solidFill>
              </a:defRPr>
            </a:lvl1pPr>
            <a:lvl2pPr algn="ctr">
              <a:defRPr sz="1579">
                <a:solidFill>
                  <a:schemeClr val="bg1"/>
                </a:solidFill>
              </a:defRPr>
            </a:lvl2pPr>
            <a:lvl3pPr algn="ctr">
              <a:defRPr sz="1579">
                <a:solidFill>
                  <a:schemeClr val="bg1"/>
                </a:solidFill>
              </a:defRPr>
            </a:lvl3pPr>
            <a:lvl4pPr algn="ctr">
              <a:defRPr sz="1579">
                <a:solidFill>
                  <a:schemeClr val="bg1"/>
                </a:solidFill>
              </a:defRPr>
            </a:lvl4pPr>
            <a:lvl5pPr algn="ctr">
              <a:defRPr sz="1579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B0893C6-87C9-7F41-B621-3BE80FDFE46D}" type="datetime3">
              <a:t>08.06.2023</a:t>
            </a:fld>
            <a:endParaRPr lang="da-DK" dirty="0"/>
          </a:p>
        </p:txBody>
      </p:sp>
      <p:sp>
        <p:nvSpPr>
          <p:cNvPr id="11" name="Pladsholder til billede 3">
            <a:extLst>
              <a:ext uri="{FF2B5EF4-FFF2-40B4-BE49-F238E27FC236}">
                <a16:creationId xmlns:a16="http://schemas.microsoft.com/office/drawing/2014/main" id="{E0700900-EA42-9240-82A1-A3E92F01B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C06FFD9D-DB0A-2E49-8AA3-80E9DC64473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425A97FC-E0D2-714A-BD6F-6A5564969C2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3173465082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B5CEAD66-5979-CB42-BDA1-48A3ABB5B93E}"/>
              </a:ext>
            </a:extLst>
          </p:cNvPr>
          <p:cNvSpPr/>
          <p:nvPr userDrawn="1"/>
        </p:nvSpPr>
        <p:spPr>
          <a:xfrm>
            <a:off x="0" y="61"/>
            <a:ext cx="12192000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340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89" y="3645025"/>
            <a:ext cx="3240844" cy="2436691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42" y="3645024"/>
            <a:ext cx="3240844" cy="2436691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609" y="3645024"/>
            <a:ext cx="3240844" cy="2436691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08CA1D-70A7-A240-8844-C946C6445AB0}" type="datetime3">
              <a:t>08.06.2023</a:t>
            </a:fld>
            <a:endParaRPr lang="da-DK" dirty="0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4C31B2DC-2512-6945-A2FF-C091351FA53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E0862E28-9EF0-F041-A943-357CA9977BB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7" name="Pladsholder til billede 3">
            <a:extLst>
              <a:ext uri="{FF2B5EF4-FFF2-40B4-BE49-F238E27FC236}">
                <a16:creationId xmlns:a16="http://schemas.microsoft.com/office/drawing/2014/main" id="{33E1156E-39E4-CB4A-819D-9293C065C5E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1965872752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C25E9A2-3CD6-B841-BB4B-7865D9175DAE}" type="datetime3">
              <a:t>08.06.2023</a:t>
            </a:fld>
            <a:endParaRPr lang="da-DK" dirty="0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86" y="1557867"/>
            <a:ext cx="5084500" cy="4523847"/>
          </a:xfrm>
          <a:noFill/>
        </p:spPr>
        <p:txBody>
          <a:bodyPr vert="horz" lIns="0" tIns="612000" anchor="ctr" anchorCtr="0"/>
          <a:lstStyle>
            <a:lvl1pPr algn="ctr"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18" y="779463"/>
            <a:ext cx="5083857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B8B704C-C3C0-104D-B9FE-A0C35400DC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64" y="778933"/>
            <a:ext cx="5084233" cy="467784"/>
          </a:xfrm>
        </p:spPr>
        <p:txBody>
          <a:bodyPr/>
          <a:lstStyle>
            <a:lvl1pPr algn="r">
              <a:defRPr sz="1323"/>
            </a:lvl1pPr>
            <a:lvl2pPr algn="r">
              <a:defRPr sz="1323"/>
            </a:lvl2pPr>
            <a:lvl3pPr algn="r">
              <a:defRPr sz="1323"/>
            </a:lvl3pPr>
            <a:lvl4pPr algn="r">
              <a:defRPr sz="1323"/>
            </a:lvl4pPr>
            <a:lvl5pPr algn="r">
              <a:defRPr sz="132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264596831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340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86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18" y="779463"/>
            <a:ext cx="5083857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C89AC91-4FCC-EF49-BA41-9CB46A9F1DD9}" type="datetime3">
              <a:t>08.06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64" y="778933"/>
            <a:ext cx="5084233" cy="467784"/>
          </a:xfrm>
        </p:spPr>
        <p:txBody>
          <a:bodyPr/>
          <a:lstStyle>
            <a:lvl1pPr algn="r">
              <a:defRPr sz="1323">
                <a:solidFill>
                  <a:schemeClr val="bg1"/>
                </a:solidFill>
              </a:defRPr>
            </a:lvl1pPr>
            <a:lvl2pPr algn="r">
              <a:defRPr sz="1323">
                <a:solidFill>
                  <a:schemeClr val="bg1"/>
                </a:solidFill>
              </a:defRPr>
            </a:lvl2pPr>
            <a:lvl3pPr algn="r">
              <a:defRPr sz="1323">
                <a:solidFill>
                  <a:schemeClr val="bg1"/>
                </a:solidFill>
              </a:defRPr>
            </a:lvl3pPr>
            <a:lvl4pPr algn="r">
              <a:defRPr sz="1323">
                <a:solidFill>
                  <a:schemeClr val="bg1"/>
                </a:solidFill>
              </a:defRPr>
            </a:lvl4pPr>
            <a:lvl5pPr algn="r"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4190264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340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86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18" y="779463"/>
            <a:ext cx="5083857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C89AC91-4FCC-EF49-BA41-9CB46A9F1DD9}" type="datetime3">
              <a:t>08.06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64" y="778933"/>
            <a:ext cx="5084233" cy="467784"/>
          </a:xfrm>
        </p:spPr>
        <p:txBody>
          <a:bodyPr/>
          <a:lstStyle>
            <a:lvl1pPr algn="r">
              <a:defRPr sz="1323">
                <a:solidFill>
                  <a:schemeClr val="bg1"/>
                </a:solidFill>
              </a:defRPr>
            </a:lvl1pPr>
            <a:lvl2pPr algn="r">
              <a:defRPr sz="1323">
                <a:solidFill>
                  <a:schemeClr val="bg1"/>
                </a:solidFill>
              </a:defRPr>
            </a:lvl2pPr>
            <a:lvl3pPr algn="r">
              <a:defRPr sz="1323">
                <a:solidFill>
                  <a:schemeClr val="bg1"/>
                </a:solidFill>
              </a:defRPr>
            </a:lvl3pPr>
            <a:lvl4pPr algn="r">
              <a:defRPr sz="1323">
                <a:solidFill>
                  <a:schemeClr val="bg1"/>
                </a:solidFill>
              </a:defRPr>
            </a:lvl4pPr>
            <a:lvl5pPr algn="r"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7829873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340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86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8D264B-0937-A140-ABAC-40D682193E49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6883171-03D4-FA47-9204-9F3A686B1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763EDBD3-33CC-B34A-8855-2882F1E498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64" y="778933"/>
            <a:ext cx="5084233" cy="467784"/>
          </a:xfrm>
        </p:spPr>
        <p:txBody>
          <a:bodyPr/>
          <a:lstStyle>
            <a:lvl1pPr algn="r">
              <a:defRPr sz="1323"/>
            </a:lvl1pPr>
            <a:lvl2pPr algn="r">
              <a:defRPr sz="1323"/>
            </a:lvl2pPr>
            <a:lvl3pPr algn="r">
              <a:defRPr sz="1323"/>
            </a:lvl3pPr>
            <a:lvl4pPr algn="r">
              <a:defRPr sz="1323"/>
            </a:lvl4pPr>
            <a:lvl5pPr algn="r">
              <a:defRPr sz="132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3980203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C25E9A2-3CD6-B841-BB4B-7865D9175DAE}" type="datetime3">
              <a:t>08.06.2023</a:t>
            </a:fld>
            <a:endParaRPr lang="da-DK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18" y="779463"/>
            <a:ext cx="5804145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iagram 2">
            <a:extLst>
              <a:ext uri="{FF2B5EF4-FFF2-40B4-BE49-F238E27FC236}">
                <a16:creationId xmlns:a16="http://schemas.microsoft.com/office/drawing/2014/main" id="{DE19A8A7-F159-AA41-A318-2F1E24433A73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49848" y="1557867"/>
            <a:ext cx="10890249" cy="4523317"/>
          </a:xfrm>
        </p:spPr>
        <p:txBody>
          <a:bodyPr/>
          <a:lstStyle>
            <a:lvl1pPr marL="0" marR="0" indent="0" algn="l" defTabSz="904153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04153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t diagram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725C3BD1-93AB-E34D-89B2-48C316ECDA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64" y="778933"/>
            <a:ext cx="5084233" cy="467784"/>
          </a:xfrm>
        </p:spPr>
        <p:txBody>
          <a:bodyPr/>
          <a:lstStyle>
            <a:lvl1pPr algn="r">
              <a:defRPr sz="1323"/>
            </a:lvl1pPr>
            <a:lvl2pPr algn="r">
              <a:defRPr sz="1323"/>
            </a:lvl2pPr>
            <a:lvl3pPr algn="r">
              <a:defRPr sz="1323"/>
            </a:lvl3pPr>
            <a:lvl4pPr algn="r">
              <a:defRPr sz="1323"/>
            </a:lvl4pPr>
            <a:lvl5pPr algn="r">
              <a:defRPr sz="132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849478300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149D3B-849F-0A4D-A824-3A8042197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080C5317-E351-3E4F-910E-18F821FD9BAC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/>
        <p:txBody>
          <a:bodyPr/>
          <a:lstStyle>
            <a:lvl1pPr marL="0" marR="0" indent="0" algn="l" defTabSz="904153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04153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30817218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16" y="779462"/>
            <a:ext cx="10889269" cy="5302251"/>
          </a:xfrm>
        </p:spPr>
        <p:txBody>
          <a:bodyPr anchor="ctr"/>
          <a:lstStyle>
            <a:lvl1pPr algn="ctr">
              <a:defRPr sz="5936">
                <a:solidFill>
                  <a:schemeClr val="bg2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14955565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Supergrafik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942999" cy="47810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96267" y="1575836"/>
            <a:ext cx="7823522" cy="1846264"/>
          </a:xfrm>
        </p:spPr>
        <p:txBody>
          <a:bodyPr anchor="b"/>
          <a:lstStyle>
            <a:lvl1pPr algn="l">
              <a:spcBef>
                <a:spcPts val="400"/>
              </a:spcBef>
              <a:defRPr sz="4800" baseline="0">
                <a:solidFill>
                  <a:schemeClr val="accent2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96267" y="3680864"/>
            <a:ext cx="7823522" cy="524933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None/>
              <a:defRPr sz="3300">
                <a:solidFill>
                  <a:schemeClr val="accent1"/>
                </a:solidFill>
              </a:defRPr>
            </a:lvl1pPr>
            <a:lvl2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2pPr>
            <a:lvl3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3pPr>
            <a:lvl4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4pPr>
            <a:lvl5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5pPr>
            <a:lvl6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6pPr>
            <a:lvl7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7pPr>
            <a:lvl8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8pPr>
            <a:lvl9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9pPr>
          </a:lstStyle>
          <a:p>
            <a:r>
              <a:rPr lang="da-DK" dirty="0"/>
              <a:t>Indsæt underoverskrift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37" y="4349729"/>
            <a:ext cx="7824075" cy="45878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i="1">
                <a:solidFill>
                  <a:schemeClr val="tx2">
                    <a:lumMod val="75000"/>
                  </a:schemeClr>
                </a:solidFill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buFont typeface="Arial" panose="020B0604020202020204" pitchFamily="34" charset="0"/>
              <a:buChar char="​"/>
              <a:defRPr sz="2400"/>
            </a:lvl3pPr>
            <a:lvl4pPr marL="0" indent="0">
              <a:buFont typeface="Arial" panose="020B0604020202020204" pitchFamily="34" charset="0"/>
              <a:buChar char="​"/>
              <a:defRPr sz="2400"/>
            </a:lvl4pPr>
            <a:lvl5pPr marL="0" indent="0">
              <a:buFont typeface="Arial" panose="020B0604020202020204" pitchFamily="34" charset="0"/>
              <a:buChar char="​"/>
              <a:defRPr sz="2400"/>
            </a:lvl5pPr>
            <a:lvl6pPr marL="0" indent="0">
              <a:buFont typeface="Arial" panose="020B0604020202020204" pitchFamily="34" charset="0"/>
              <a:buChar char="​"/>
              <a:defRPr sz="2400"/>
            </a:lvl6pPr>
            <a:lvl7pPr marL="0" indent="0">
              <a:buFont typeface="Arial" panose="020B0604020202020204" pitchFamily="34" charset="0"/>
              <a:buChar char="​"/>
              <a:defRPr sz="2400"/>
            </a:lvl7pPr>
            <a:lvl8pPr marL="0" indent="0">
              <a:buFont typeface="Arial" panose="020B0604020202020204" pitchFamily="34" charset="0"/>
              <a:buChar char="​"/>
              <a:defRPr sz="2400"/>
            </a:lvl8pPr>
          </a:lstStyle>
          <a:p>
            <a:pPr lvl="0"/>
            <a:r>
              <a:rPr lang="da-DK" dirty="0"/>
              <a:t>Indsæt navn og efternavn</a:t>
            </a:r>
          </a:p>
        </p:txBody>
      </p:sp>
    </p:spTree>
    <p:extLst>
      <p:ext uri="{BB962C8B-B14F-4D97-AF65-F5344CB8AC3E}">
        <p14:creationId xmlns:p14="http://schemas.microsoft.com/office/powerpoint/2010/main" val="1479616582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6BF9ADF-5782-FA46-A09C-46A4864FF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38582694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dias 02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3" hidden="1">
            <a:extLst>
              <a:ext uri="{FF2B5EF4-FFF2-40B4-BE49-F238E27FC236}">
                <a16:creationId xmlns:a16="http://schemas.microsoft.com/office/drawing/2014/main" id="{F3427B1F-E60B-49E2-91B8-3AB545B1F95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33">
                <a:noFill/>
              </a:defRPr>
            </a:lvl1pPr>
          </a:lstStyle>
          <a:p>
            <a:fld id="{EDC86D61-82C1-4285-9444-B8A9BB015370}" type="datetime4">
              <a:rPr lang="da-DK" smtClean="0"/>
              <a:t>23-06-08</a:t>
            </a:fld>
            <a:endParaRPr lang="da-DK" dirty="0"/>
          </a:p>
        </p:txBody>
      </p:sp>
      <p:sp>
        <p:nvSpPr>
          <p:cNvPr id="17" name="Footer Placeholder 4" hidden="1">
            <a:extLst>
              <a:ext uri="{FF2B5EF4-FFF2-40B4-BE49-F238E27FC236}">
                <a16:creationId xmlns:a16="http://schemas.microsoft.com/office/drawing/2014/main" id="{4F8EDED2-8FEC-48AA-8FC9-E54CC3FF90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33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8" name="Slide Number Placeholder 5" hidden="1">
            <a:extLst>
              <a:ext uri="{FF2B5EF4-FFF2-40B4-BE49-F238E27FC236}">
                <a16:creationId xmlns:a16="http://schemas.microsoft.com/office/drawing/2014/main" id="{55F025EF-65B2-41C9-AA94-AA23C5AE21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33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139" tIns="53139" rIns="53139" bIns="53139" rtlCol="0" anchor="ctr"/>
          <a:lstStyle/>
          <a:p>
            <a:pPr algn="ctr"/>
            <a:endParaRPr lang="da-DK" sz="1328" dirty="0" err="1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90" y="779463"/>
            <a:ext cx="7559740" cy="3072000"/>
          </a:xfrm>
        </p:spPr>
        <p:txBody>
          <a:bodyPr/>
          <a:lstStyle>
            <a:lvl1pPr>
              <a:defRPr sz="5987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3" name="Dynamisk navn" descr="{&quot;templafy&quot;:{&quot;id&quot;:&quot;0ef93fe0-27ab-49b1-af1c-5a637278cd48&quot;}}">
            <a:extLst>
              <a:ext uri="{FF2B5EF4-FFF2-40B4-BE49-F238E27FC236}">
                <a16:creationId xmlns:a16="http://schemas.microsoft.com/office/drawing/2014/main" id="{A027DB81-3A7A-40F0-B5B7-32EDD34F4605}"/>
              </a:ext>
            </a:extLst>
          </p:cNvPr>
          <p:cNvSpPr/>
          <p:nvPr userDrawn="1"/>
        </p:nvSpPr>
        <p:spPr>
          <a:xfrm>
            <a:off x="9289725" y="5173236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da-DK" sz="788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øren Lorenz Rask Søndergaard</a:t>
            </a:r>
          </a:p>
        </p:txBody>
      </p:sp>
      <p:sp>
        <p:nvSpPr>
          <p:cNvPr id="11" name="Dynamisk dato" descr="{&quot;templafy&quot;:{&quot;id&quot;:&quot;18b5a388-a09f-4bbd-98bd-87c82716c2ae&quot;}}">
            <a:extLst>
              <a:ext uri="{FF2B5EF4-FFF2-40B4-BE49-F238E27FC236}">
                <a16:creationId xmlns:a16="http://schemas.microsoft.com/office/drawing/2014/main" id="{6AEBFCBC-A09F-4752-B45B-B76525FC41F8}"/>
              </a:ext>
            </a:extLst>
          </p:cNvPr>
          <p:cNvSpPr/>
          <p:nvPr userDrawn="1"/>
        </p:nvSpPr>
        <p:spPr>
          <a:xfrm>
            <a:off x="9290987" y="4929433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da-DK" sz="788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8. juni 2023</a:t>
            </a:r>
          </a:p>
        </p:txBody>
      </p:sp>
      <p:sp>
        <p:nvSpPr>
          <p:cNvPr id="12" name="Dynamisk event" descr="{&quot;templafy&quot;:{&quot;id&quot;:&quot;9354bad0-7b69-4b8b-ae11-a8b7e8acb4f5&quot;}}">
            <a:extLst>
              <a:ext uri="{FF2B5EF4-FFF2-40B4-BE49-F238E27FC236}">
                <a16:creationId xmlns:a16="http://schemas.microsoft.com/office/drawing/2014/main" id="{559FCD6E-075A-4CCB-AA90-5A86E2339068}"/>
              </a:ext>
            </a:extLst>
          </p:cNvPr>
          <p:cNvSpPr/>
          <p:nvPr userDrawn="1"/>
        </p:nvSpPr>
        <p:spPr>
          <a:xfrm>
            <a:off x="9289783" y="4362704"/>
            <a:ext cx="2251200" cy="54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>
              <a:lnSpc>
                <a:spcPct val="91000"/>
              </a:lnSpc>
            </a:pPr>
            <a:r>
              <a:rPr lang="da-DK" sz="888" b="1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hippers</a:t>
            </a:r>
            <a:r>
              <a:rPr lang="da-DK" sz="888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Forum</a:t>
            </a:r>
          </a:p>
        </p:txBody>
      </p:sp>
    </p:spTree>
    <p:extLst>
      <p:ext uri="{BB962C8B-B14F-4D97-AF65-F5344CB8AC3E}">
        <p14:creationId xmlns:p14="http://schemas.microsoft.com/office/powerpoint/2010/main" val="2723127954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kst m ikoner_3 spalter m bkg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30"/>
            <a:ext cx="12192000" cy="608171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ctr"/>
          <a:lstStyle/>
          <a:p>
            <a:pPr algn="ctr"/>
            <a:endParaRPr lang="da-DK" sz="1351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74" y="3645025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27" y="3645025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93" y="3645025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B0893C6-87C9-7F41-B621-3BE80FDFE46D}" type="datetime3">
              <a:t>08.06.2023</a:t>
            </a:fld>
            <a:endParaRPr lang="da-DK" dirty="0"/>
          </a:p>
        </p:txBody>
      </p:sp>
      <p:sp>
        <p:nvSpPr>
          <p:cNvPr id="11" name="Pladsholder til billede 3">
            <a:extLst>
              <a:ext uri="{FF2B5EF4-FFF2-40B4-BE49-F238E27FC236}">
                <a16:creationId xmlns:a16="http://schemas.microsoft.com/office/drawing/2014/main" id="{E0700900-EA42-9240-82A1-A3E92F01B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C06FFD9D-DB0A-2E49-8AA3-80E9DC64473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425A97FC-E0D2-714A-BD6F-6A5564969C2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791052032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Ellipse 6"/>
          <p:cNvSpPr/>
          <p:nvPr userDrawn="1"/>
        </p:nvSpPr>
        <p:spPr>
          <a:xfrm>
            <a:off x="3696267" y="1029000"/>
            <a:ext cx="4800000" cy="4800000"/>
          </a:xfrm>
          <a:prstGeom prst="ellipse">
            <a:avLst/>
          </a:prstGeom>
          <a:solidFill>
            <a:srgbClr val="FFFFFF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8" name="Pladsholder til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3787192" y="1829625"/>
            <a:ext cx="4618149" cy="3198751"/>
          </a:xfrm>
          <a:prstGeom prst="rect">
            <a:avLst/>
          </a:prstGeom>
          <a:effectLst>
            <a:softEdge rad="0"/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3200" b="0" baseline="0">
                <a:solidFill>
                  <a:srgbClr val="0097A7"/>
                </a:solidFill>
              </a:defRPr>
            </a:lvl1pPr>
          </a:lstStyle>
          <a:p>
            <a:pPr lvl="0"/>
            <a:r>
              <a:rPr lang="da-DK" dirty="0"/>
              <a:t>Titel på præsentation</a:t>
            </a:r>
          </a:p>
        </p:txBody>
      </p:sp>
      <p:sp>
        <p:nvSpPr>
          <p:cNvPr id="13" name="Ellipse 12"/>
          <p:cNvSpPr/>
          <p:nvPr userDrawn="1"/>
        </p:nvSpPr>
        <p:spPr>
          <a:xfrm>
            <a:off x="3407701" y="1018972"/>
            <a:ext cx="1248000" cy="1248000"/>
          </a:xfrm>
          <a:prstGeom prst="ellipse">
            <a:avLst/>
          </a:prstGeom>
          <a:solidFill>
            <a:srgbClr val="0097A7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dirty="0"/>
          </a:p>
        </p:txBody>
      </p:sp>
      <p:sp>
        <p:nvSpPr>
          <p:cNvPr id="9" name="Ellipse 8"/>
          <p:cNvSpPr/>
          <p:nvPr userDrawn="1"/>
        </p:nvSpPr>
        <p:spPr>
          <a:xfrm>
            <a:off x="3407701" y="1930972"/>
            <a:ext cx="672000" cy="672000"/>
          </a:xfrm>
          <a:prstGeom prst="ellipse">
            <a:avLst/>
          </a:prstGeom>
          <a:solidFill>
            <a:srgbClr val="1DE2CD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B2D3D024-E704-498F-BCBA-1E96AF5B82C9}"/>
              </a:ext>
            </a:extLst>
          </p:cNvPr>
          <p:cNvSpPr/>
          <p:nvPr userDrawn="1"/>
        </p:nvSpPr>
        <p:spPr>
          <a:xfrm>
            <a:off x="8976320" y="5349213"/>
            <a:ext cx="1200000" cy="1200000"/>
          </a:xfrm>
          <a:prstGeom prst="ellipse">
            <a:avLst/>
          </a:prstGeom>
          <a:solidFill>
            <a:srgbClr val="FFFF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6068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5725" y="264223"/>
            <a:ext cx="1296000" cy="486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811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</p:spPr>
      </p:pic>
      <p:sp>
        <p:nvSpPr>
          <p:cNvPr id="7" name="Ellipse 6"/>
          <p:cNvSpPr/>
          <p:nvPr userDrawn="1"/>
        </p:nvSpPr>
        <p:spPr>
          <a:xfrm>
            <a:off x="3696267" y="1029000"/>
            <a:ext cx="4800000" cy="4800000"/>
          </a:xfrm>
          <a:prstGeom prst="ellipse">
            <a:avLst/>
          </a:prstGeom>
          <a:solidFill>
            <a:srgbClr val="FFFFFF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8" name="Pladsholder til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3791744" y="1800427"/>
            <a:ext cx="4618149" cy="3198751"/>
          </a:xfrm>
          <a:prstGeom prst="rect">
            <a:avLst/>
          </a:prstGeom>
          <a:effectLst>
            <a:softEdge rad="0"/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3200" b="0" baseline="0">
                <a:solidFill>
                  <a:srgbClr val="0097A7"/>
                </a:solidFill>
              </a:defRPr>
            </a:lvl1pPr>
          </a:lstStyle>
          <a:p>
            <a:pPr lvl="0"/>
            <a:r>
              <a:rPr lang="da-DK" dirty="0"/>
              <a:t>Titel på præsentation</a:t>
            </a:r>
          </a:p>
        </p:txBody>
      </p:sp>
      <p:sp>
        <p:nvSpPr>
          <p:cNvPr id="13" name="Ellipse 12"/>
          <p:cNvSpPr/>
          <p:nvPr userDrawn="1"/>
        </p:nvSpPr>
        <p:spPr>
          <a:xfrm>
            <a:off x="3503712" y="1176427"/>
            <a:ext cx="1248000" cy="1248000"/>
          </a:xfrm>
          <a:prstGeom prst="ellipse">
            <a:avLst/>
          </a:prstGeom>
          <a:solidFill>
            <a:srgbClr val="0097A7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dirty="0"/>
          </a:p>
        </p:txBody>
      </p:sp>
      <p:sp>
        <p:nvSpPr>
          <p:cNvPr id="9" name="Ellipse 8"/>
          <p:cNvSpPr/>
          <p:nvPr userDrawn="1"/>
        </p:nvSpPr>
        <p:spPr>
          <a:xfrm>
            <a:off x="3503712" y="2088427"/>
            <a:ext cx="672000" cy="672000"/>
          </a:xfrm>
          <a:prstGeom prst="ellipse">
            <a:avLst/>
          </a:prstGeom>
          <a:solidFill>
            <a:srgbClr val="1DE2CD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B2D3D024-E704-498F-BCBA-1E96AF5B82C9}"/>
              </a:ext>
            </a:extLst>
          </p:cNvPr>
          <p:cNvSpPr/>
          <p:nvPr userDrawn="1"/>
        </p:nvSpPr>
        <p:spPr>
          <a:xfrm>
            <a:off x="8976320" y="5349213"/>
            <a:ext cx="1200000" cy="1200000"/>
          </a:xfrm>
          <a:prstGeom prst="ellipse">
            <a:avLst/>
          </a:prstGeom>
          <a:solidFill>
            <a:srgbClr val="FFFF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6068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5725" y="264223"/>
            <a:ext cx="1296000" cy="486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244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</p:spPr>
      </p:pic>
      <p:sp>
        <p:nvSpPr>
          <p:cNvPr id="7" name="Ellipse 6"/>
          <p:cNvSpPr/>
          <p:nvPr userDrawn="1"/>
        </p:nvSpPr>
        <p:spPr>
          <a:xfrm>
            <a:off x="3696267" y="1029000"/>
            <a:ext cx="4800000" cy="4800000"/>
          </a:xfrm>
          <a:prstGeom prst="ellipse">
            <a:avLst/>
          </a:prstGeom>
          <a:solidFill>
            <a:srgbClr val="FFFFFF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8" name="Pladsholder til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3791744" y="1800427"/>
            <a:ext cx="4618149" cy="3198751"/>
          </a:xfrm>
          <a:prstGeom prst="rect">
            <a:avLst/>
          </a:prstGeom>
          <a:effectLst>
            <a:softEdge rad="0"/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3200" b="0" baseline="0">
                <a:solidFill>
                  <a:srgbClr val="0097A7"/>
                </a:solidFill>
              </a:defRPr>
            </a:lvl1pPr>
          </a:lstStyle>
          <a:p>
            <a:pPr lvl="0"/>
            <a:r>
              <a:rPr lang="da-DK" dirty="0"/>
              <a:t>Titel på præsentation</a:t>
            </a:r>
          </a:p>
        </p:txBody>
      </p:sp>
      <p:sp>
        <p:nvSpPr>
          <p:cNvPr id="13" name="Ellipse 12"/>
          <p:cNvSpPr/>
          <p:nvPr userDrawn="1"/>
        </p:nvSpPr>
        <p:spPr>
          <a:xfrm>
            <a:off x="3503712" y="1176427"/>
            <a:ext cx="1248000" cy="1248000"/>
          </a:xfrm>
          <a:prstGeom prst="ellipse">
            <a:avLst/>
          </a:prstGeom>
          <a:solidFill>
            <a:srgbClr val="0097A7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dirty="0"/>
          </a:p>
        </p:txBody>
      </p:sp>
      <p:sp>
        <p:nvSpPr>
          <p:cNvPr id="9" name="Ellipse 8"/>
          <p:cNvSpPr/>
          <p:nvPr userDrawn="1"/>
        </p:nvSpPr>
        <p:spPr>
          <a:xfrm>
            <a:off x="3503712" y="2088427"/>
            <a:ext cx="672000" cy="672000"/>
          </a:xfrm>
          <a:prstGeom prst="ellipse">
            <a:avLst/>
          </a:prstGeom>
          <a:solidFill>
            <a:srgbClr val="1DE2CD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B2D3D024-E704-498F-BCBA-1E96AF5B82C9}"/>
              </a:ext>
            </a:extLst>
          </p:cNvPr>
          <p:cNvSpPr/>
          <p:nvPr userDrawn="1"/>
        </p:nvSpPr>
        <p:spPr>
          <a:xfrm>
            <a:off x="8976320" y="5349213"/>
            <a:ext cx="1200000" cy="1200000"/>
          </a:xfrm>
          <a:prstGeom prst="ellipse">
            <a:avLst/>
          </a:prstGeom>
          <a:solidFill>
            <a:srgbClr val="FFFF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6068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pic>
        <p:nvPicPr>
          <p:cNvPr id="12" name="Billede 11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65726" y="266359"/>
            <a:ext cx="1283229" cy="48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407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7" name="Ellipse 6"/>
          <p:cNvSpPr/>
          <p:nvPr userDrawn="1"/>
        </p:nvSpPr>
        <p:spPr>
          <a:xfrm>
            <a:off x="3696267" y="1029000"/>
            <a:ext cx="4800000" cy="4800000"/>
          </a:xfrm>
          <a:prstGeom prst="ellipse">
            <a:avLst/>
          </a:prstGeom>
          <a:solidFill>
            <a:srgbClr val="FFFFFF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8" name="Pladsholder til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3791744" y="1800427"/>
            <a:ext cx="4618149" cy="3198751"/>
          </a:xfrm>
          <a:prstGeom prst="rect">
            <a:avLst/>
          </a:prstGeom>
          <a:effectLst>
            <a:softEdge rad="0"/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3200" b="0" baseline="0">
                <a:solidFill>
                  <a:srgbClr val="0097A7"/>
                </a:solidFill>
              </a:defRPr>
            </a:lvl1pPr>
          </a:lstStyle>
          <a:p>
            <a:pPr lvl="0"/>
            <a:r>
              <a:rPr lang="da-DK" dirty="0"/>
              <a:t>Titel på præsentation</a:t>
            </a:r>
          </a:p>
        </p:txBody>
      </p:sp>
      <p:sp>
        <p:nvSpPr>
          <p:cNvPr id="13" name="Ellipse 12"/>
          <p:cNvSpPr/>
          <p:nvPr userDrawn="1"/>
        </p:nvSpPr>
        <p:spPr>
          <a:xfrm>
            <a:off x="3503712" y="1176427"/>
            <a:ext cx="1248000" cy="1248000"/>
          </a:xfrm>
          <a:prstGeom prst="ellipse">
            <a:avLst/>
          </a:prstGeom>
          <a:solidFill>
            <a:srgbClr val="0097A7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dirty="0"/>
          </a:p>
        </p:txBody>
      </p:sp>
      <p:sp>
        <p:nvSpPr>
          <p:cNvPr id="9" name="Ellipse 8"/>
          <p:cNvSpPr/>
          <p:nvPr userDrawn="1"/>
        </p:nvSpPr>
        <p:spPr>
          <a:xfrm>
            <a:off x="3503712" y="2088427"/>
            <a:ext cx="672000" cy="672000"/>
          </a:xfrm>
          <a:prstGeom prst="ellipse">
            <a:avLst/>
          </a:prstGeom>
          <a:solidFill>
            <a:srgbClr val="1DE2CD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B2D3D024-E704-498F-BCBA-1E96AF5B82C9}"/>
              </a:ext>
            </a:extLst>
          </p:cNvPr>
          <p:cNvSpPr/>
          <p:nvPr userDrawn="1"/>
        </p:nvSpPr>
        <p:spPr>
          <a:xfrm>
            <a:off x="8976320" y="5349213"/>
            <a:ext cx="1200000" cy="1200000"/>
          </a:xfrm>
          <a:prstGeom prst="ellipse">
            <a:avLst/>
          </a:prstGeom>
          <a:solidFill>
            <a:srgbClr val="FFFF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6068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pic>
        <p:nvPicPr>
          <p:cNvPr id="12" name="Billede 11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65726" y="266359"/>
            <a:ext cx="1283229" cy="48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659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Ellipse 6"/>
          <p:cNvSpPr/>
          <p:nvPr userDrawn="1"/>
        </p:nvSpPr>
        <p:spPr>
          <a:xfrm>
            <a:off x="3696267" y="1029000"/>
            <a:ext cx="4800000" cy="4800000"/>
          </a:xfrm>
          <a:prstGeom prst="ellipse">
            <a:avLst/>
          </a:prstGeom>
          <a:solidFill>
            <a:srgbClr val="FFFFFF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8" name="Pladsholder til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3791744" y="1800427"/>
            <a:ext cx="4618149" cy="3198751"/>
          </a:xfrm>
          <a:prstGeom prst="rect">
            <a:avLst/>
          </a:prstGeom>
          <a:effectLst>
            <a:softEdge rad="0"/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3200" b="0" baseline="0">
                <a:solidFill>
                  <a:srgbClr val="0097A7"/>
                </a:solidFill>
              </a:defRPr>
            </a:lvl1pPr>
          </a:lstStyle>
          <a:p>
            <a:pPr lvl="0"/>
            <a:r>
              <a:rPr lang="da-DK" dirty="0"/>
              <a:t>Titel på præsentation</a:t>
            </a:r>
          </a:p>
        </p:txBody>
      </p:sp>
      <p:sp>
        <p:nvSpPr>
          <p:cNvPr id="13" name="Ellipse 12"/>
          <p:cNvSpPr/>
          <p:nvPr userDrawn="1"/>
        </p:nvSpPr>
        <p:spPr>
          <a:xfrm>
            <a:off x="3503712" y="1176427"/>
            <a:ext cx="1248000" cy="1248000"/>
          </a:xfrm>
          <a:prstGeom prst="ellipse">
            <a:avLst/>
          </a:prstGeom>
          <a:solidFill>
            <a:srgbClr val="0097A7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dirty="0"/>
          </a:p>
        </p:txBody>
      </p:sp>
      <p:sp>
        <p:nvSpPr>
          <p:cNvPr id="9" name="Ellipse 8"/>
          <p:cNvSpPr/>
          <p:nvPr userDrawn="1"/>
        </p:nvSpPr>
        <p:spPr>
          <a:xfrm>
            <a:off x="3503712" y="2088427"/>
            <a:ext cx="672000" cy="672000"/>
          </a:xfrm>
          <a:prstGeom prst="ellipse">
            <a:avLst/>
          </a:prstGeom>
          <a:solidFill>
            <a:srgbClr val="1DE2CD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B2D3D024-E704-498F-BCBA-1E96AF5B82C9}"/>
              </a:ext>
            </a:extLst>
          </p:cNvPr>
          <p:cNvSpPr/>
          <p:nvPr userDrawn="1"/>
        </p:nvSpPr>
        <p:spPr>
          <a:xfrm>
            <a:off x="8976320" y="5349213"/>
            <a:ext cx="1200000" cy="1200000"/>
          </a:xfrm>
          <a:prstGeom prst="ellipse">
            <a:avLst/>
          </a:prstGeom>
          <a:solidFill>
            <a:srgbClr val="FFFF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6068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5725" y="264223"/>
            <a:ext cx="1296000" cy="486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813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e 4"/>
          <p:cNvGrpSpPr/>
          <p:nvPr userDrawn="1"/>
        </p:nvGrpSpPr>
        <p:grpSpPr>
          <a:xfrm>
            <a:off x="239351" y="348717"/>
            <a:ext cx="735909" cy="843676"/>
            <a:chOff x="7431059" y="329279"/>
            <a:chExt cx="763878" cy="883222"/>
          </a:xfrm>
        </p:grpSpPr>
        <p:sp>
          <p:nvSpPr>
            <p:cNvPr id="6" name="Ellipse 5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8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87039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9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87039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03445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633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/ny sek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 25"/>
          <p:cNvSpPr/>
          <p:nvPr userDrawn="1"/>
        </p:nvSpPr>
        <p:spPr>
          <a:xfrm>
            <a:off x="1549" y="1555"/>
            <a:ext cx="12190451" cy="68712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159" tIns="54579" rIns="109159" bIns="54579" rtlCol="0" anchor="ctr"/>
          <a:lstStyle/>
          <a:p>
            <a:pPr algn="ctr"/>
            <a:endParaRPr lang="da-DK" sz="2400" dirty="0">
              <a:solidFill>
                <a:schemeClr val="bg1"/>
              </a:solidFill>
            </a:endParaRPr>
          </a:p>
        </p:txBody>
      </p:sp>
      <p:sp>
        <p:nvSpPr>
          <p:cNvPr id="27" name="Titel 1"/>
          <p:cNvSpPr>
            <a:spLocks noGrp="1"/>
          </p:cNvSpPr>
          <p:nvPr>
            <p:ph type="title" hasCustomPrompt="1"/>
          </p:nvPr>
        </p:nvSpPr>
        <p:spPr>
          <a:xfrm>
            <a:off x="603523" y="2372883"/>
            <a:ext cx="10972800" cy="11430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5333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til nyt tema/afsnit</a:t>
            </a:r>
          </a:p>
        </p:txBody>
      </p:sp>
      <p:sp>
        <p:nvSpPr>
          <p:cNvPr id="28" name="Pladsholder til tekst 9"/>
          <p:cNvSpPr>
            <a:spLocks noGrp="1"/>
          </p:cNvSpPr>
          <p:nvPr>
            <p:ph type="body" sz="quarter" idx="12" hasCustomPrompt="1"/>
          </p:nvPr>
        </p:nvSpPr>
        <p:spPr>
          <a:xfrm>
            <a:off x="2249231" y="4005064"/>
            <a:ext cx="7681384" cy="1439333"/>
          </a:xfrm>
          <a:prstGeom prst="rect">
            <a:avLst/>
          </a:prstGeom>
          <a:solidFill>
            <a:schemeClr val="accent1"/>
          </a:solidFill>
        </p:spPr>
        <p:txBody>
          <a:bodyPr>
            <a:normAutofit/>
          </a:bodyPr>
          <a:lstStyle>
            <a:lvl1pPr marL="0" indent="0" algn="ctr">
              <a:buNone/>
              <a:defRPr sz="2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Eventuelt kort, uddybende tekst</a:t>
            </a:r>
          </a:p>
        </p:txBody>
      </p:sp>
      <p:sp>
        <p:nvSpPr>
          <p:cNvPr id="16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93654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17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93654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18" name="Billede 1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575" y="6265228"/>
            <a:ext cx="1296000" cy="486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95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insert headline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</a:t>
            </a:r>
            <a:r>
              <a:rPr lang="en-GB" dirty="0"/>
              <a:t> subhead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3217864" cy="330358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/>
              <a:t>Click to insert body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487069" y="2852738"/>
            <a:ext cx="3217864" cy="330358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/>
              <a:t>Click to insert body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7991474" y="2852738"/>
            <a:ext cx="3217864" cy="330358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/>
              <a:t>Click to insert body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Date_DateCustomA">
            <a:extLst>
              <a:ext uri="{FF2B5EF4-FFF2-40B4-BE49-F238E27FC236}">
                <a16:creationId xmlns:a16="http://schemas.microsoft.com/office/drawing/2014/main" id="{2A087CE9-2FEA-1749-8F78-F93E505558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FLD_PresentationTitle">
            <a:extLst>
              <a:ext uri="{FF2B5EF4-FFF2-40B4-BE49-F238E27FC236}">
                <a16:creationId xmlns:a16="http://schemas.microsoft.com/office/drawing/2014/main" id="{338F2631-E8F3-964A-92CB-0849414BFF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D8AC226-BB45-D848-914C-89C8D56DE5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931554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1022667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466441934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1"/>
          <p:cNvGrpSpPr/>
          <p:nvPr userDrawn="1"/>
        </p:nvGrpSpPr>
        <p:grpSpPr>
          <a:xfrm>
            <a:off x="239351" y="348717"/>
            <a:ext cx="735909" cy="843676"/>
            <a:chOff x="7431059" y="329279"/>
            <a:chExt cx="763878" cy="883222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33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87039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34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87039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1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03445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14" name="Billed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287445" y="1566508"/>
            <a:ext cx="11616000" cy="456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37042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1"/>
          <p:cNvGrpSpPr/>
          <p:nvPr userDrawn="1"/>
        </p:nvGrpSpPr>
        <p:grpSpPr>
          <a:xfrm>
            <a:off x="239351" y="348717"/>
            <a:ext cx="735909" cy="843676"/>
            <a:chOff x="7431059" y="329279"/>
            <a:chExt cx="763878" cy="883222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33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87039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34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87039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1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03445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14" name="Billed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287445" y="1566508"/>
            <a:ext cx="11616000" cy="456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99335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87039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30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87039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46" name="Billede 45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grpSp>
        <p:nvGrpSpPr>
          <p:cNvPr id="14" name="Gruppe 13"/>
          <p:cNvGrpSpPr/>
          <p:nvPr userDrawn="1"/>
        </p:nvGrpSpPr>
        <p:grpSpPr>
          <a:xfrm>
            <a:off x="11214586" y="361559"/>
            <a:ext cx="735909" cy="843676"/>
            <a:chOff x="7431059" y="329279"/>
            <a:chExt cx="763878" cy="88322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031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287445" y="1566508"/>
            <a:ext cx="11616000" cy="456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3524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dsholder til dato 14"/>
          <p:cNvSpPr>
            <a:spLocks noGrp="1"/>
          </p:cNvSpPr>
          <p:nvPr>
            <p:ph type="dt" sz="half" idx="17"/>
          </p:nvPr>
        </p:nvSpPr>
        <p:spPr>
          <a:xfrm>
            <a:off x="9210502" y="6387039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18" name="Pladsholder til slidenummer 15"/>
          <p:cNvSpPr>
            <a:spLocks noGrp="1"/>
          </p:cNvSpPr>
          <p:nvPr>
            <p:ph type="sldNum" sz="quarter" idx="18"/>
          </p:nvPr>
        </p:nvSpPr>
        <p:spPr>
          <a:xfrm>
            <a:off x="10873443" y="6387039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14" name="Billed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grpSp>
        <p:nvGrpSpPr>
          <p:cNvPr id="12" name="Gruppe 11"/>
          <p:cNvGrpSpPr/>
          <p:nvPr userDrawn="1"/>
        </p:nvGrpSpPr>
        <p:grpSpPr>
          <a:xfrm>
            <a:off x="239351" y="348717"/>
            <a:ext cx="735909" cy="843676"/>
            <a:chOff x="7431059" y="329279"/>
            <a:chExt cx="763878" cy="883222"/>
          </a:xfrm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21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3445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1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446" y="1566509"/>
            <a:ext cx="5614015" cy="4559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800"/>
              </a:spcAft>
              <a:buClrTx/>
              <a:buFont typeface="Arial" panose="020B0604020202020204" pitchFamily="34" charset="0"/>
              <a:buNone/>
              <a:defRPr sz="1867" baseline="0">
                <a:solidFill>
                  <a:schemeClr val="tx1"/>
                </a:solidFill>
              </a:defRPr>
            </a:lvl1pPr>
            <a:lvl2pPr>
              <a:defRPr/>
            </a:lvl2pPr>
            <a:lvl3pPr marL="831082" indent="0">
              <a:buNone/>
              <a:defRPr/>
            </a:lvl3pPr>
          </a:lstStyle>
          <a:p>
            <a:pPr lvl="0"/>
            <a:endParaRPr lang="da-DK" dirty="0"/>
          </a:p>
        </p:txBody>
      </p:sp>
      <p:sp>
        <p:nvSpPr>
          <p:cNvPr id="17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89431" y="1566507"/>
            <a:ext cx="5614015" cy="4559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800"/>
              </a:spcAft>
              <a:buClrTx/>
              <a:buFont typeface="Arial" panose="020B0604020202020204" pitchFamily="34" charset="0"/>
              <a:buNone/>
              <a:defRPr sz="1867" baseline="0">
                <a:solidFill>
                  <a:schemeClr val="tx1"/>
                </a:solidFill>
              </a:defRPr>
            </a:lvl1pPr>
            <a:lvl2pPr marL="426867" indent="0">
              <a:buNone/>
              <a:defRPr/>
            </a:lvl2pPr>
            <a:lvl3pPr marL="831082" indent="0">
              <a:buNone/>
              <a:defRPr/>
            </a:lvl3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07984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dsholder til dato 14"/>
          <p:cNvSpPr>
            <a:spLocks noGrp="1"/>
          </p:cNvSpPr>
          <p:nvPr>
            <p:ph type="dt" sz="half" idx="17"/>
          </p:nvPr>
        </p:nvSpPr>
        <p:spPr>
          <a:xfrm>
            <a:off x="9210502" y="6387039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18" name="Pladsholder til slidenummer 15"/>
          <p:cNvSpPr>
            <a:spLocks noGrp="1"/>
          </p:cNvSpPr>
          <p:nvPr>
            <p:ph type="sldNum" sz="quarter" idx="18"/>
          </p:nvPr>
        </p:nvSpPr>
        <p:spPr>
          <a:xfrm>
            <a:off x="10873443" y="6387039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Pladsholder til tekst 5">
            <a:extLst>
              <a:ext uri="{FF2B5EF4-FFF2-40B4-BE49-F238E27FC236}">
                <a16:creationId xmlns:a16="http://schemas.microsoft.com/office/drawing/2014/main" id="{40B81822-3D96-4344-807F-41D29B6F97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447445" y="1566508"/>
            <a:ext cx="3456000" cy="456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800"/>
              </a:spcAft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endParaRPr lang="da-DK" dirty="0"/>
          </a:p>
        </p:txBody>
      </p:sp>
      <p:pic>
        <p:nvPicPr>
          <p:cNvPr id="14" name="Billed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grpSp>
        <p:nvGrpSpPr>
          <p:cNvPr id="12" name="Gruppe 11"/>
          <p:cNvGrpSpPr/>
          <p:nvPr userDrawn="1"/>
        </p:nvGrpSpPr>
        <p:grpSpPr>
          <a:xfrm>
            <a:off x="239351" y="348717"/>
            <a:ext cx="735909" cy="843676"/>
            <a:chOff x="7431059" y="329279"/>
            <a:chExt cx="763878" cy="883222"/>
          </a:xfrm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21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3445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1" name="Pladsholder til tekst 5">
            <a:extLst>
              <a:ext uri="{FF2B5EF4-FFF2-40B4-BE49-F238E27FC236}">
                <a16:creationId xmlns:a16="http://schemas.microsoft.com/office/drawing/2014/main" id="{40B81822-3D96-4344-807F-41D29B6F97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66452" y="1566508"/>
            <a:ext cx="3456000" cy="456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800"/>
              </a:spcAft>
              <a:buFont typeface="Arial" panose="020B0604020202020204" pitchFamily="34" charset="0"/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endParaRPr lang="da-DK" dirty="0"/>
          </a:p>
        </p:txBody>
      </p:sp>
      <p:sp>
        <p:nvSpPr>
          <p:cNvPr id="17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446" y="1566510"/>
            <a:ext cx="3454013" cy="4559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800"/>
              </a:spcAft>
              <a:buClrTx/>
              <a:buFont typeface="Arial" panose="020B0604020202020204" pitchFamily="34" charset="0"/>
              <a:buNone/>
              <a:defRPr sz="1600" baseline="0">
                <a:solidFill>
                  <a:schemeClr val="tx1"/>
                </a:solidFill>
              </a:defRPr>
            </a:lvl1pPr>
            <a:lvl2pPr>
              <a:defRPr/>
            </a:lvl2pPr>
            <a:lvl3pPr marL="831082" indent="0">
              <a:buNone/>
              <a:defRPr/>
            </a:lvl3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12022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- to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40B81822-3D96-4344-807F-41D29B6F979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5460" y="1566508"/>
            <a:ext cx="5616000" cy="4560000"/>
          </a:xfrm>
        </p:spPr>
        <p:txBody>
          <a:bodyPr>
            <a:normAutofit/>
          </a:bodyPr>
          <a:lstStyle>
            <a:lvl1pPr marL="0" indent="0">
              <a:spcAft>
                <a:spcPts val="800"/>
              </a:spcAft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6" name="Pladsholder til dato 14"/>
          <p:cNvSpPr>
            <a:spLocks noGrp="1"/>
          </p:cNvSpPr>
          <p:nvPr>
            <p:ph type="dt" sz="half" idx="17"/>
          </p:nvPr>
        </p:nvSpPr>
        <p:spPr>
          <a:xfrm>
            <a:off x="9210502" y="6387039"/>
            <a:ext cx="164263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18" name="Pladsholder til slidenummer 15"/>
          <p:cNvSpPr>
            <a:spLocks noGrp="1"/>
          </p:cNvSpPr>
          <p:nvPr>
            <p:ph type="sldNum" sz="quarter" idx="18"/>
          </p:nvPr>
        </p:nvSpPr>
        <p:spPr>
          <a:xfrm>
            <a:off x="10873443" y="6387039"/>
            <a:ext cx="107705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Pladsholder til tekst 5">
            <a:extLst>
              <a:ext uri="{FF2B5EF4-FFF2-40B4-BE49-F238E27FC236}">
                <a16:creationId xmlns:a16="http://schemas.microsoft.com/office/drawing/2014/main" id="{40B81822-3D96-4344-807F-41D29B6F97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83544" y="1566508"/>
            <a:ext cx="5616000" cy="4560000"/>
          </a:xfrm>
        </p:spPr>
        <p:txBody>
          <a:bodyPr>
            <a:normAutofit/>
          </a:bodyPr>
          <a:lstStyle>
            <a:lvl1pPr marL="0" indent="0">
              <a:spcAft>
                <a:spcPts val="800"/>
              </a:spcAft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/>
              <a:t>Rediger typografien i masterens</a:t>
            </a:r>
          </a:p>
        </p:txBody>
      </p:sp>
      <p:pic>
        <p:nvPicPr>
          <p:cNvPr id="14" name="Billed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grpSp>
        <p:nvGrpSpPr>
          <p:cNvPr id="12" name="Gruppe 11"/>
          <p:cNvGrpSpPr/>
          <p:nvPr userDrawn="1"/>
        </p:nvGrpSpPr>
        <p:grpSpPr>
          <a:xfrm>
            <a:off x="239351" y="348717"/>
            <a:ext cx="735909" cy="843676"/>
            <a:chOff x="7431059" y="329279"/>
            <a:chExt cx="763878" cy="883222"/>
          </a:xfrm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21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3445" y="358213"/>
            <a:ext cx="10800000" cy="835735"/>
          </a:xfr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1140384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dato 4"/>
          <p:cNvSpPr>
            <a:spLocks noGrp="1"/>
          </p:cNvSpPr>
          <p:nvPr>
            <p:ph type="dt" sz="half" idx="10"/>
          </p:nvPr>
        </p:nvSpPr>
        <p:spPr>
          <a:xfrm>
            <a:off x="9217378" y="6426268"/>
            <a:ext cx="1642631" cy="365125"/>
          </a:xfrm>
        </p:spPr>
        <p:txBody>
          <a:bodyPr/>
          <a:lstStyle>
            <a:lvl1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10" name="Pladsholder til slidenummer 5"/>
          <p:cNvSpPr>
            <a:spLocks noGrp="1"/>
          </p:cNvSpPr>
          <p:nvPr>
            <p:ph type="sldNum" sz="quarter" idx="11"/>
          </p:nvPr>
        </p:nvSpPr>
        <p:spPr>
          <a:xfrm>
            <a:off x="10880319" y="6426268"/>
            <a:ext cx="1077052" cy="365125"/>
          </a:xfrm>
        </p:spPr>
        <p:txBody>
          <a:bodyPr/>
          <a:lstStyle>
            <a:lvl1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5" name="Billede 4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695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/ny sek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 25"/>
          <p:cNvSpPr/>
          <p:nvPr userDrawn="1"/>
        </p:nvSpPr>
        <p:spPr>
          <a:xfrm>
            <a:off x="1549" y="1555"/>
            <a:ext cx="12190451" cy="68712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159" tIns="54579" rIns="109159" bIns="54579" rtlCol="0" anchor="ctr"/>
          <a:lstStyle/>
          <a:p>
            <a:pPr algn="ctr"/>
            <a:endParaRPr lang="da-DK" sz="2400" dirty="0">
              <a:solidFill>
                <a:schemeClr val="bg1"/>
              </a:solidFill>
            </a:endParaRPr>
          </a:p>
        </p:txBody>
      </p:sp>
      <p:sp>
        <p:nvSpPr>
          <p:cNvPr id="27" name="Titel 1"/>
          <p:cNvSpPr>
            <a:spLocks noGrp="1"/>
          </p:cNvSpPr>
          <p:nvPr>
            <p:ph type="title" hasCustomPrompt="1"/>
          </p:nvPr>
        </p:nvSpPr>
        <p:spPr>
          <a:xfrm>
            <a:off x="603523" y="2372883"/>
            <a:ext cx="10972800" cy="11430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5333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til nyt tema/afsnit</a:t>
            </a:r>
          </a:p>
        </p:txBody>
      </p:sp>
      <p:sp>
        <p:nvSpPr>
          <p:cNvPr id="28" name="Pladsholder til tekst 9"/>
          <p:cNvSpPr>
            <a:spLocks noGrp="1"/>
          </p:cNvSpPr>
          <p:nvPr>
            <p:ph type="body" sz="quarter" idx="12" hasCustomPrompt="1"/>
          </p:nvPr>
        </p:nvSpPr>
        <p:spPr>
          <a:xfrm>
            <a:off x="2249231" y="4005064"/>
            <a:ext cx="7681384" cy="1439333"/>
          </a:xfrm>
          <a:prstGeom prst="rect">
            <a:avLst/>
          </a:prstGeom>
          <a:solidFill>
            <a:schemeClr val="accent1"/>
          </a:solidFill>
        </p:spPr>
        <p:txBody>
          <a:bodyPr>
            <a:normAutofit/>
          </a:bodyPr>
          <a:lstStyle>
            <a:lvl1pPr marL="0" indent="0" algn="ctr">
              <a:buNone/>
              <a:defRPr sz="2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Eventuelt kort, uddybende tekst</a:t>
            </a:r>
          </a:p>
        </p:txBody>
      </p:sp>
      <p:sp>
        <p:nvSpPr>
          <p:cNvPr id="16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93654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17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93654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18" name="Billede 1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575" y="6265228"/>
            <a:ext cx="1296000" cy="486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124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1"/>
          <p:cNvGrpSpPr/>
          <p:nvPr userDrawn="1"/>
        </p:nvGrpSpPr>
        <p:grpSpPr>
          <a:xfrm>
            <a:off x="239351" y="348717"/>
            <a:ext cx="735909" cy="843676"/>
            <a:chOff x="7431059" y="329279"/>
            <a:chExt cx="763878" cy="883222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33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87039"/>
            <a:ext cx="164263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8B094E77-980B-4C1F-8178-AD8CF5CFAF4B}" type="datetime1">
              <a:rPr lang="en-US" smtClean="0"/>
              <a:t>6/8/2023</a:t>
            </a:fld>
            <a:endParaRPr lang="da-DK" dirty="0"/>
          </a:p>
        </p:txBody>
      </p:sp>
      <p:sp>
        <p:nvSpPr>
          <p:cNvPr id="34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87039"/>
            <a:ext cx="107705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Pag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445" y="1566508"/>
            <a:ext cx="11616000" cy="456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800"/>
              </a:spcAft>
              <a:buClrTx/>
              <a:buFont typeface="Arial" panose="020B0604020202020204" pitchFamily="34" charset="0"/>
              <a:buNone/>
              <a:defRPr sz="1867" baseline="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1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03445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0" y="6265115"/>
            <a:ext cx="1316311" cy="569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131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82984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14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82984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5" name="Pladsholder til tabel 2"/>
          <p:cNvSpPr>
            <a:spLocks noGrp="1"/>
          </p:cNvSpPr>
          <p:nvPr>
            <p:ph type="tbl" sz="quarter" idx="15" hasCustomPrompt="1"/>
          </p:nvPr>
        </p:nvSpPr>
        <p:spPr>
          <a:xfrm>
            <a:off x="280564" y="1575203"/>
            <a:ext cx="11616000" cy="456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67"/>
            </a:lvl1pPr>
          </a:lstStyle>
          <a:p>
            <a:r>
              <a:rPr lang="da-DK" dirty="0"/>
              <a:t>Indsæt tabel</a:t>
            </a:r>
          </a:p>
        </p:txBody>
      </p:sp>
      <p:pic>
        <p:nvPicPr>
          <p:cNvPr id="12" name="Billede 11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grpSp>
        <p:nvGrpSpPr>
          <p:cNvPr id="9" name="Gruppe 8"/>
          <p:cNvGrpSpPr/>
          <p:nvPr userDrawn="1"/>
        </p:nvGrpSpPr>
        <p:grpSpPr>
          <a:xfrm>
            <a:off x="239351" y="348717"/>
            <a:ext cx="735909" cy="843676"/>
            <a:chOff x="7431059" y="329279"/>
            <a:chExt cx="763878" cy="883222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18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03445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2883558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7" y="1196975"/>
            <a:ext cx="4921739" cy="4959350"/>
          </a:xfrm>
          <a:solidFill>
            <a:schemeClr val="bg1">
              <a:lumMod val="95000"/>
            </a:schemeClr>
          </a:solidFill>
        </p:spPr>
        <p:txBody>
          <a:bodyPr tIns="108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82663" y="1196975"/>
            <a:ext cx="4933337" cy="71913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4" y="2852739"/>
            <a:ext cx="4933336" cy="3303586"/>
          </a:xfrm>
        </p:spPr>
        <p:txBody>
          <a:bodyPr/>
          <a:lstStyle/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4933337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3472077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12"/>
          <p:cNvSpPr>
            <a:spLocks noGrp="1"/>
          </p:cNvSpPr>
          <p:nvPr>
            <p:ph type="pic" sz="quarter" idx="13" hasCustomPrompt="1"/>
          </p:nvPr>
        </p:nvSpPr>
        <p:spPr>
          <a:xfrm>
            <a:off x="6948803" y="356659"/>
            <a:ext cx="5004483" cy="571691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67"/>
            </a:lvl1pPr>
          </a:lstStyle>
          <a:p>
            <a:r>
              <a:rPr lang="da-DK" dirty="0"/>
              <a:t>Indsæt billede</a:t>
            </a:r>
            <a:endParaRPr lang="en-US" dirty="0"/>
          </a:p>
        </p:txBody>
      </p:sp>
      <p:sp>
        <p:nvSpPr>
          <p:cNvPr id="16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5686" y="1561573"/>
            <a:ext cx="6372739" cy="4512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Aft>
                <a:spcPts val="800"/>
              </a:spcAft>
              <a:buClrTx/>
              <a:buFont typeface="Arial" panose="020B0604020202020204" pitchFamily="34" charset="0"/>
              <a:buNone/>
              <a:defRPr sz="1867" baseline="0">
                <a:solidFill>
                  <a:schemeClr val="tx1"/>
                </a:solidFill>
              </a:defRPr>
            </a:lvl1pPr>
          </a:lstStyle>
          <a:p>
            <a:pPr lvl="0"/>
            <a:endParaRPr lang="da-DK" dirty="0"/>
          </a:p>
        </p:txBody>
      </p:sp>
      <p:grpSp>
        <p:nvGrpSpPr>
          <p:cNvPr id="2" name="Gruppe 1"/>
          <p:cNvGrpSpPr/>
          <p:nvPr userDrawn="1"/>
        </p:nvGrpSpPr>
        <p:grpSpPr>
          <a:xfrm>
            <a:off x="6504425" y="164638"/>
            <a:ext cx="432000" cy="561201"/>
            <a:chOff x="4868450" y="83003"/>
            <a:chExt cx="324000" cy="420901"/>
          </a:xfrm>
        </p:grpSpPr>
        <p:sp>
          <p:nvSpPr>
            <p:cNvPr id="9" name="Ellipse 8"/>
            <p:cNvSpPr/>
            <p:nvPr userDrawn="1"/>
          </p:nvSpPr>
          <p:spPr>
            <a:xfrm>
              <a:off x="4868450" y="179904"/>
              <a:ext cx="324000" cy="324000"/>
            </a:xfrm>
            <a:prstGeom prst="ellipse">
              <a:avLst/>
            </a:prstGeom>
            <a:solidFill>
              <a:srgbClr val="0097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4976450" y="83003"/>
              <a:ext cx="216000" cy="216000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19" name="Pladsholder til dato 14"/>
          <p:cNvSpPr>
            <a:spLocks noGrp="1"/>
          </p:cNvSpPr>
          <p:nvPr>
            <p:ph type="dt" sz="half" idx="16"/>
          </p:nvPr>
        </p:nvSpPr>
        <p:spPr>
          <a:xfrm>
            <a:off x="9210502" y="6382984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22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82984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1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032" y="358213"/>
            <a:ext cx="6096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14" name="Billed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80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/>
          <p:cNvSpPr/>
          <p:nvPr userDrawn="1"/>
        </p:nvSpPr>
        <p:spPr>
          <a:xfrm>
            <a:off x="6864088" y="0"/>
            <a:ext cx="5327913" cy="6858000"/>
          </a:xfrm>
          <a:prstGeom prst="rect">
            <a:avLst/>
          </a:prstGeom>
          <a:solidFill>
            <a:srgbClr val="5CB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dirty="0"/>
          </a:p>
        </p:txBody>
      </p:sp>
      <p:sp>
        <p:nvSpPr>
          <p:cNvPr id="28" name="Pladsholder til indhold 27"/>
          <p:cNvSpPr>
            <a:spLocks noGrp="1"/>
          </p:cNvSpPr>
          <p:nvPr>
            <p:ph sz="quarter" idx="16" hasCustomPrompt="1"/>
          </p:nvPr>
        </p:nvSpPr>
        <p:spPr>
          <a:xfrm>
            <a:off x="7150558" y="768040"/>
            <a:ext cx="4802092" cy="53055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Indsæt billede, tabel, graf mv.</a:t>
            </a:r>
          </a:p>
        </p:txBody>
      </p:sp>
      <p:sp>
        <p:nvSpPr>
          <p:cNvPr id="16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82984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18" name="Pladsholder til slidenummer 15"/>
          <p:cNvSpPr>
            <a:spLocks noGrp="1"/>
          </p:cNvSpPr>
          <p:nvPr>
            <p:ph type="sldNum" sz="quarter" idx="18"/>
          </p:nvPr>
        </p:nvSpPr>
        <p:spPr>
          <a:xfrm>
            <a:off x="10873443" y="6382984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17" name="Billede 1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sp>
        <p:nvSpPr>
          <p:cNvPr id="25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5686" y="1561573"/>
            <a:ext cx="6372739" cy="4512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Aft>
                <a:spcPts val="800"/>
              </a:spcAft>
              <a:buClrTx/>
              <a:buFont typeface="Arial" panose="020B0604020202020204" pitchFamily="34" charset="0"/>
              <a:buNone/>
              <a:defRPr sz="1867" baseline="0">
                <a:solidFill>
                  <a:schemeClr val="tx1"/>
                </a:solidFill>
              </a:defRPr>
            </a:lvl1pPr>
          </a:lstStyle>
          <a:p>
            <a:pPr lvl="0"/>
            <a:endParaRPr lang="da-DK" dirty="0"/>
          </a:p>
        </p:txBody>
      </p:sp>
      <p:sp>
        <p:nvSpPr>
          <p:cNvPr id="26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8032" y="358213"/>
            <a:ext cx="6096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3099595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billede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/>
            </a:lvl1pPr>
          </a:lstStyle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5725" y="264223"/>
            <a:ext cx="1296000" cy="486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014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337127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0739547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487069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799147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001544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B56B0860-E2FC-4046-BE7C-E6EA1D3C7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86B7801-E3B9-8C49-9C6E-CA2439CD3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486B617-819F-D54A-871B-B63CD3758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4D1D345-D353-6F4A-A586-8E5CDA0F43FC}"/>
              </a:ext>
            </a:extLst>
          </p:cNvPr>
          <p:cNvSpPr/>
          <p:nvPr userDrawn="1"/>
        </p:nvSpPr>
        <p:spPr>
          <a:xfrm>
            <a:off x="949705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Pladsholder til tekst 15">
            <a:extLst>
              <a:ext uri="{FF2B5EF4-FFF2-40B4-BE49-F238E27FC236}">
                <a16:creationId xmlns:a16="http://schemas.microsoft.com/office/drawing/2014/main" id="{8E6A2F22-BEF4-6543-97DA-88F5BA3B8E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9705" y="2488040"/>
            <a:ext cx="4920028" cy="1405232"/>
          </a:xfrm>
        </p:spPr>
        <p:txBody>
          <a:bodyPr/>
          <a:lstStyle>
            <a:lvl1pPr algn="ctr">
              <a:defRPr sz="7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OGRAM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D815E82-1046-D241-BFCC-C6BAD16F7C90}"/>
              </a:ext>
            </a:extLst>
          </p:cNvPr>
          <p:cNvSpPr/>
          <p:nvPr userDrawn="1"/>
        </p:nvSpPr>
        <p:spPr>
          <a:xfrm>
            <a:off x="6181582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2" name="Pladsholder til tekst 13">
            <a:extLst>
              <a:ext uri="{FF2B5EF4-FFF2-40B4-BE49-F238E27FC236}">
                <a16:creationId xmlns:a16="http://schemas.microsoft.com/office/drawing/2014/main" id="{3F7C6172-494C-DD44-8F59-32C8484CFA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2152" y="2108027"/>
            <a:ext cx="3798888" cy="3101517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Tekst
Tekst 
Tekst 
 Tekst 
 Tekst</a:t>
            </a:r>
          </a:p>
          <a:p>
            <a:r>
              <a:rPr lang="da-DK" dirty="0"/>
              <a:t> Tekst</a:t>
            </a:r>
          </a:p>
          <a:p>
            <a:r>
              <a:rPr lang="da-DK" dirty="0"/>
              <a:t> Tekst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C036E63E-0936-6E48-B39F-028BB2CB9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158" y="3714967"/>
            <a:ext cx="2520372" cy="2398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33460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em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8C022D2-711D-3B48-9664-6E97484392F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3AD1A35-4CCE-1C47-BAAC-A29B69D42F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6231" y="3780149"/>
            <a:ext cx="6232180" cy="1470041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5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 for nyt tema/emne</a:t>
            </a:r>
          </a:p>
        </p:txBody>
      </p:sp>
      <p:sp>
        <p:nvSpPr>
          <p:cNvPr id="11" name="Pladsholder til billede 21">
            <a:extLst>
              <a:ext uri="{FF2B5EF4-FFF2-40B4-BE49-F238E27FC236}">
                <a16:creationId xmlns:a16="http://schemas.microsoft.com/office/drawing/2014/main" id="{79C2A64C-C131-7147-B71D-EF7FA287183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61675" y="1580349"/>
            <a:ext cx="1861293" cy="1861293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5A1DB3C-A15F-F44C-B74D-5E8BAEC926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6231" y="5355771"/>
            <a:ext cx="6232180" cy="837848"/>
          </a:xfrm>
        </p:spPr>
        <p:txBody>
          <a:bodyPr anchor="t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2000" cap="none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evt. kort understøttende tekst</a:t>
            </a:r>
          </a:p>
        </p:txBody>
      </p:sp>
    </p:spTree>
    <p:extLst>
      <p:ext uri="{BB962C8B-B14F-4D97-AF65-F5344CB8AC3E}">
        <p14:creationId xmlns:p14="http://schemas.microsoft.com/office/powerpoint/2010/main" val="21615834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8" y="0"/>
            <a:ext cx="5916612" cy="6858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6275388" cy="685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58814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67619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856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94486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83673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45C937D3-2FD3-D148-9B52-28210AC27B20}"/>
              </a:ext>
            </a:extLst>
          </p:cNvPr>
          <p:cNvSpPr/>
          <p:nvPr userDrawn="1"/>
        </p:nvSpPr>
        <p:spPr>
          <a:xfrm>
            <a:off x="6108568" y="0"/>
            <a:ext cx="608343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03A224DA-2850-CB41-8EBA-23FB13A4A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1092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EB37FB4A-7EE7-7342-AF40-FDD92B4E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03054" y="1196976"/>
            <a:ext cx="4222982" cy="1547812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829137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kta bok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lå baggrund"/>
          <p:cNvSpPr/>
          <p:nvPr userDrawn="1"/>
        </p:nvSpPr>
        <p:spPr>
          <a:xfrm>
            <a:off x="-1" y="0"/>
            <a:ext cx="40644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" name="Mørk blå baggrund"/>
          <p:cNvSpPr/>
          <p:nvPr userDrawn="1"/>
        </p:nvSpPr>
        <p:spPr>
          <a:xfrm>
            <a:off x="4063800" y="0"/>
            <a:ext cx="40644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Grøn baggrund"/>
          <p:cNvSpPr/>
          <p:nvPr userDrawn="1"/>
        </p:nvSpPr>
        <p:spPr>
          <a:xfrm>
            <a:off x="8128200" y="0"/>
            <a:ext cx="4064400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199" y="1196975"/>
            <a:ext cx="2880000" cy="104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Indsæt fakta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2199" y="2335214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41608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37758" y="2335213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701559" y="2335213"/>
            <a:ext cx="2880000" cy="3821112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26458" y="2635420"/>
            <a:ext cx="646112" cy="24288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0589394-5D7C-2F4F-8AB5-24F785BCD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98453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</p:spTree>
    <p:extLst>
      <p:ext uri="{BB962C8B-B14F-4D97-AF65-F5344CB8AC3E}">
        <p14:creationId xmlns:p14="http://schemas.microsoft.com/office/powerpoint/2010/main" val="38810749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akta bokse med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1184C-B22A-AD40-8EC2-6DB7F8554D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20" name="Pladsholder til tekst 20">
            <a:extLst>
              <a:ext uri="{FF2B5EF4-FFF2-40B4-BE49-F238E27FC236}">
                <a16:creationId xmlns:a16="http://schemas.microsoft.com/office/drawing/2014/main" id="{589E580B-CAF0-0843-9549-CC4DC8EB83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2" y="2227943"/>
            <a:ext cx="3248251" cy="4126359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E173464F-0D76-D747-8AD0-2735D2AA33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65769" y="2227943"/>
            <a:ext cx="3248251" cy="4126359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2" name="Pladsholder til tekst 20">
            <a:extLst>
              <a:ext uri="{FF2B5EF4-FFF2-40B4-BE49-F238E27FC236}">
                <a16:creationId xmlns:a16="http://schemas.microsoft.com/office/drawing/2014/main" id="{D7009CD0-C6D3-DA47-9564-AA91F054FE8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48876" y="2227943"/>
            <a:ext cx="3248251" cy="4126359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B673409-9F47-FB45-A48A-89910EF4B4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4667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74B29C6-58EB-D34C-9127-ACEA3C8422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27295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1A87E3-BEAA-A645-A475-1D81C3B496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17980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Pladsholder til dato 2">
            <a:extLst>
              <a:ext uri="{FF2B5EF4-FFF2-40B4-BE49-F238E27FC236}">
                <a16:creationId xmlns:a16="http://schemas.microsoft.com/office/drawing/2014/main" id="{6163A414-1DB0-E44F-AA68-084AD5F92A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3" name="Pladsholder til sidefod 3">
            <a:extLst>
              <a:ext uri="{FF2B5EF4-FFF2-40B4-BE49-F238E27FC236}">
                <a16:creationId xmlns:a16="http://schemas.microsoft.com/office/drawing/2014/main" id="{D5BDAAB7-64D3-6F4A-B353-FD3D427AA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4" name="Pladsholder til slidenummer 4">
            <a:extLst>
              <a:ext uri="{FF2B5EF4-FFF2-40B4-BE49-F238E27FC236}">
                <a16:creationId xmlns:a16="http://schemas.microsoft.com/office/drawing/2014/main" id="{69B55418-5C62-9B4C-862D-AC2428413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ADE3066-ED1D-4F49-93F8-391ABD55C0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90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7F8424-2719-084A-B7D9-9177E1063F2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19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6C2F8DB8-478D-2747-97E7-34A79FA6D6D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11880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522586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94D1D345-D353-6F4A-A586-8E5CDA0F43FC}"/>
              </a:ext>
            </a:extLst>
          </p:cNvPr>
          <p:cNvSpPr/>
          <p:nvPr userDrawn="1"/>
        </p:nvSpPr>
        <p:spPr>
          <a:xfrm>
            <a:off x="949705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Pladsholder til tekst 15">
            <a:extLst>
              <a:ext uri="{FF2B5EF4-FFF2-40B4-BE49-F238E27FC236}">
                <a16:creationId xmlns:a16="http://schemas.microsoft.com/office/drawing/2014/main" id="{8E6A2F22-BEF4-6543-97DA-88F5BA3B8E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9705" y="2488040"/>
            <a:ext cx="4920028" cy="1051854"/>
          </a:xfrm>
        </p:spPr>
        <p:txBody>
          <a:bodyPr/>
          <a:lstStyle>
            <a:lvl1pPr algn="ctr"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D815E82-1046-D241-BFCC-C6BAD16F7C90}"/>
              </a:ext>
            </a:extLst>
          </p:cNvPr>
          <p:cNvSpPr/>
          <p:nvPr userDrawn="1"/>
        </p:nvSpPr>
        <p:spPr>
          <a:xfrm>
            <a:off x="6181582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2" name="Pladsholder til tekst 13">
            <a:extLst>
              <a:ext uri="{FF2B5EF4-FFF2-40B4-BE49-F238E27FC236}">
                <a16:creationId xmlns:a16="http://schemas.microsoft.com/office/drawing/2014/main" id="{3F7C6172-494C-DD44-8F59-32C8484CFA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2152" y="2108027"/>
            <a:ext cx="3798888" cy="3101517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ext</a:t>
            </a:r>
          </a:p>
          <a:p>
            <a:r>
              <a:rPr lang="en-GB" noProof="0" dirty="0"/>
              <a:t>Text</a:t>
            </a:r>
          </a:p>
          <a:p>
            <a:r>
              <a:rPr lang="en-GB" noProof="0" dirty="0"/>
              <a:t>Text</a:t>
            </a:r>
          </a:p>
          <a:p>
            <a:r>
              <a:rPr lang="en-GB" noProof="0" dirty="0"/>
              <a:t>Text</a:t>
            </a:r>
          </a:p>
          <a:p>
            <a:r>
              <a:rPr lang="en-GB" noProof="0" dirty="0"/>
              <a:t>Text</a:t>
            </a:r>
          </a:p>
          <a:p>
            <a:r>
              <a:rPr lang="en-GB" noProof="0" dirty="0"/>
              <a:t>Text</a:t>
            </a:r>
          </a:p>
          <a:p>
            <a:r>
              <a:rPr lang="en-GB" noProof="0" dirty="0"/>
              <a:t>Text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C036E63E-0936-6E48-B39F-028BB2CB9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158" y="3714967"/>
            <a:ext cx="2520372" cy="2398994"/>
          </a:xfrm>
          <a:prstGeom prst="rect">
            <a:avLst/>
          </a:prstGeom>
        </p:spPr>
      </p:pic>
      <p:sp>
        <p:nvSpPr>
          <p:cNvPr id="14" name="Date_DateCustomA">
            <a:extLst>
              <a:ext uri="{FF2B5EF4-FFF2-40B4-BE49-F238E27FC236}">
                <a16:creationId xmlns:a16="http://schemas.microsoft.com/office/drawing/2014/main" id="{2D00E44A-99BE-684E-879D-58D47CDF16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FLD_PresentationTitle">
            <a:extLst>
              <a:ext uri="{FF2B5EF4-FFF2-40B4-BE49-F238E27FC236}">
                <a16:creationId xmlns:a16="http://schemas.microsoft.com/office/drawing/2014/main" id="{F0639A58-1F48-0D45-B8EE-C5C6CB48ED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F9487E41-FDD1-8842-98FB-D55154F16E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959977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ktangel 23">
            <a:extLst>
              <a:ext uri="{FF2B5EF4-FFF2-40B4-BE49-F238E27FC236}">
                <a16:creationId xmlns:a16="http://schemas.microsoft.com/office/drawing/2014/main" id="{A70984DD-6FD6-BD49-9823-E01C00074D58}"/>
              </a:ext>
            </a:extLst>
          </p:cNvPr>
          <p:cNvSpPr/>
          <p:nvPr userDrawn="1"/>
        </p:nvSpPr>
        <p:spPr>
          <a:xfrm>
            <a:off x="0" y="0"/>
            <a:ext cx="6102000" cy="343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B49CAF25-176E-5A4D-9CBF-5CBAFF28450B}"/>
              </a:ext>
            </a:extLst>
          </p:cNvPr>
          <p:cNvSpPr/>
          <p:nvPr userDrawn="1"/>
        </p:nvSpPr>
        <p:spPr>
          <a:xfrm>
            <a:off x="6102000" y="0"/>
            <a:ext cx="6102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2675EE6C-9AF8-5640-8C49-6FCA0D37E4BD}"/>
              </a:ext>
            </a:extLst>
          </p:cNvPr>
          <p:cNvSpPr/>
          <p:nvPr userDrawn="1"/>
        </p:nvSpPr>
        <p:spPr>
          <a:xfrm>
            <a:off x="0" y="3438000"/>
            <a:ext cx="6102000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0250F1C9-E8CA-1D4D-A702-30E9656301CB}"/>
              </a:ext>
            </a:extLst>
          </p:cNvPr>
          <p:cNvSpPr/>
          <p:nvPr userDrawn="1"/>
        </p:nvSpPr>
        <p:spPr>
          <a:xfrm>
            <a:off x="6102000" y="3438000"/>
            <a:ext cx="6102000" cy="343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2C280509-312C-EC4E-9055-368511E7B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242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E5BCC922-2B97-6D45-B26E-C9DCD91CA6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86475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F1A17406-FA28-AF46-87B0-90C9678BE3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6475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974BBC5-8EA0-F544-8FD6-3D20CB74A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6392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B58BAF-EB02-584B-8F8E-308E103900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6475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04355197-8B32-A144-8021-CBD5A16714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6475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1270C9-01F1-7647-BB60-707726D0B4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6392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097DD830-2D9D-0F4F-AB87-6A0DF610B3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6392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6632582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4231207E-52DE-7743-B71F-230159D42985}"/>
              </a:ext>
            </a:extLst>
          </p:cNvPr>
          <p:cNvSpPr/>
          <p:nvPr userDrawn="1"/>
        </p:nvSpPr>
        <p:spPr>
          <a:xfrm>
            <a:off x="0" y="3438854"/>
            <a:ext cx="4064399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363B3948-444E-AA45-B1E9-7EDF40549589}"/>
              </a:ext>
            </a:extLst>
          </p:cNvPr>
          <p:cNvSpPr/>
          <p:nvPr userDrawn="1"/>
        </p:nvSpPr>
        <p:spPr>
          <a:xfrm>
            <a:off x="4060281" y="3438854"/>
            <a:ext cx="4064399" cy="343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5F8A012-C0A3-7947-83C8-A529753F4C0A}"/>
              </a:ext>
            </a:extLst>
          </p:cNvPr>
          <p:cNvSpPr/>
          <p:nvPr userDrawn="1"/>
        </p:nvSpPr>
        <p:spPr>
          <a:xfrm>
            <a:off x="8123999" y="3438854"/>
            <a:ext cx="4068000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BC0267F-007F-3641-8922-B7E2F637F90A}"/>
              </a:ext>
            </a:extLst>
          </p:cNvPr>
          <p:cNvSpPr/>
          <p:nvPr userDrawn="1"/>
        </p:nvSpPr>
        <p:spPr>
          <a:xfrm>
            <a:off x="0" y="0"/>
            <a:ext cx="4064399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D5C2644-5515-1A4C-861C-7326752F58CA}"/>
              </a:ext>
            </a:extLst>
          </p:cNvPr>
          <p:cNvSpPr/>
          <p:nvPr userDrawn="1"/>
        </p:nvSpPr>
        <p:spPr>
          <a:xfrm>
            <a:off x="4060281" y="0"/>
            <a:ext cx="4064399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49124EA-328E-544F-8063-AD5A0253A45B}"/>
              </a:ext>
            </a:extLst>
          </p:cNvPr>
          <p:cNvSpPr/>
          <p:nvPr userDrawn="1"/>
        </p:nvSpPr>
        <p:spPr>
          <a:xfrm>
            <a:off x="8123999" y="0"/>
            <a:ext cx="4068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90D8679-556B-8A40-899D-9C84538CB7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199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4B3218E-0749-9E44-8EB8-F4A37D35C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6298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95927F8-1F62-F141-B530-0EFB97A9C3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87787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F466B7C-EB91-BF4C-AF64-2F54DF448F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199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39CC98F-B499-7842-957F-DE634767DF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6298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899C76E-502E-5F4D-965E-B2EE55D85B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87787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3" name="Pladsholder til billede 21">
            <a:extLst>
              <a:ext uri="{FF2B5EF4-FFF2-40B4-BE49-F238E27FC236}">
                <a16:creationId xmlns:a16="http://schemas.microsoft.com/office/drawing/2014/main" id="{DF55435F-ADCB-E04B-8525-F3542D26DA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444480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2" name="Pladsholder til billede 21">
            <a:extLst>
              <a:ext uri="{FF2B5EF4-FFF2-40B4-BE49-F238E27FC236}">
                <a16:creationId xmlns:a16="http://schemas.microsoft.com/office/drawing/2014/main" id="{645988EB-136C-7B47-8BA1-CF5AFA25140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28662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3" name="Pladsholder til billede 21">
            <a:extLst>
              <a:ext uri="{FF2B5EF4-FFF2-40B4-BE49-F238E27FC236}">
                <a16:creationId xmlns:a16="http://schemas.microsoft.com/office/drawing/2014/main" id="{25765CAD-7482-C640-9455-1D6708AA64F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592275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4" name="Pladsholder til billede 21">
            <a:extLst>
              <a:ext uri="{FF2B5EF4-FFF2-40B4-BE49-F238E27FC236}">
                <a16:creationId xmlns:a16="http://schemas.microsoft.com/office/drawing/2014/main" id="{10C7017F-8D5D-1C4A-B3D6-C1EF8301B11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44480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5" name="Pladsholder til billede 21">
            <a:extLst>
              <a:ext uri="{FF2B5EF4-FFF2-40B4-BE49-F238E27FC236}">
                <a16:creationId xmlns:a16="http://schemas.microsoft.com/office/drawing/2014/main" id="{43FF324F-4E4B-1D43-8DE6-5DF412D016B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428662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6" name="Pladsholder til billede 21">
            <a:extLst>
              <a:ext uri="{FF2B5EF4-FFF2-40B4-BE49-F238E27FC236}">
                <a16:creationId xmlns:a16="http://schemas.microsoft.com/office/drawing/2014/main" id="{6840F908-7AC0-954D-87CD-F598A573381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92275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</p:spTree>
    <p:extLst>
      <p:ext uri="{BB962C8B-B14F-4D97-AF65-F5344CB8AC3E}">
        <p14:creationId xmlns:p14="http://schemas.microsoft.com/office/powerpoint/2010/main" val="229435237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2916302"/>
            <a:ext cx="2398100" cy="3438000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2916302"/>
            <a:ext cx="2398100" cy="3438000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2916302"/>
            <a:ext cx="2398100" cy="343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2916302"/>
            <a:ext cx="2398100" cy="3438000"/>
          </a:xfrm>
          <a:solidFill>
            <a:schemeClr val="accent5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</p:spTree>
    <p:extLst>
      <p:ext uri="{BB962C8B-B14F-4D97-AF65-F5344CB8AC3E}">
        <p14:creationId xmlns:p14="http://schemas.microsoft.com/office/powerpoint/2010/main" val="357232471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40035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E1B3C7FE-A5C5-DB43-8F81-6B58E061747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82663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23" name="Pladsholder til billede 6">
            <a:extLst>
              <a:ext uri="{FF2B5EF4-FFF2-40B4-BE49-F238E27FC236}">
                <a16:creationId xmlns:a16="http://schemas.microsoft.com/office/drawing/2014/main" id="{0DD12C78-FFFA-B441-91D8-3D10BA15064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0028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5" name="Pladsholder til billede 6">
            <a:extLst>
              <a:ext uri="{FF2B5EF4-FFF2-40B4-BE49-F238E27FC236}">
                <a16:creationId xmlns:a16="http://schemas.microsoft.com/office/drawing/2014/main" id="{5433A101-EEC2-1A43-BCC6-EA29BC4C810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9005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6" name="Pladsholder til billede 6">
            <a:extLst>
              <a:ext uri="{FF2B5EF4-FFF2-40B4-BE49-F238E27FC236}">
                <a16:creationId xmlns:a16="http://schemas.microsoft.com/office/drawing/2014/main" id="{C060D71F-6125-7045-8FC0-37F1BD04BF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826370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</p:spTree>
    <p:extLst>
      <p:ext uri="{BB962C8B-B14F-4D97-AF65-F5344CB8AC3E}">
        <p14:creationId xmlns:p14="http://schemas.microsoft.com/office/powerpoint/2010/main" val="392231627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4511825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761376"/>
            <a:ext cx="6749592" cy="2535237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5680" y="5249848"/>
            <a:ext cx="5364292" cy="839867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kort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680" y="4069772"/>
            <a:ext cx="5364291" cy="1030127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221100852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58639" y="0"/>
            <a:ext cx="4242062" cy="6858000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72980" y="2607740"/>
            <a:ext cx="3337528" cy="351968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2980" y="789245"/>
            <a:ext cx="3337528" cy="1576883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226659237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22772A8C-5A1B-E74C-98FD-E87FD5A80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5013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5F867355-AAA7-FD40-B0C3-7BAE5A5FC3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D8A753AC-05F3-AD4C-BF95-2BE4A21C048C}"/>
              </a:ext>
            </a:extLst>
          </p:cNvPr>
          <p:cNvSpPr txBox="1"/>
          <p:nvPr userDrawn="1"/>
        </p:nvSpPr>
        <p:spPr>
          <a:xfrm>
            <a:off x="3479800" y="1876695"/>
            <a:ext cx="5232400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5000" dirty="0">
                <a:solidFill>
                  <a:schemeClr val="bg1"/>
                </a:solidFill>
              </a:rPr>
              <a:t>PAUS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3DDF7F7-0AC1-C443-BA29-DD597A10C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575" y="2261415"/>
            <a:ext cx="4020155" cy="393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69555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ørgsmå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99" b="1121"/>
          <a:stretch/>
        </p:blipFill>
        <p:spPr>
          <a:xfrm>
            <a:off x="-16298" y="0"/>
            <a:ext cx="12208298" cy="6857999"/>
          </a:xfrm>
          <a:prstGeom prst="rect">
            <a:avLst/>
          </a:prstGeom>
        </p:spPr>
      </p:pic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389376" y="5822731"/>
            <a:ext cx="6410325" cy="377825"/>
          </a:xfrm>
        </p:spPr>
        <p:txBody>
          <a:bodyPr/>
          <a:lstStyle>
            <a:lvl1pPr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ONTAKT: Tlf.: xx xx xx xx Mail: </a:t>
            </a:r>
            <a:r>
              <a:rPr lang="da-DK" dirty="0" err="1"/>
              <a:t>XXX@energinet.dk</a:t>
            </a:r>
            <a:endParaRPr lang="da-DK" dirty="0"/>
          </a:p>
        </p:txBody>
      </p:sp>
      <p:sp>
        <p:nvSpPr>
          <p:cNvPr id="4" name="Tekstfelt 3"/>
          <p:cNvSpPr txBox="1"/>
          <p:nvPr userDrawn="1"/>
        </p:nvSpPr>
        <p:spPr>
          <a:xfrm>
            <a:off x="2701158" y="2026750"/>
            <a:ext cx="6600497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0" dirty="0">
                <a:solidFill>
                  <a:schemeClr val="bg1"/>
                </a:solidFill>
              </a:rPr>
              <a:t>SPØRGSMÅL</a:t>
            </a:r>
          </a:p>
        </p:txBody>
      </p:sp>
    </p:spTree>
    <p:extLst>
      <p:ext uri="{BB962C8B-B14F-4D97-AF65-F5344CB8AC3E}">
        <p14:creationId xmlns:p14="http://schemas.microsoft.com/office/powerpoint/2010/main" val="42875675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em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8C022D2-711D-3B48-9664-6E97484392F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3AD1A35-4CCE-1C47-BAAC-A29B69D42F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6231" y="3780149"/>
            <a:ext cx="6232180" cy="1470041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5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/>
              <a:t>Insert heading </a:t>
            </a:r>
            <a:br>
              <a:rPr lang="en-GB" noProof="0"/>
            </a:br>
            <a:r>
              <a:rPr lang="en-GB" noProof="0"/>
              <a:t>for new topic</a:t>
            </a:r>
          </a:p>
        </p:txBody>
      </p:sp>
      <p:sp>
        <p:nvSpPr>
          <p:cNvPr id="11" name="Pladsholder til billede 21">
            <a:extLst>
              <a:ext uri="{FF2B5EF4-FFF2-40B4-BE49-F238E27FC236}">
                <a16:creationId xmlns:a16="http://schemas.microsoft.com/office/drawing/2014/main" id="{79C2A64C-C131-7147-B71D-EF7FA287183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61675" y="1580349"/>
            <a:ext cx="1861293" cy="1861293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icon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5A1DB3C-A15F-F44C-B74D-5E8BAEC926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6231" y="5355771"/>
            <a:ext cx="6232180" cy="837848"/>
          </a:xfrm>
        </p:spPr>
        <p:txBody>
          <a:bodyPr anchor="t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2000" cap="none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/>
              <a:t>Insert short support text</a:t>
            </a:r>
          </a:p>
        </p:txBody>
      </p:sp>
    </p:spTree>
    <p:extLst>
      <p:ext uri="{BB962C8B-B14F-4D97-AF65-F5344CB8AC3E}">
        <p14:creationId xmlns:p14="http://schemas.microsoft.com/office/powerpoint/2010/main" val="344254477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ast overskrift"/>
          <p:cNvSpPr txBox="1"/>
          <p:nvPr userDrawn="1"/>
        </p:nvSpPr>
        <p:spPr>
          <a:xfrm>
            <a:off x="982663" y="539750"/>
            <a:ext cx="9361487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7" name="Text Box 2"/>
          <p:cNvSpPr txBox="1">
            <a:spLocks noChangeArrowheads="1"/>
          </p:cNvSpPr>
          <p:nvPr userDrawn="1"/>
        </p:nvSpPr>
        <p:spPr bwMode="auto">
          <a:xfrm>
            <a:off x="982667" y="1833789"/>
            <a:ext cx="2280360" cy="4678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10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for at fjerne og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ætte bullet på igen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s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dia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ndsætte nyt sl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det layout, du ønsker,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ændre dit nuværende layout til et alternativt.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 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3"/>
          <p:cNvSpPr txBox="1">
            <a:spLocks noChangeArrowheads="1"/>
          </p:cNvSpPr>
          <p:nvPr userDrawn="1"/>
        </p:nvSpPr>
        <p:spPr bwMode="auto">
          <a:xfrm>
            <a:off x="5039973" y="1833789"/>
            <a:ext cx="1927222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ér billedet. 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værktøj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.</a:t>
            </a:r>
          </a:p>
        </p:txBody>
      </p:sp>
      <p:sp>
        <p:nvSpPr>
          <p:cNvPr id="19" name="Text Box 4"/>
          <p:cNvSpPr txBox="1">
            <a:spLocks noChangeArrowheads="1"/>
          </p:cNvSpPr>
          <p:nvPr userDrawn="1"/>
        </p:nvSpPr>
        <p:spPr bwMode="auto">
          <a:xfrm>
            <a:off x="9062174" y="1815926"/>
            <a:ext cx="2256615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så det slår igennem på alle slides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tast evt. tekst i sidefod)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1 Forøg formindsk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43464" y="2877130"/>
            <a:ext cx="549328" cy="285228"/>
          </a:xfrm>
          <a:prstGeom prst="rect">
            <a:avLst/>
          </a:prstGeom>
        </p:spPr>
      </p:pic>
      <p:pic>
        <p:nvPicPr>
          <p:cNvPr id="26" name="2 Ny slide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57383" y="3958874"/>
            <a:ext cx="363713" cy="647461"/>
          </a:xfrm>
          <a:prstGeom prst="rect">
            <a:avLst/>
          </a:prstGeom>
        </p:spPr>
      </p:pic>
      <p:pic>
        <p:nvPicPr>
          <p:cNvPr id="27" name="4 Nulsti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45551" y="5464557"/>
            <a:ext cx="547241" cy="197798"/>
          </a:xfrm>
          <a:prstGeom prst="rect">
            <a:avLst/>
          </a:prstGeom>
        </p:spPr>
      </p:pic>
      <p:pic>
        <p:nvPicPr>
          <p:cNvPr id="30" name="5 Indsæt billed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7195" y="2075087"/>
            <a:ext cx="262151" cy="256054"/>
          </a:xfrm>
          <a:prstGeom prst="rect">
            <a:avLst/>
          </a:prstGeom>
        </p:spPr>
      </p:pic>
      <p:pic>
        <p:nvPicPr>
          <p:cNvPr id="31" name="6 Beskær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29570" y="3095427"/>
            <a:ext cx="337400" cy="321707"/>
          </a:xfrm>
          <a:prstGeom prst="rect">
            <a:avLst/>
          </a:prstGeom>
        </p:spPr>
      </p:pic>
      <p:pic>
        <p:nvPicPr>
          <p:cNvPr id="32" name="7 Skalér billed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5349" y="3543401"/>
            <a:ext cx="359695" cy="335309"/>
          </a:xfrm>
          <a:prstGeom prst="rect">
            <a:avLst/>
          </a:prstGeom>
        </p:spPr>
      </p:pic>
      <p:pic>
        <p:nvPicPr>
          <p:cNvPr id="33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39595" y="3321050"/>
            <a:ext cx="199287" cy="192169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5349" y="2723498"/>
            <a:ext cx="595309" cy="350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107027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ikkerhe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1" name="Tekstfelt 10"/>
          <p:cNvSpPr txBox="1"/>
          <p:nvPr userDrawn="1"/>
        </p:nvSpPr>
        <p:spPr>
          <a:xfrm>
            <a:off x="2749328" y="4057651"/>
            <a:ext cx="166792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NØDUDGANGE</a:t>
            </a:r>
          </a:p>
        </p:txBody>
      </p:sp>
      <p:sp>
        <p:nvSpPr>
          <p:cNvPr id="12" name="Tekstfelt 11"/>
          <p:cNvSpPr txBox="1"/>
          <p:nvPr userDrawn="1"/>
        </p:nvSpPr>
        <p:spPr>
          <a:xfrm>
            <a:off x="5219443" y="4057651"/>
            <a:ext cx="20739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HJERTESTARTER</a:t>
            </a:r>
          </a:p>
        </p:txBody>
      </p:sp>
      <p:sp>
        <p:nvSpPr>
          <p:cNvPr id="13" name="Tekstfelt 12"/>
          <p:cNvSpPr txBox="1"/>
          <p:nvPr userDrawn="1"/>
        </p:nvSpPr>
        <p:spPr>
          <a:xfrm>
            <a:off x="7968792" y="4057651"/>
            <a:ext cx="18645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AMLINGSSTED</a:t>
            </a:r>
          </a:p>
        </p:txBody>
      </p:sp>
      <p:pic>
        <p:nvPicPr>
          <p:cNvPr id="3" name="Billede 2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44F8C9F1-2E7E-B348-9536-95B3E0340C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78" r="669"/>
          <a:stretch/>
        </p:blipFill>
        <p:spPr>
          <a:xfrm>
            <a:off x="2714158" y="2146300"/>
            <a:ext cx="1650438" cy="1636776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F91BF282-FC60-7E4F-8ED4-8CFE6E76CD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8" t="1358" r="1509"/>
          <a:stretch/>
        </p:blipFill>
        <p:spPr>
          <a:xfrm>
            <a:off x="5410200" y="2168524"/>
            <a:ext cx="1593850" cy="1614551"/>
          </a:xfrm>
          <a:prstGeom prst="rect">
            <a:avLst/>
          </a:prstGeom>
        </p:spPr>
      </p:pic>
      <p:pic>
        <p:nvPicPr>
          <p:cNvPr id="17" name="Billede 16" descr="Et billede, der indeholder tekst, skilt, førstehjælpssæt, clipart&#10;&#10;Automatisk genereret beskrivelse">
            <a:extLst>
              <a:ext uri="{FF2B5EF4-FFF2-40B4-BE49-F238E27FC236}">
                <a16:creationId xmlns:a16="http://schemas.microsoft.com/office/drawing/2014/main" id="{948BE73B-F68F-9746-A38C-C0BEBB6BB3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1" t="1779" r="2336" b="-1"/>
          <a:stretch/>
        </p:blipFill>
        <p:spPr>
          <a:xfrm>
            <a:off x="8049654" y="2168524"/>
            <a:ext cx="1595235" cy="161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95726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 hidden="1"/>
          <p:cNvSpPr>
            <a:spLocks noGrp="1"/>
          </p:cNvSpPr>
          <p:nvPr>
            <p:ph type="dt" sz="half" idx="10"/>
          </p:nvPr>
        </p:nvSpPr>
        <p:spPr>
          <a:xfrm>
            <a:off x="13326565" y="6398800"/>
            <a:ext cx="2844800" cy="365125"/>
          </a:xfrm>
          <a:prstGeom prst="rect">
            <a:avLst/>
          </a:prstGeom>
        </p:spPr>
        <p:txBody>
          <a:bodyPr/>
          <a:lstStyle/>
          <a:p>
            <a:fld id="{F66CA07D-64E1-034A-8F24-0DAB39FC3D07}" type="datetime3">
              <a:t>08.06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FFC2FA75-A41F-AF45-B044-73D2FD7526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8" name="Pladsholder til tekst 4">
            <a:extLst>
              <a:ext uri="{FF2B5EF4-FFF2-40B4-BE49-F238E27FC236}">
                <a16:creationId xmlns:a16="http://schemas.microsoft.com/office/drawing/2014/main" id="{36D652E3-BAFC-964A-B2C9-1952C9AAF6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44E55857-C7BD-CD49-9DDF-FE95D8EE2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454F0FB0-0930-E74E-8BCD-237833E2E8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261057239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5426B8D0-6451-734B-AB7E-3E8886D805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7576BDBF-B923-3D47-9E0B-2061C34A06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F56EFBC7-2209-6D48-B526-57ABE1AC4C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424239710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2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5426B8D0-6451-734B-AB7E-3E8886D805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7576BDBF-B923-3D47-9E0B-2061C34A06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F56EFBC7-2209-6D48-B526-57ABE1AC4C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346927362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3" y="2"/>
            <a:ext cx="12191999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6" name="Titel 10">
            <a:extLst>
              <a:ext uri="{FF2B5EF4-FFF2-40B4-BE49-F238E27FC236}">
                <a16:creationId xmlns:a16="http://schemas.microsoft.com/office/drawing/2014/main" id="{A618B4AE-9447-C943-8C77-78BA514BB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42B49B3D-4866-474E-B5F1-BC5836BAAD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3" name="Pladsholder til tekst 4">
            <a:extLst>
              <a:ext uri="{FF2B5EF4-FFF2-40B4-BE49-F238E27FC236}">
                <a16:creationId xmlns:a16="http://schemas.microsoft.com/office/drawing/2014/main" id="{28B61AEC-F957-7E4A-8764-380FB29C31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5" name="Pladsholder til tekst 4">
            <a:extLst>
              <a:ext uri="{FF2B5EF4-FFF2-40B4-BE49-F238E27FC236}">
                <a16:creationId xmlns:a16="http://schemas.microsoft.com/office/drawing/2014/main" id="{240A9312-A4D3-6C4C-9289-47F9CFB5DE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96192117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mørk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2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mørkt billede, via fanen Indsæt, Billeder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B7F9C7AC-DC81-ED40-9796-33611B5DB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0FE724D6-0010-3743-B773-F1E842B91E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0" name="Pladsholder til tekst 4">
            <a:extLst>
              <a:ext uri="{FF2B5EF4-FFF2-40B4-BE49-F238E27FC236}">
                <a16:creationId xmlns:a16="http://schemas.microsoft.com/office/drawing/2014/main" id="{BE265931-DAC6-D44C-A798-75A6AEDB7B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3A38A144-48BD-4840-B806-50FD592F2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380494183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lys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2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lyst billede, via fanen Indsæt, Billeder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0D1A318C-794C-8F43-BB2A-5B5C17C66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E2DB6ED-3774-F147-BC5B-CBB2C762BF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0" name="Pladsholder til tekst 4">
            <a:extLst>
              <a:ext uri="{FF2B5EF4-FFF2-40B4-BE49-F238E27FC236}">
                <a16:creationId xmlns:a16="http://schemas.microsoft.com/office/drawing/2014/main" id="{243ED9BF-2A3C-6049-A1E1-AB5D7B574C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5C5A113F-50FD-ED43-8C56-0A78605B7F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268498424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gsorde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2C2D31F3-CACE-E542-8D63-F51828BAB7CB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51689" y="1557867"/>
            <a:ext cx="5083772" cy="3742267"/>
          </a:xfrm>
        </p:spPr>
        <p:txBody>
          <a:bodyPr anchor="ctr"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  <p:sp>
        <p:nvSpPr>
          <p:cNvPr id="9" name="Pladsholder til tabel 3">
            <a:extLst>
              <a:ext uri="{FF2B5EF4-FFF2-40B4-BE49-F238E27FC236}">
                <a16:creationId xmlns:a16="http://schemas.microsoft.com/office/drawing/2014/main" id="{552EDF94-9408-1844-A084-BB4D7A171B0D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5834" y="1557867"/>
            <a:ext cx="5083772" cy="3742267"/>
          </a:xfrm>
        </p:spPr>
        <p:txBody>
          <a:bodyPr anchor="ctr"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</p:spTree>
    <p:extLst>
      <p:ext uri="{BB962C8B-B14F-4D97-AF65-F5344CB8AC3E}">
        <p14:creationId xmlns:p14="http://schemas.microsoft.com/office/powerpoint/2010/main" val="141301818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7" name="Pladsholder til tekst 2">
            <a:extLst>
              <a:ext uri="{FF2B5EF4-FFF2-40B4-BE49-F238E27FC236}">
                <a16:creationId xmlns:a16="http://schemas.microsoft.com/office/drawing/2014/main" id="{2B905F23-B72E-2848-8F49-90F1C7478C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58660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510290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8" y="0"/>
            <a:ext cx="5916612" cy="6858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Drag image to placeholder or </a:t>
            </a:r>
            <a:r>
              <a:rPr lang="da-DK" dirty="0" err="1"/>
              <a:t>click</a:t>
            </a:r>
            <a:r>
              <a:rPr lang="da-DK" dirty="0"/>
              <a:t> on the symbol to </a:t>
            </a:r>
            <a:r>
              <a:rPr lang="da-DK" dirty="0" err="1"/>
              <a:t>add</a:t>
            </a:r>
            <a:r>
              <a:rPr lang="da-DK" dirty="0"/>
              <a:t> imag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6275388" cy="685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58814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headlin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insert body 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53279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høj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6456459" y="2"/>
            <a:ext cx="5084499" cy="6081713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77A5E23-3409-F646-BCD4-73EEB471E1DF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48255492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venst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74AD5B-8FEC-8D44-AC75-C1F527063C07}" type="datetime3">
              <a:t>08.06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56456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9459" y="2"/>
            <a:ext cx="5083775" cy="6081713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460" y="779463"/>
            <a:ext cx="5084497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11095308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1771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56294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5685947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 rot="5400000">
            <a:off x="3097647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1771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56294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Højrepil 7">
            <a:extLst>
              <a:ext uri="{FF2B5EF4-FFF2-40B4-BE49-F238E27FC236}">
                <a16:creationId xmlns:a16="http://schemas.microsoft.com/office/drawing/2014/main" id="{75257325-A8A5-DD44-BA20-840B4FC669FE}"/>
              </a:ext>
            </a:extLst>
          </p:cNvPr>
          <p:cNvSpPr/>
          <p:nvPr userDrawn="1"/>
        </p:nvSpPr>
        <p:spPr>
          <a:xfrm rot="5400000">
            <a:off x="8902170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102514282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5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63927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0940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406429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7925423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260069260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5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63927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0940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2137804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1" name="Højrepil 10">
            <a:extLst>
              <a:ext uri="{FF2B5EF4-FFF2-40B4-BE49-F238E27FC236}">
                <a16:creationId xmlns:a16="http://schemas.microsoft.com/office/drawing/2014/main" id="{BD0089C5-39E9-C745-A39F-3CD7D32908D7}"/>
              </a:ext>
            </a:extLst>
          </p:cNvPr>
          <p:cNvSpPr/>
          <p:nvPr userDrawn="1"/>
        </p:nvSpPr>
        <p:spPr>
          <a:xfrm rot="5400000">
            <a:off x="5998930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1B398A9-5D04-164D-BB75-5BFDF2E7EB1A}"/>
              </a:ext>
            </a:extLst>
          </p:cNvPr>
          <p:cNvSpPr/>
          <p:nvPr userDrawn="1"/>
        </p:nvSpPr>
        <p:spPr>
          <a:xfrm rot="5400000">
            <a:off x="9851916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175255478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7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2700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67446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85072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3181302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881655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87564543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7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  <a:ln w="6350">
            <a:noFill/>
          </a:ln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2700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67446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8.06.2023</a:t>
            </a:fld>
            <a:endParaRPr lang="da-DK" dirty="0"/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85072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1723571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F819482-7C14-7E43-A620-0B19F87364BA}"/>
              </a:ext>
            </a:extLst>
          </p:cNvPr>
          <p:cNvSpPr/>
          <p:nvPr userDrawn="1"/>
        </p:nvSpPr>
        <p:spPr>
          <a:xfrm rot="5400000">
            <a:off x="4541199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5" name="Højrepil 14">
            <a:extLst>
              <a:ext uri="{FF2B5EF4-FFF2-40B4-BE49-F238E27FC236}">
                <a16:creationId xmlns:a16="http://schemas.microsoft.com/office/drawing/2014/main" id="{29E70971-7A29-5B45-99ED-430CD18479DF}"/>
              </a:ext>
            </a:extLst>
          </p:cNvPr>
          <p:cNvSpPr/>
          <p:nvPr userDrawn="1"/>
        </p:nvSpPr>
        <p:spPr>
          <a:xfrm rot="5400000">
            <a:off x="7358827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6" name="Højrepil 15">
            <a:extLst>
              <a:ext uri="{FF2B5EF4-FFF2-40B4-BE49-F238E27FC236}">
                <a16:creationId xmlns:a16="http://schemas.microsoft.com/office/drawing/2014/main" id="{BEF88CB5-A1ED-2746-A344-31420505FA3C}"/>
              </a:ext>
            </a:extLst>
          </p:cNvPr>
          <p:cNvSpPr/>
          <p:nvPr userDrawn="1"/>
        </p:nvSpPr>
        <p:spPr>
          <a:xfrm rot="5400000">
            <a:off x="10176454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110577881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14831" y="1557340"/>
            <a:ext cx="9362339" cy="3743325"/>
          </a:xfrm>
        </p:spPr>
        <p:txBody>
          <a:bodyPr tIns="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34151222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m iko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14831" y="779579"/>
            <a:ext cx="9362339" cy="4521087"/>
          </a:xfrm>
        </p:spPr>
        <p:txBody>
          <a:bodyPr tIns="108000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9E642AAF-364D-7D43-9F2A-A9F9E4874C3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195766" y="779576"/>
            <a:ext cx="1800469" cy="1800000"/>
          </a:xfrm>
        </p:spPr>
        <p:txBody>
          <a:bodyPr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2646494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856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94486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83673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insert body 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45C937D3-2FD3-D148-9B52-28210AC27B20}"/>
              </a:ext>
            </a:extLst>
          </p:cNvPr>
          <p:cNvSpPr/>
          <p:nvPr userDrawn="1"/>
        </p:nvSpPr>
        <p:spPr>
          <a:xfrm>
            <a:off x="6108568" y="0"/>
            <a:ext cx="606143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03A224DA-2850-CB41-8EBA-23FB13A4A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1092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insert body 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EB37FB4A-7EE7-7342-AF40-FDD92B4E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03054" y="1196976"/>
            <a:ext cx="4222982" cy="1547812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headlin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28578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B03487C-BD18-0048-9D0F-3C1D2ED597B4}" type="datetime3">
              <a:t>08.06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2204866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81868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2204866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2204866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>
            <a:extLst>
              <a:ext uri="{FF2B5EF4-FFF2-40B4-BE49-F238E27FC236}">
                <a16:creationId xmlns:a16="http://schemas.microsoft.com/office/drawing/2014/main" id="{C48F51AF-EE09-7640-985D-49A9AACC625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4480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9" name="Pladsholder til billede 3">
            <a:extLst>
              <a:ext uri="{FF2B5EF4-FFF2-40B4-BE49-F238E27FC236}">
                <a16:creationId xmlns:a16="http://schemas.microsoft.com/office/drawing/2014/main" id="{48734797-E8DF-014D-A55D-6BF430204DE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47092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7FD11B2D-4CCA-B241-84AE-FEEE1ABA1A4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9459" y="4869162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569D038D-5624-EF47-A522-C6916B347C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818680" y="3892240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305F192E-8164-454B-A226-E3A490C19B2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00113" y="4869162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4" name="Pladsholder til tekst 2">
            <a:extLst>
              <a:ext uri="{FF2B5EF4-FFF2-40B4-BE49-F238E27FC236}">
                <a16:creationId xmlns:a16="http://schemas.microsoft.com/office/drawing/2014/main" id="{29618506-C79D-9843-8CE5-115DF2F55A7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75579" y="4869162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EC2F9887-080D-2746-ACBF-1B62B1DAE9F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644800" y="3896363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5502AEEC-30C1-FC48-BEC4-560AB09C51C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469333" y="3892240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401769429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B1EC739-852F-EE44-8C9C-01284F54EED3}" type="datetime3">
              <a:t>08.06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Pladsholder til billede 3">
            <a:extLst>
              <a:ext uri="{FF2B5EF4-FFF2-40B4-BE49-F238E27FC236}">
                <a16:creationId xmlns:a16="http://schemas.microsoft.com/office/drawing/2014/main" id="{BE374975-7548-DB43-B322-B05C57DFC86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4" name="Pladsholder til billede 3">
            <a:extLst>
              <a:ext uri="{FF2B5EF4-FFF2-40B4-BE49-F238E27FC236}">
                <a16:creationId xmlns:a16="http://schemas.microsoft.com/office/drawing/2014/main" id="{4DCAFDAA-8A78-CD42-932F-D2E25057BF2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F5603915-428E-3A4A-8A34-A63E0C91CB5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376633662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2"/>
            <a:ext cx="12192000" cy="608171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B0893C6-87C9-7F41-B621-3BE80FDFE46D}" type="datetime3">
              <a:t>08.06.2023</a:t>
            </a:fld>
            <a:endParaRPr lang="da-DK" dirty="0"/>
          </a:p>
        </p:txBody>
      </p:sp>
      <p:sp>
        <p:nvSpPr>
          <p:cNvPr id="11" name="Pladsholder til billede 3">
            <a:extLst>
              <a:ext uri="{FF2B5EF4-FFF2-40B4-BE49-F238E27FC236}">
                <a16:creationId xmlns:a16="http://schemas.microsoft.com/office/drawing/2014/main" id="{E0700900-EA42-9240-82A1-A3E92F01B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C06FFD9D-DB0A-2E49-8AA3-80E9DC64473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425A97FC-E0D2-714A-BD6F-6A5564969C2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72777990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2"/>
            <a:ext cx="12192000" cy="608171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B0893C6-87C9-7F41-B621-3BE80FDFE46D}" type="datetime3">
              <a:t>08.06.2023</a:t>
            </a:fld>
            <a:endParaRPr lang="da-DK" dirty="0"/>
          </a:p>
        </p:txBody>
      </p:sp>
      <p:sp>
        <p:nvSpPr>
          <p:cNvPr id="11" name="Pladsholder til billede 3">
            <a:extLst>
              <a:ext uri="{FF2B5EF4-FFF2-40B4-BE49-F238E27FC236}">
                <a16:creationId xmlns:a16="http://schemas.microsoft.com/office/drawing/2014/main" id="{E0700900-EA42-9240-82A1-A3E92F01B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C06FFD9D-DB0A-2E49-8AA3-80E9DC64473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425A97FC-E0D2-714A-BD6F-6A5564969C2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276694086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B5CEAD66-5979-CB42-BDA1-48A3ABB5B93E}"/>
              </a:ext>
            </a:extLst>
          </p:cNvPr>
          <p:cNvSpPr/>
          <p:nvPr userDrawn="1"/>
        </p:nvSpPr>
        <p:spPr>
          <a:xfrm>
            <a:off x="0" y="2"/>
            <a:ext cx="12192000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08CA1D-70A7-A240-8844-C946C6445AB0}" type="datetime3">
              <a:t>08.06.2023</a:t>
            </a:fld>
            <a:endParaRPr lang="da-DK" dirty="0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4C31B2DC-2512-6945-A2FF-C091351FA53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E0862E28-9EF0-F041-A943-357CA9977BB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7" name="Pladsholder til billede 3">
            <a:extLst>
              <a:ext uri="{FF2B5EF4-FFF2-40B4-BE49-F238E27FC236}">
                <a16:creationId xmlns:a16="http://schemas.microsoft.com/office/drawing/2014/main" id="{33E1156E-39E4-CB4A-819D-9293C065C5E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8289811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C25E9A2-3CD6-B841-BB4B-7865D9175DAE}" type="datetime3">
              <a:t>08.06.2023</a:t>
            </a:fld>
            <a:endParaRPr lang="da-DK" dirty="0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866"/>
            <a:ext cx="5084500" cy="4523847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083857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B8B704C-C3C0-104D-B9FE-A0C35400DC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/>
            </a:lvl1pPr>
            <a:lvl2pPr algn="r">
              <a:defRPr sz="1333"/>
            </a:lvl2pPr>
            <a:lvl3pPr algn="r">
              <a:defRPr sz="1333"/>
            </a:lvl3pPr>
            <a:lvl4pPr algn="r">
              <a:defRPr sz="1333"/>
            </a:lvl4pPr>
            <a:lvl5pPr algn="r">
              <a:defRPr sz="133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434336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083857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C89AC91-4FCC-EF49-BA41-9CB46A9F1DD9}" type="datetime3">
              <a:t>08.06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>
                <a:solidFill>
                  <a:schemeClr val="bg1"/>
                </a:solidFill>
              </a:defRPr>
            </a:lvl1pPr>
            <a:lvl2pPr algn="r">
              <a:defRPr sz="1333">
                <a:solidFill>
                  <a:schemeClr val="bg1"/>
                </a:solidFill>
              </a:defRPr>
            </a:lvl2pPr>
            <a:lvl3pPr algn="r">
              <a:defRPr sz="1333">
                <a:solidFill>
                  <a:schemeClr val="bg1"/>
                </a:solidFill>
              </a:defRPr>
            </a:lvl3pPr>
            <a:lvl4pPr algn="r">
              <a:defRPr sz="1333">
                <a:solidFill>
                  <a:schemeClr val="bg1"/>
                </a:solidFill>
              </a:defRPr>
            </a:lvl4pPr>
            <a:lvl5pPr algn="r"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7847416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083857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C89AC91-4FCC-EF49-BA41-9CB46A9F1DD9}" type="datetime3">
              <a:t>08.06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>
                <a:solidFill>
                  <a:schemeClr val="bg1"/>
                </a:solidFill>
              </a:defRPr>
            </a:lvl1pPr>
            <a:lvl2pPr algn="r">
              <a:defRPr sz="1333">
                <a:solidFill>
                  <a:schemeClr val="bg1"/>
                </a:solidFill>
              </a:defRPr>
            </a:lvl2pPr>
            <a:lvl3pPr algn="r">
              <a:defRPr sz="1333">
                <a:solidFill>
                  <a:schemeClr val="bg1"/>
                </a:solidFill>
              </a:defRPr>
            </a:lvl3pPr>
            <a:lvl4pPr algn="r">
              <a:defRPr sz="1333">
                <a:solidFill>
                  <a:schemeClr val="bg1"/>
                </a:solidFill>
              </a:defRPr>
            </a:lvl4pPr>
            <a:lvl5pPr algn="r"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457033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8D264B-0937-A140-ABAC-40D682193E49}" type="datetime3">
              <a:t>08.06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6883171-03D4-FA47-9204-9F3A686B1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763EDBD3-33CC-B34A-8855-2882F1E498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/>
            </a:lvl1pPr>
            <a:lvl2pPr algn="r">
              <a:defRPr sz="1333"/>
            </a:lvl2pPr>
            <a:lvl3pPr algn="r">
              <a:defRPr sz="1333"/>
            </a:lvl3pPr>
            <a:lvl4pPr algn="r">
              <a:defRPr sz="1333"/>
            </a:lvl4pPr>
            <a:lvl5pPr algn="r">
              <a:defRPr sz="133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6534406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C25E9A2-3CD6-B841-BB4B-7865D9175DAE}" type="datetime3">
              <a:t>08.06.2023</a:t>
            </a:fld>
            <a:endParaRPr lang="da-DK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804145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iagram 2">
            <a:extLst>
              <a:ext uri="{FF2B5EF4-FFF2-40B4-BE49-F238E27FC236}">
                <a16:creationId xmlns:a16="http://schemas.microsoft.com/office/drawing/2014/main" id="{DE19A8A7-F159-AA41-A318-2F1E24433A73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49818" y="1557867"/>
            <a:ext cx="10890249" cy="4523317"/>
          </a:xfr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t diagram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725C3BD1-93AB-E34D-89B2-48C316ECDA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/>
            </a:lvl1pPr>
            <a:lvl2pPr algn="r">
              <a:defRPr sz="1333"/>
            </a:lvl2pPr>
            <a:lvl3pPr algn="r">
              <a:defRPr sz="1333"/>
            </a:lvl3pPr>
            <a:lvl4pPr algn="r">
              <a:defRPr sz="1333"/>
            </a:lvl4pPr>
            <a:lvl5pPr algn="r">
              <a:defRPr sz="133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2523548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5.xml"/><Relationship Id="rId13" Type="http://schemas.openxmlformats.org/officeDocument/2006/relationships/slideLayout" Target="../slideLayouts/slideLayout220.xml"/><Relationship Id="rId18" Type="http://schemas.openxmlformats.org/officeDocument/2006/relationships/slideLayout" Target="../slideLayouts/slideLayout225.xml"/><Relationship Id="rId26" Type="http://schemas.openxmlformats.org/officeDocument/2006/relationships/oleObject" Target="../embeddings/oleObject10.bin"/><Relationship Id="rId3" Type="http://schemas.openxmlformats.org/officeDocument/2006/relationships/slideLayout" Target="../slideLayouts/slideLayout210.xml"/><Relationship Id="rId21" Type="http://schemas.openxmlformats.org/officeDocument/2006/relationships/slideLayout" Target="../slideLayouts/slideLayout228.xml"/><Relationship Id="rId7" Type="http://schemas.openxmlformats.org/officeDocument/2006/relationships/slideLayout" Target="../slideLayouts/slideLayout214.xml"/><Relationship Id="rId12" Type="http://schemas.openxmlformats.org/officeDocument/2006/relationships/slideLayout" Target="../slideLayouts/slideLayout219.xml"/><Relationship Id="rId17" Type="http://schemas.openxmlformats.org/officeDocument/2006/relationships/slideLayout" Target="../slideLayouts/slideLayout224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209.xml"/><Relationship Id="rId16" Type="http://schemas.openxmlformats.org/officeDocument/2006/relationships/slideLayout" Target="../slideLayouts/slideLayout223.xml"/><Relationship Id="rId20" Type="http://schemas.openxmlformats.org/officeDocument/2006/relationships/slideLayout" Target="../slideLayouts/slideLayout227.xml"/><Relationship Id="rId1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13.xml"/><Relationship Id="rId11" Type="http://schemas.openxmlformats.org/officeDocument/2006/relationships/slideLayout" Target="../slideLayouts/slideLayout218.xml"/><Relationship Id="rId24" Type="http://schemas.openxmlformats.org/officeDocument/2006/relationships/theme" Target="../theme/theme10.xml"/><Relationship Id="rId5" Type="http://schemas.openxmlformats.org/officeDocument/2006/relationships/slideLayout" Target="../slideLayouts/slideLayout212.xml"/><Relationship Id="rId15" Type="http://schemas.openxmlformats.org/officeDocument/2006/relationships/slideLayout" Target="../slideLayouts/slideLayout222.xml"/><Relationship Id="rId23" Type="http://schemas.openxmlformats.org/officeDocument/2006/relationships/slideLayout" Target="../slideLayouts/slideLayout230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217.xml"/><Relationship Id="rId19" Type="http://schemas.openxmlformats.org/officeDocument/2006/relationships/slideLayout" Target="../slideLayouts/slideLayout226.xml"/><Relationship Id="rId4" Type="http://schemas.openxmlformats.org/officeDocument/2006/relationships/slideLayout" Target="../slideLayouts/slideLayout211.xml"/><Relationship Id="rId9" Type="http://schemas.openxmlformats.org/officeDocument/2006/relationships/slideLayout" Target="../slideLayouts/slideLayout216.xml"/><Relationship Id="rId14" Type="http://schemas.openxmlformats.org/officeDocument/2006/relationships/slideLayout" Target="../slideLayouts/slideLayout221.xml"/><Relationship Id="rId22" Type="http://schemas.openxmlformats.org/officeDocument/2006/relationships/slideLayout" Target="../slideLayouts/slideLayout229.xml"/><Relationship Id="rId27" Type="http://schemas.openxmlformats.org/officeDocument/2006/relationships/image" Target="../media/image19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8.xml"/><Relationship Id="rId13" Type="http://schemas.openxmlformats.org/officeDocument/2006/relationships/slideLayout" Target="../slideLayouts/slideLayout243.xml"/><Relationship Id="rId18" Type="http://schemas.openxmlformats.org/officeDocument/2006/relationships/slideLayout" Target="../slideLayouts/slideLayout248.xml"/><Relationship Id="rId26" Type="http://schemas.openxmlformats.org/officeDocument/2006/relationships/oleObject" Target="../embeddings/oleObject11.bin"/><Relationship Id="rId3" Type="http://schemas.openxmlformats.org/officeDocument/2006/relationships/slideLayout" Target="../slideLayouts/slideLayout233.xml"/><Relationship Id="rId21" Type="http://schemas.openxmlformats.org/officeDocument/2006/relationships/slideLayout" Target="../slideLayouts/slideLayout251.xml"/><Relationship Id="rId7" Type="http://schemas.openxmlformats.org/officeDocument/2006/relationships/slideLayout" Target="../slideLayouts/slideLayout237.xml"/><Relationship Id="rId12" Type="http://schemas.openxmlformats.org/officeDocument/2006/relationships/slideLayout" Target="../slideLayouts/slideLayout242.xml"/><Relationship Id="rId17" Type="http://schemas.openxmlformats.org/officeDocument/2006/relationships/slideLayout" Target="../slideLayouts/slideLayout247.xml"/><Relationship Id="rId25" Type="http://schemas.openxmlformats.org/officeDocument/2006/relationships/tags" Target="../tags/tag13.xml"/><Relationship Id="rId2" Type="http://schemas.openxmlformats.org/officeDocument/2006/relationships/slideLayout" Target="../slideLayouts/slideLayout232.xml"/><Relationship Id="rId16" Type="http://schemas.openxmlformats.org/officeDocument/2006/relationships/slideLayout" Target="../slideLayouts/slideLayout246.xml"/><Relationship Id="rId20" Type="http://schemas.openxmlformats.org/officeDocument/2006/relationships/slideLayout" Target="../slideLayouts/slideLayout250.xml"/><Relationship Id="rId1" Type="http://schemas.openxmlformats.org/officeDocument/2006/relationships/slideLayout" Target="../slideLayouts/slideLayout231.xml"/><Relationship Id="rId6" Type="http://schemas.openxmlformats.org/officeDocument/2006/relationships/slideLayout" Target="../slideLayouts/slideLayout236.xml"/><Relationship Id="rId11" Type="http://schemas.openxmlformats.org/officeDocument/2006/relationships/slideLayout" Target="../slideLayouts/slideLayout241.xml"/><Relationship Id="rId24" Type="http://schemas.openxmlformats.org/officeDocument/2006/relationships/theme" Target="../theme/theme11.xml"/><Relationship Id="rId5" Type="http://schemas.openxmlformats.org/officeDocument/2006/relationships/slideLayout" Target="../slideLayouts/slideLayout235.xml"/><Relationship Id="rId15" Type="http://schemas.openxmlformats.org/officeDocument/2006/relationships/slideLayout" Target="../slideLayouts/slideLayout245.xml"/><Relationship Id="rId23" Type="http://schemas.openxmlformats.org/officeDocument/2006/relationships/slideLayout" Target="../slideLayouts/slideLayout253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240.xml"/><Relationship Id="rId19" Type="http://schemas.openxmlformats.org/officeDocument/2006/relationships/slideLayout" Target="../slideLayouts/slideLayout249.xml"/><Relationship Id="rId4" Type="http://schemas.openxmlformats.org/officeDocument/2006/relationships/slideLayout" Target="../slideLayouts/slideLayout234.xml"/><Relationship Id="rId9" Type="http://schemas.openxmlformats.org/officeDocument/2006/relationships/slideLayout" Target="../slideLayouts/slideLayout239.xml"/><Relationship Id="rId14" Type="http://schemas.openxmlformats.org/officeDocument/2006/relationships/slideLayout" Target="../slideLayouts/slideLayout244.xml"/><Relationship Id="rId22" Type="http://schemas.openxmlformats.org/officeDocument/2006/relationships/slideLayout" Target="../slideLayouts/slideLayout252.xml"/><Relationship Id="rId27" Type="http://schemas.openxmlformats.org/officeDocument/2006/relationships/image" Target="../media/image19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1.xml"/><Relationship Id="rId13" Type="http://schemas.openxmlformats.org/officeDocument/2006/relationships/slideLayout" Target="../slideLayouts/slideLayout266.xml"/><Relationship Id="rId18" Type="http://schemas.openxmlformats.org/officeDocument/2006/relationships/slideLayout" Target="../slideLayouts/slideLayout271.xml"/><Relationship Id="rId26" Type="http://schemas.openxmlformats.org/officeDocument/2006/relationships/slideLayout" Target="../slideLayouts/slideLayout279.xml"/><Relationship Id="rId3" Type="http://schemas.openxmlformats.org/officeDocument/2006/relationships/slideLayout" Target="../slideLayouts/slideLayout256.xml"/><Relationship Id="rId21" Type="http://schemas.openxmlformats.org/officeDocument/2006/relationships/slideLayout" Target="../slideLayouts/slideLayout274.xml"/><Relationship Id="rId34" Type="http://schemas.openxmlformats.org/officeDocument/2006/relationships/oleObject" Target="../embeddings/oleObject12.bin"/><Relationship Id="rId7" Type="http://schemas.openxmlformats.org/officeDocument/2006/relationships/slideLayout" Target="../slideLayouts/slideLayout260.xml"/><Relationship Id="rId12" Type="http://schemas.openxmlformats.org/officeDocument/2006/relationships/slideLayout" Target="../slideLayouts/slideLayout265.xml"/><Relationship Id="rId17" Type="http://schemas.openxmlformats.org/officeDocument/2006/relationships/slideLayout" Target="../slideLayouts/slideLayout270.xml"/><Relationship Id="rId25" Type="http://schemas.openxmlformats.org/officeDocument/2006/relationships/slideLayout" Target="../slideLayouts/slideLayout278.xml"/><Relationship Id="rId33" Type="http://schemas.openxmlformats.org/officeDocument/2006/relationships/tags" Target="../tags/tag14.xml"/><Relationship Id="rId2" Type="http://schemas.openxmlformats.org/officeDocument/2006/relationships/slideLayout" Target="../slideLayouts/slideLayout255.xml"/><Relationship Id="rId16" Type="http://schemas.openxmlformats.org/officeDocument/2006/relationships/slideLayout" Target="../slideLayouts/slideLayout269.xml"/><Relationship Id="rId20" Type="http://schemas.openxmlformats.org/officeDocument/2006/relationships/slideLayout" Target="../slideLayouts/slideLayout273.xml"/><Relationship Id="rId29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54.xml"/><Relationship Id="rId6" Type="http://schemas.openxmlformats.org/officeDocument/2006/relationships/slideLayout" Target="../slideLayouts/slideLayout259.xml"/><Relationship Id="rId11" Type="http://schemas.openxmlformats.org/officeDocument/2006/relationships/slideLayout" Target="../slideLayouts/slideLayout264.xml"/><Relationship Id="rId24" Type="http://schemas.openxmlformats.org/officeDocument/2006/relationships/slideLayout" Target="../slideLayouts/slideLayout277.xml"/><Relationship Id="rId32" Type="http://schemas.openxmlformats.org/officeDocument/2006/relationships/theme" Target="../theme/theme12.xml"/><Relationship Id="rId5" Type="http://schemas.openxmlformats.org/officeDocument/2006/relationships/slideLayout" Target="../slideLayouts/slideLayout258.xml"/><Relationship Id="rId15" Type="http://schemas.openxmlformats.org/officeDocument/2006/relationships/slideLayout" Target="../slideLayouts/slideLayout268.xml"/><Relationship Id="rId23" Type="http://schemas.openxmlformats.org/officeDocument/2006/relationships/slideLayout" Target="../slideLayouts/slideLayout276.xml"/><Relationship Id="rId28" Type="http://schemas.openxmlformats.org/officeDocument/2006/relationships/slideLayout" Target="../slideLayouts/slideLayout281.xml"/><Relationship Id="rId36" Type="http://schemas.openxmlformats.org/officeDocument/2006/relationships/image" Target="../media/image24.png"/><Relationship Id="rId10" Type="http://schemas.openxmlformats.org/officeDocument/2006/relationships/slideLayout" Target="../slideLayouts/slideLayout263.xml"/><Relationship Id="rId19" Type="http://schemas.openxmlformats.org/officeDocument/2006/relationships/slideLayout" Target="../slideLayouts/slideLayout272.xml"/><Relationship Id="rId31" Type="http://schemas.openxmlformats.org/officeDocument/2006/relationships/slideLayout" Target="../slideLayouts/slideLayout284.xml"/><Relationship Id="rId4" Type="http://schemas.openxmlformats.org/officeDocument/2006/relationships/slideLayout" Target="../slideLayouts/slideLayout257.xml"/><Relationship Id="rId9" Type="http://schemas.openxmlformats.org/officeDocument/2006/relationships/slideLayout" Target="../slideLayouts/slideLayout262.xml"/><Relationship Id="rId14" Type="http://schemas.openxmlformats.org/officeDocument/2006/relationships/slideLayout" Target="../slideLayouts/slideLayout267.xml"/><Relationship Id="rId22" Type="http://schemas.openxmlformats.org/officeDocument/2006/relationships/slideLayout" Target="../slideLayouts/slideLayout275.xml"/><Relationship Id="rId27" Type="http://schemas.openxmlformats.org/officeDocument/2006/relationships/slideLayout" Target="../slideLayouts/slideLayout280.xml"/><Relationship Id="rId30" Type="http://schemas.openxmlformats.org/officeDocument/2006/relationships/slideLayout" Target="../slideLayouts/slideLayout283.xml"/><Relationship Id="rId35" Type="http://schemas.openxmlformats.org/officeDocument/2006/relationships/image" Target="../media/image19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slideLayout" Target="../slideLayouts/slideLayout287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286.xml"/><Relationship Id="rId1" Type="http://schemas.openxmlformats.org/officeDocument/2006/relationships/slideLayout" Target="../slideLayouts/slideLayout285.xml"/><Relationship Id="rId6" Type="http://schemas.openxmlformats.org/officeDocument/2006/relationships/tags" Target="../tags/tag15.xml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288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slideLayout" Target="../slideLayouts/slideLayout301.xml"/><Relationship Id="rId18" Type="http://schemas.openxmlformats.org/officeDocument/2006/relationships/theme" Target="../theme/theme14.xml"/><Relationship Id="rId3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95.xml"/><Relationship Id="rId12" Type="http://schemas.openxmlformats.org/officeDocument/2006/relationships/slideLayout" Target="../slideLayouts/slideLayout300.xml"/><Relationship Id="rId17" Type="http://schemas.openxmlformats.org/officeDocument/2006/relationships/slideLayout" Target="../slideLayouts/slideLayout305.xml"/><Relationship Id="rId2" Type="http://schemas.openxmlformats.org/officeDocument/2006/relationships/slideLayout" Target="../slideLayouts/slideLayout290.xml"/><Relationship Id="rId16" Type="http://schemas.openxmlformats.org/officeDocument/2006/relationships/slideLayout" Target="../slideLayouts/slideLayout304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slideLayout" Target="../slideLayouts/slideLayout299.xml"/><Relationship Id="rId5" Type="http://schemas.openxmlformats.org/officeDocument/2006/relationships/slideLayout" Target="../slideLayouts/slideLayout293.xml"/><Relationship Id="rId15" Type="http://schemas.openxmlformats.org/officeDocument/2006/relationships/slideLayout" Target="../slideLayouts/slideLayout303.xml"/><Relationship Id="rId10" Type="http://schemas.openxmlformats.org/officeDocument/2006/relationships/slideLayout" Target="../slideLayouts/slideLayout298.xml"/><Relationship Id="rId4" Type="http://schemas.openxmlformats.org/officeDocument/2006/relationships/slideLayout" Target="../slideLayouts/slideLayout292.xml"/><Relationship Id="rId9" Type="http://schemas.openxmlformats.org/officeDocument/2006/relationships/slideLayout" Target="../slideLayouts/slideLayout297.xml"/><Relationship Id="rId14" Type="http://schemas.openxmlformats.org/officeDocument/2006/relationships/slideLayout" Target="../slideLayouts/slideLayout30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3.xml"/><Relationship Id="rId13" Type="http://schemas.openxmlformats.org/officeDocument/2006/relationships/slideLayout" Target="../slideLayouts/slideLayout318.xml"/><Relationship Id="rId18" Type="http://schemas.openxmlformats.org/officeDocument/2006/relationships/slideLayout" Target="../slideLayouts/slideLayout323.xml"/><Relationship Id="rId3" Type="http://schemas.openxmlformats.org/officeDocument/2006/relationships/slideLayout" Target="../slideLayouts/slideLayout308.xml"/><Relationship Id="rId7" Type="http://schemas.openxmlformats.org/officeDocument/2006/relationships/slideLayout" Target="../slideLayouts/slideLayout312.xml"/><Relationship Id="rId12" Type="http://schemas.openxmlformats.org/officeDocument/2006/relationships/slideLayout" Target="../slideLayouts/slideLayout317.xml"/><Relationship Id="rId17" Type="http://schemas.openxmlformats.org/officeDocument/2006/relationships/slideLayout" Target="../slideLayouts/slideLayout322.xml"/><Relationship Id="rId2" Type="http://schemas.openxmlformats.org/officeDocument/2006/relationships/slideLayout" Target="../slideLayouts/slideLayout307.xml"/><Relationship Id="rId16" Type="http://schemas.openxmlformats.org/officeDocument/2006/relationships/slideLayout" Target="../slideLayouts/slideLayout321.xml"/><Relationship Id="rId20" Type="http://schemas.openxmlformats.org/officeDocument/2006/relationships/theme" Target="../theme/theme15.xml"/><Relationship Id="rId1" Type="http://schemas.openxmlformats.org/officeDocument/2006/relationships/slideLayout" Target="../slideLayouts/slideLayout306.xml"/><Relationship Id="rId6" Type="http://schemas.openxmlformats.org/officeDocument/2006/relationships/slideLayout" Target="../slideLayouts/slideLayout311.xml"/><Relationship Id="rId11" Type="http://schemas.openxmlformats.org/officeDocument/2006/relationships/slideLayout" Target="../slideLayouts/slideLayout316.xml"/><Relationship Id="rId5" Type="http://schemas.openxmlformats.org/officeDocument/2006/relationships/slideLayout" Target="../slideLayouts/slideLayout310.xml"/><Relationship Id="rId15" Type="http://schemas.openxmlformats.org/officeDocument/2006/relationships/slideLayout" Target="../slideLayouts/slideLayout320.xml"/><Relationship Id="rId10" Type="http://schemas.openxmlformats.org/officeDocument/2006/relationships/slideLayout" Target="../slideLayouts/slideLayout315.xml"/><Relationship Id="rId19" Type="http://schemas.openxmlformats.org/officeDocument/2006/relationships/slideLayout" Target="../slideLayouts/slideLayout324.xml"/><Relationship Id="rId4" Type="http://schemas.openxmlformats.org/officeDocument/2006/relationships/slideLayout" Target="../slideLayouts/slideLayout309.xml"/><Relationship Id="rId9" Type="http://schemas.openxmlformats.org/officeDocument/2006/relationships/slideLayout" Target="../slideLayouts/slideLayout314.xml"/><Relationship Id="rId14" Type="http://schemas.openxmlformats.org/officeDocument/2006/relationships/slideLayout" Target="../slideLayouts/slideLayout319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2.xml"/><Relationship Id="rId13" Type="http://schemas.openxmlformats.org/officeDocument/2006/relationships/slideLayout" Target="../slideLayouts/slideLayout337.xml"/><Relationship Id="rId18" Type="http://schemas.openxmlformats.org/officeDocument/2006/relationships/slideLayout" Target="../slideLayouts/slideLayout342.xml"/><Relationship Id="rId26" Type="http://schemas.openxmlformats.org/officeDocument/2006/relationships/slideLayout" Target="../slideLayouts/slideLayout350.xml"/><Relationship Id="rId3" Type="http://schemas.openxmlformats.org/officeDocument/2006/relationships/slideLayout" Target="../slideLayouts/slideLayout327.xml"/><Relationship Id="rId21" Type="http://schemas.openxmlformats.org/officeDocument/2006/relationships/slideLayout" Target="../slideLayouts/slideLayout345.xml"/><Relationship Id="rId7" Type="http://schemas.openxmlformats.org/officeDocument/2006/relationships/slideLayout" Target="../slideLayouts/slideLayout331.xml"/><Relationship Id="rId12" Type="http://schemas.openxmlformats.org/officeDocument/2006/relationships/slideLayout" Target="../slideLayouts/slideLayout336.xml"/><Relationship Id="rId17" Type="http://schemas.openxmlformats.org/officeDocument/2006/relationships/slideLayout" Target="../slideLayouts/slideLayout341.xml"/><Relationship Id="rId25" Type="http://schemas.openxmlformats.org/officeDocument/2006/relationships/slideLayout" Target="../slideLayouts/slideLayout349.xml"/><Relationship Id="rId33" Type="http://schemas.openxmlformats.org/officeDocument/2006/relationships/image" Target="../media/image24.png"/><Relationship Id="rId2" Type="http://schemas.openxmlformats.org/officeDocument/2006/relationships/slideLayout" Target="../slideLayouts/slideLayout326.xml"/><Relationship Id="rId16" Type="http://schemas.openxmlformats.org/officeDocument/2006/relationships/slideLayout" Target="../slideLayouts/slideLayout340.xml"/><Relationship Id="rId20" Type="http://schemas.openxmlformats.org/officeDocument/2006/relationships/slideLayout" Target="../slideLayouts/slideLayout344.xml"/><Relationship Id="rId29" Type="http://schemas.openxmlformats.org/officeDocument/2006/relationships/slideLayout" Target="../slideLayouts/slideLayout353.xml"/><Relationship Id="rId1" Type="http://schemas.openxmlformats.org/officeDocument/2006/relationships/slideLayout" Target="../slideLayouts/slideLayout325.xml"/><Relationship Id="rId6" Type="http://schemas.openxmlformats.org/officeDocument/2006/relationships/slideLayout" Target="../slideLayouts/slideLayout330.xml"/><Relationship Id="rId11" Type="http://schemas.openxmlformats.org/officeDocument/2006/relationships/slideLayout" Target="../slideLayouts/slideLayout335.xml"/><Relationship Id="rId24" Type="http://schemas.openxmlformats.org/officeDocument/2006/relationships/slideLayout" Target="../slideLayouts/slideLayout348.xml"/><Relationship Id="rId32" Type="http://schemas.openxmlformats.org/officeDocument/2006/relationships/theme" Target="../theme/theme16.xml"/><Relationship Id="rId5" Type="http://schemas.openxmlformats.org/officeDocument/2006/relationships/slideLayout" Target="../slideLayouts/slideLayout329.xml"/><Relationship Id="rId15" Type="http://schemas.openxmlformats.org/officeDocument/2006/relationships/slideLayout" Target="../slideLayouts/slideLayout339.xml"/><Relationship Id="rId23" Type="http://schemas.openxmlformats.org/officeDocument/2006/relationships/slideLayout" Target="../slideLayouts/slideLayout347.xml"/><Relationship Id="rId28" Type="http://schemas.openxmlformats.org/officeDocument/2006/relationships/slideLayout" Target="../slideLayouts/slideLayout352.xml"/><Relationship Id="rId10" Type="http://schemas.openxmlformats.org/officeDocument/2006/relationships/slideLayout" Target="../slideLayouts/slideLayout334.xml"/><Relationship Id="rId19" Type="http://schemas.openxmlformats.org/officeDocument/2006/relationships/slideLayout" Target="../slideLayouts/slideLayout343.xml"/><Relationship Id="rId31" Type="http://schemas.openxmlformats.org/officeDocument/2006/relationships/slideLayout" Target="../slideLayouts/slideLayout355.xml"/><Relationship Id="rId4" Type="http://schemas.openxmlformats.org/officeDocument/2006/relationships/slideLayout" Target="../slideLayouts/slideLayout328.xml"/><Relationship Id="rId9" Type="http://schemas.openxmlformats.org/officeDocument/2006/relationships/slideLayout" Target="../slideLayouts/slideLayout333.xml"/><Relationship Id="rId14" Type="http://schemas.openxmlformats.org/officeDocument/2006/relationships/slideLayout" Target="../slideLayouts/slideLayout338.xml"/><Relationship Id="rId22" Type="http://schemas.openxmlformats.org/officeDocument/2006/relationships/slideLayout" Target="../slideLayouts/slideLayout346.xml"/><Relationship Id="rId27" Type="http://schemas.openxmlformats.org/officeDocument/2006/relationships/slideLayout" Target="../slideLayouts/slideLayout351.xml"/><Relationship Id="rId30" Type="http://schemas.openxmlformats.org/officeDocument/2006/relationships/slideLayout" Target="../slideLayouts/slideLayout354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8.xml"/><Relationship Id="rId2" Type="http://schemas.openxmlformats.org/officeDocument/2006/relationships/slideLayout" Target="../slideLayouts/slideLayout357.xml"/><Relationship Id="rId1" Type="http://schemas.openxmlformats.org/officeDocument/2006/relationships/slideLayout" Target="../slideLayouts/slideLayout356.xml"/><Relationship Id="rId5" Type="http://schemas.openxmlformats.org/officeDocument/2006/relationships/theme" Target="../theme/theme17.xml"/><Relationship Id="rId4" Type="http://schemas.openxmlformats.org/officeDocument/2006/relationships/slideLayout" Target="../slideLayouts/slideLayout359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2.xml"/><Relationship Id="rId2" Type="http://schemas.openxmlformats.org/officeDocument/2006/relationships/slideLayout" Target="../slideLayouts/slideLayout361.xml"/><Relationship Id="rId1" Type="http://schemas.openxmlformats.org/officeDocument/2006/relationships/slideLayout" Target="../slideLayouts/slideLayout360.xml"/><Relationship Id="rId6" Type="http://schemas.openxmlformats.org/officeDocument/2006/relationships/theme" Target="../theme/theme18.xml"/><Relationship Id="rId5" Type="http://schemas.openxmlformats.org/officeDocument/2006/relationships/slideLayout" Target="../slideLayouts/slideLayout364.xml"/><Relationship Id="rId4" Type="http://schemas.openxmlformats.org/officeDocument/2006/relationships/slideLayout" Target="../slideLayouts/slideLayout363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7.xml"/><Relationship Id="rId2" Type="http://schemas.openxmlformats.org/officeDocument/2006/relationships/slideLayout" Target="../slideLayouts/slideLayout366.xml"/><Relationship Id="rId1" Type="http://schemas.openxmlformats.org/officeDocument/2006/relationships/slideLayout" Target="../slideLayouts/slideLayout365.xml"/><Relationship Id="rId5" Type="http://schemas.openxmlformats.org/officeDocument/2006/relationships/theme" Target="../theme/theme19.xml"/><Relationship Id="rId4" Type="http://schemas.openxmlformats.org/officeDocument/2006/relationships/slideLayout" Target="../slideLayouts/slideLayout36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tags" Target="../tags/tag4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image" Target="../media/image19.emf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oleObject" Target="../embeddings/oleObject2.bin"/></Relationships>
</file>

<file path=ppt/slideMasters/_rels/slideMaster20.xml.rels><?xml version="1.0" encoding="UTF-8" standalone="yes"?>
<Relationships xmlns="http://schemas.openxmlformats.org/package/2006/relationships"><Relationship Id="rId2" Type="http://schemas.openxmlformats.org/officeDocument/2006/relationships/theme" Target="../theme/theme20.xml"/><Relationship Id="rId1" Type="http://schemas.openxmlformats.org/officeDocument/2006/relationships/slideLayout" Target="../slideLayouts/slideLayout369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7.xml"/><Relationship Id="rId13" Type="http://schemas.openxmlformats.org/officeDocument/2006/relationships/slideLayout" Target="../slideLayouts/slideLayout382.xml"/><Relationship Id="rId18" Type="http://schemas.openxmlformats.org/officeDocument/2006/relationships/slideLayout" Target="../slideLayouts/slideLayout387.xml"/><Relationship Id="rId3" Type="http://schemas.openxmlformats.org/officeDocument/2006/relationships/slideLayout" Target="../slideLayouts/slideLayout372.xml"/><Relationship Id="rId21" Type="http://schemas.openxmlformats.org/officeDocument/2006/relationships/slideLayout" Target="../slideLayouts/slideLayout390.xml"/><Relationship Id="rId7" Type="http://schemas.openxmlformats.org/officeDocument/2006/relationships/slideLayout" Target="../slideLayouts/slideLayout376.xml"/><Relationship Id="rId12" Type="http://schemas.openxmlformats.org/officeDocument/2006/relationships/slideLayout" Target="../slideLayouts/slideLayout381.xml"/><Relationship Id="rId17" Type="http://schemas.openxmlformats.org/officeDocument/2006/relationships/slideLayout" Target="../slideLayouts/slideLayout386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371.xml"/><Relationship Id="rId16" Type="http://schemas.openxmlformats.org/officeDocument/2006/relationships/slideLayout" Target="../slideLayouts/slideLayout385.xml"/><Relationship Id="rId20" Type="http://schemas.openxmlformats.org/officeDocument/2006/relationships/slideLayout" Target="../slideLayouts/slideLayout389.xml"/><Relationship Id="rId1" Type="http://schemas.openxmlformats.org/officeDocument/2006/relationships/slideLayout" Target="../slideLayouts/slideLayout370.xml"/><Relationship Id="rId6" Type="http://schemas.openxmlformats.org/officeDocument/2006/relationships/slideLayout" Target="../slideLayouts/slideLayout375.xml"/><Relationship Id="rId11" Type="http://schemas.openxmlformats.org/officeDocument/2006/relationships/slideLayout" Target="../slideLayouts/slideLayout380.xml"/><Relationship Id="rId24" Type="http://schemas.openxmlformats.org/officeDocument/2006/relationships/theme" Target="../theme/theme21.xml"/><Relationship Id="rId5" Type="http://schemas.openxmlformats.org/officeDocument/2006/relationships/slideLayout" Target="../slideLayouts/slideLayout374.xml"/><Relationship Id="rId15" Type="http://schemas.openxmlformats.org/officeDocument/2006/relationships/slideLayout" Target="../slideLayouts/slideLayout384.xml"/><Relationship Id="rId23" Type="http://schemas.openxmlformats.org/officeDocument/2006/relationships/slideLayout" Target="../slideLayouts/slideLayout392.xml"/><Relationship Id="rId10" Type="http://schemas.openxmlformats.org/officeDocument/2006/relationships/slideLayout" Target="../slideLayouts/slideLayout379.xml"/><Relationship Id="rId19" Type="http://schemas.openxmlformats.org/officeDocument/2006/relationships/slideLayout" Target="../slideLayouts/slideLayout388.xml"/><Relationship Id="rId4" Type="http://schemas.openxmlformats.org/officeDocument/2006/relationships/slideLayout" Target="../slideLayouts/slideLayout373.xml"/><Relationship Id="rId9" Type="http://schemas.openxmlformats.org/officeDocument/2006/relationships/slideLayout" Target="../slideLayouts/slideLayout378.xml"/><Relationship Id="rId14" Type="http://schemas.openxmlformats.org/officeDocument/2006/relationships/slideLayout" Target="../slideLayouts/slideLayout383.xml"/><Relationship Id="rId22" Type="http://schemas.openxmlformats.org/officeDocument/2006/relationships/slideLayout" Target="../slideLayouts/slideLayout391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5.xml"/><Relationship Id="rId2" Type="http://schemas.openxmlformats.org/officeDocument/2006/relationships/slideLayout" Target="../slideLayouts/slideLayout394.xml"/><Relationship Id="rId1" Type="http://schemas.openxmlformats.org/officeDocument/2006/relationships/slideLayout" Target="../slideLayouts/slideLayout393.xml"/><Relationship Id="rId4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3.xml"/><Relationship Id="rId13" Type="http://schemas.openxmlformats.org/officeDocument/2006/relationships/slideLayout" Target="../slideLayouts/slideLayout408.xml"/><Relationship Id="rId18" Type="http://schemas.openxmlformats.org/officeDocument/2006/relationships/slideLayout" Target="../slideLayouts/slideLayout413.xml"/><Relationship Id="rId26" Type="http://schemas.openxmlformats.org/officeDocument/2006/relationships/slideLayout" Target="../slideLayouts/slideLayout421.xml"/><Relationship Id="rId3" Type="http://schemas.openxmlformats.org/officeDocument/2006/relationships/slideLayout" Target="../slideLayouts/slideLayout398.xml"/><Relationship Id="rId21" Type="http://schemas.openxmlformats.org/officeDocument/2006/relationships/slideLayout" Target="../slideLayouts/slideLayout416.xml"/><Relationship Id="rId34" Type="http://schemas.openxmlformats.org/officeDocument/2006/relationships/slideLayout" Target="../slideLayouts/slideLayout429.xml"/><Relationship Id="rId7" Type="http://schemas.openxmlformats.org/officeDocument/2006/relationships/slideLayout" Target="../slideLayouts/slideLayout402.xml"/><Relationship Id="rId12" Type="http://schemas.openxmlformats.org/officeDocument/2006/relationships/slideLayout" Target="../slideLayouts/slideLayout407.xml"/><Relationship Id="rId17" Type="http://schemas.openxmlformats.org/officeDocument/2006/relationships/slideLayout" Target="../slideLayouts/slideLayout412.xml"/><Relationship Id="rId25" Type="http://schemas.openxmlformats.org/officeDocument/2006/relationships/slideLayout" Target="../slideLayouts/slideLayout420.xml"/><Relationship Id="rId33" Type="http://schemas.openxmlformats.org/officeDocument/2006/relationships/slideLayout" Target="../slideLayouts/slideLayout428.xml"/><Relationship Id="rId2" Type="http://schemas.openxmlformats.org/officeDocument/2006/relationships/slideLayout" Target="../slideLayouts/slideLayout397.xml"/><Relationship Id="rId16" Type="http://schemas.openxmlformats.org/officeDocument/2006/relationships/slideLayout" Target="../slideLayouts/slideLayout411.xml"/><Relationship Id="rId20" Type="http://schemas.openxmlformats.org/officeDocument/2006/relationships/slideLayout" Target="../slideLayouts/slideLayout415.xml"/><Relationship Id="rId29" Type="http://schemas.openxmlformats.org/officeDocument/2006/relationships/slideLayout" Target="../slideLayouts/slideLayout424.xml"/><Relationship Id="rId1" Type="http://schemas.openxmlformats.org/officeDocument/2006/relationships/slideLayout" Target="../slideLayouts/slideLayout396.xml"/><Relationship Id="rId6" Type="http://schemas.openxmlformats.org/officeDocument/2006/relationships/slideLayout" Target="../slideLayouts/slideLayout401.xml"/><Relationship Id="rId11" Type="http://schemas.openxmlformats.org/officeDocument/2006/relationships/slideLayout" Target="../slideLayouts/slideLayout406.xml"/><Relationship Id="rId24" Type="http://schemas.openxmlformats.org/officeDocument/2006/relationships/slideLayout" Target="../slideLayouts/slideLayout419.xml"/><Relationship Id="rId32" Type="http://schemas.openxmlformats.org/officeDocument/2006/relationships/slideLayout" Target="../slideLayouts/slideLayout427.xml"/><Relationship Id="rId5" Type="http://schemas.openxmlformats.org/officeDocument/2006/relationships/slideLayout" Target="../slideLayouts/slideLayout400.xml"/><Relationship Id="rId15" Type="http://schemas.openxmlformats.org/officeDocument/2006/relationships/slideLayout" Target="../slideLayouts/slideLayout410.xml"/><Relationship Id="rId23" Type="http://schemas.openxmlformats.org/officeDocument/2006/relationships/slideLayout" Target="../slideLayouts/slideLayout418.xml"/><Relationship Id="rId28" Type="http://schemas.openxmlformats.org/officeDocument/2006/relationships/slideLayout" Target="../slideLayouts/slideLayout423.xml"/><Relationship Id="rId10" Type="http://schemas.openxmlformats.org/officeDocument/2006/relationships/slideLayout" Target="../slideLayouts/slideLayout405.xml"/><Relationship Id="rId19" Type="http://schemas.openxmlformats.org/officeDocument/2006/relationships/slideLayout" Target="../slideLayouts/slideLayout414.xml"/><Relationship Id="rId31" Type="http://schemas.openxmlformats.org/officeDocument/2006/relationships/slideLayout" Target="../slideLayouts/slideLayout426.xml"/><Relationship Id="rId4" Type="http://schemas.openxmlformats.org/officeDocument/2006/relationships/slideLayout" Target="../slideLayouts/slideLayout399.xml"/><Relationship Id="rId9" Type="http://schemas.openxmlformats.org/officeDocument/2006/relationships/slideLayout" Target="../slideLayouts/slideLayout404.xml"/><Relationship Id="rId14" Type="http://schemas.openxmlformats.org/officeDocument/2006/relationships/slideLayout" Target="../slideLayouts/slideLayout409.xml"/><Relationship Id="rId22" Type="http://schemas.openxmlformats.org/officeDocument/2006/relationships/slideLayout" Target="../slideLayouts/slideLayout417.xml"/><Relationship Id="rId27" Type="http://schemas.openxmlformats.org/officeDocument/2006/relationships/slideLayout" Target="../slideLayouts/slideLayout422.xml"/><Relationship Id="rId30" Type="http://schemas.openxmlformats.org/officeDocument/2006/relationships/slideLayout" Target="../slideLayouts/slideLayout425.xml"/><Relationship Id="rId35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7.xml"/><Relationship Id="rId13" Type="http://schemas.openxmlformats.org/officeDocument/2006/relationships/slideLayout" Target="../slideLayouts/slideLayout442.xml"/><Relationship Id="rId18" Type="http://schemas.openxmlformats.org/officeDocument/2006/relationships/slideLayout" Target="../slideLayouts/slideLayout447.xml"/><Relationship Id="rId26" Type="http://schemas.openxmlformats.org/officeDocument/2006/relationships/slideLayout" Target="../slideLayouts/slideLayout455.xml"/><Relationship Id="rId3" Type="http://schemas.openxmlformats.org/officeDocument/2006/relationships/slideLayout" Target="../slideLayouts/slideLayout432.xml"/><Relationship Id="rId21" Type="http://schemas.openxmlformats.org/officeDocument/2006/relationships/slideLayout" Target="../slideLayouts/slideLayout450.xml"/><Relationship Id="rId7" Type="http://schemas.openxmlformats.org/officeDocument/2006/relationships/slideLayout" Target="../slideLayouts/slideLayout436.xml"/><Relationship Id="rId12" Type="http://schemas.openxmlformats.org/officeDocument/2006/relationships/slideLayout" Target="../slideLayouts/slideLayout441.xml"/><Relationship Id="rId17" Type="http://schemas.openxmlformats.org/officeDocument/2006/relationships/slideLayout" Target="../slideLayouts/slideLayout446.xml"/><Relationship Id="rId25" Type="http://schemas.openxmlformats.org/officeDocument/2006/relationships/slideLayout" Target="../slideLayouts/slideLayout454.xml"/><Relationship Id="rId2" Type="http://schemas.openxmlformats.org/officeDocument/2006/relationships/slideLayout" Target="../slideLayouts/slideLayout431.xml"/><Relationship Id="rId16" Type="http://schemas.openxmlformats.org/officeDocument/2006/relationships/slideLayout" Target="../slideLayouts/slideLayout445.xml"/><Relationship Id="rId20" Type="http://schemas.openxmlformats.org/officeDocument/2006/relationships/slideLayout" Target="../slideLayouts/slideLayout449.xml"/><Relationship Id="rId29" Type="http://schemas.openxmlformats.org/officeDocument/2006/relationships/slideLayout" Target="../slideLayouts/slideLayout458.xml"/><Relationship Id="rId1" Type="http://schemas.openxmlformats.org/officeDocument/2006/relationships/slideLayout" Target="../slideLayouts/slideLayout430.xml"/><Relationship Id="rId6" Type="http://schemas.openxmlformats.org/officeDocument/2006/relationships/slideLayout" Target="../slideLayouts/slideLayout435.xml"/><Relationship Id="rId11" Type="http://schemas.openxmlformats.org/officeDocument/2006/relationships/slideLayout" Target="../slideLayouts/slideLayout440.xml"/><Relationship Id="rId24" Type="http://schemas.openxmlformats.org/officeDocument/2006/relationships/slideLayout" Target="../slideLayouts/slideLayout453.xml"/><Relationship Id="rId5" Type="http://schemas.openxmlformats.org/officeDocument/2006/relationships/slideLayout" Target="../slideLayouts/slideLayout434.xml"/><Relationship Id="rId15" Type="http://schemas.openxmlformats.org/officeDocument/2006/relationships/slideLayout" Target="../slideLayouts/slideLayout444.xml"/><Relationship Id="rId23" Type="http://schemas.openxmlformats.org/officeDocument/2006/relationships/slideLayout" Target="../slideLayouts/slideLayout452.xml"/><Relationship Id="rId28" Type="http://schemas.openxmlformats.org/officeDocument/2006/relationships/slideLayout" Target="../slideLayouts/slideLayout457.xml"/><Relationship Id="rId10" Type="http://schemas.openxmlformats.org/officeDocument/2006/relationships/slideLayout" Target="../slideLayouts/slideLayout439.xml"/><Relationship Id="rId19" Type="http://schemas.openxmlformats.org/officeDocument/2006/relationships/slideLayout" Target="../slideLayouts/slideLayout448.xml"/><Relationship Id="rId31" Type="http://schemas.openxmlformats.org/officeDocument/2006/relationships/theme" Target="../theme/theme24.xml"/><Relationship Id="rId4" Type="http://schemas.openxmlformats.org/officeDocument/2006/relationships/slideLayout" Target="../slideLayouts/slideLayout433.xml"/><Relationship Id="rId9" Type="http://schemas.openxmlformats.org/officeDocument/2006/relationships/slideLayout" Target="../slideLayouts/slideLayout438.xml"/><Relationship Id="rId14" Type="http://schemas.openxmlformats.org/officeDocument/2006/relationships/slideLayout" Target="../slideLayouts/slideLayout443.xml"/><Relationship Id="rId22" Type="http://schemas.openxmlformats.org/officeDocument/2006/relationships/slideLayout" Target="../slideLayouts/slideLayout451.xml"/><Relationship Id="rId27" Type="http://schemas.openxmlformats.org/officeDocument/2006/relationships/slideLayout" Target="../slideLayouts/slideLayout456.xml"/><Relationship Id="rId30" Type="http://schemas.openxmlformats.org/officeDocument/2006/relationships/slideLayout" Target="../slideLayouts/slideLayout459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7.xml"/><Relationship Id="rId13" Type="http://schemas.openxmlformats.org/officeDocument/2006/relationships/slideLayout" Target="../slideLayouts/slideLayout472.xml"/><Relationship Id="rId18" Type="http://schemas.openxmlformats.org/officeDocument/2006/relationships/slideLayout" Target="../slideLayouts/slideLayout477.xml"/><Relationship Id="rId26" Type="http://schemas.openxmlformats.org/officeDocument/2006/relationships/slideLayout" Target="../slideLayouts/slideLayout485.xml"/><Relationship Id="rId3" Type="http://schemas.openxmlformats.org/officeDocument/2006/relationships/slideLayout" Target="../slideLayouts/slideLayout462.xml"/><Relationship Id="rId21" Type="http://schemas.openxmlformats.org/officeDocument/2006/relationships/slideLayout" Target="../slideLayouts/slideLayout480.xml"/><Relationship Id="rId34" Type="http://schemas.openxmlformats.org/officeDocument/2006/relationships/theme" Target="../theme/theme25.xml"/><Relationship Id="rId7" Type="http://schemas.openxmlformats.org/officeDocument/2006/relationships/slideLayout" Target="../slideLayouts/slideLayout466.xml"/><Relationship Id="rId12" Type="http://schemas.openxmlformats.org/officeDocument/2006/relationships/slideLayout" Target="../slideLayouts/slideLayout471.xml"/><Relationship Id="rId17" Type="http://schemas.openxmlformats.org/officeDocument/2006/relationships/slideLayout" Target="../slideLayouts/slideLayout476.xml"/><Relationship Id="rId25" Type="http://schemas.openxmlformats.org/officeDocument/2006/relationships/slideLayout" Target="../slideLayouts/slideLayout484.xml"/><Relationship Id="rId33" Type="http://schemas.openxmlformats.org/officeDocument/2006/relationships/slideLayout" Target="../slideLayouts/slideLayout492.xml"/><Relationship Id="rId2" Type="http://schemas.openxmlformats.org/officeDocument/2006/relationships/slideLayout" Target="../slideLayouts/slideLayout461.xml"/><Relationship Id="rId16" Type="http://schemas.openxmlformats.org/officeDocument/2006/relationships/slideLayout" Target="../slideLayouts/slideLayout475.xml"/><Relationship Id="rId20" Type="http://schemas.openxmlformats.org/officeDocument/2006/relationships/slideLayout" Target="../slideLayouts/slideLayout479.xml"/><Relationship Id="rId29" Type="http://schemas.openxmlformats.org/officeDocument/2006/relationships/slideLayout" Target="../slideLayouts/slideLayout488.xml"/><Relationship Id="rId1" Type="http://schemas.openxmlformats.org/officeDocument/2006/relationships/slideLayout" Target="../slideLayouts/slideLayout460.xml"/><Relationship Id="rId6" Type="http://schemas.openxmlformats.org/officeDocument/2006/relationships/slideLayout" Target="../slideLayouts/slideLayout465.xml"/><Relationship Id="rId11" Type="http://schemas.openxmlformats.org/officeDocument/2006/relationships/slideLayout" Target="../slideLayouts/slideLayout470.xml"/><Relationship Id="rId24" Type="http://schemas.openxmlformats.org/officeDocument/2006/relationships/slideLayout" Target="../slideLayouts/slideLayout483.xml"/><Relationship Id="rId32" Type="http://schemas.openxmlformats.org/officeDocument/2006/relationships/slideLayout" Target="../slideLayouts/slideLayout491.xml"/><Relationship Id="rId5" Type="http://schemas.openxmlformats.org/officeDocument/2006/relationships/slideLayout" Target="../slideLayouts/slideLayout464.xml"/><Relationship Id="rId15" Type="http://schemas.openxmlformats.org/officeDocument/2006/relationships/slideLayout" Target="../slideLayouts/slideLayout474.xml"/><Relationship Id="rId23" Type="http://schemas.openxmlformats.org/officeDocument/2006/relationships/slideLayout" Target="../slideLayouts/slideLayout482.xml"/><Relationship Id="rId28" Type="http://schemas.openxmlformats.org/officeDocument/2006/relationships/slideLayout" Target="../slideLayouts/slideLayout487.xml"/><Relationship Id="rId10" Type="http://schemas.openxmlformats.org/officeDocument/2006/relationships/slideLayout" Target="../slideLayouts/slideLayout469.xml"/><Relationship Id="rId19" Type="http://schemas.openxmlformats.org/officeDocument/2006/relationships/slideLayout" Target="../slideLayouts/slideLayout478.xml"/><Relationship Id="rId31" Type="http://schemas.openxmlformats.org/officeDocument/2006/relationships/slideLayout" Target="../slideLayouts/slideLayout490.xml"/><Relationship Id="rId4" Type="http://schemas.openxmlformats.org/officeDocument/2006/relationships/slideLayout" Target="../slideLayouts/slideLayout463.xml"/><Relationship Id="rId9" Type="http://schemas.openxmlformats.org/officeDocument/2006/relationships/slideLayout" Target="../slideLayouts/slideLayout468.xml"/><Relationship Id="rId14" Type="http://schemas.openxmlformats.org/officeDocument/2006/relationships/slideLayout" Target="../slideLayouts/slideLayout473.xml"/><Relationship Id="rId22" Type="http://schemas.openxmlformats.org/officeDocument/2006/relationships/slideLayout" Target="../slideLayouts/slideLayout481.xml"/><Relationship Id="rId27" Type="http://schemas.openxmlformats.org/officeDocument/2006/relationships/slideLayout" Target="../slideLayouts/slideLayout486.xml"/><Relationship Id="rId30" Type="http://schemas.openxmlformats.org/officeDocument/2006/relationships/slideLayout" Target="../slideLayouts/slideLayout489.xml"/><Relationship Id="rId35" Type="http://schemas.openxmlformats.org/officeDocument/2006/relationships/image" Target="../media/image24.pn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0.xml"/><Relationship Id="rId3" Type="http://schemas.openxmlformats.org/officeDocument/2006/relationships/slideLayout" Target="../slideLayouts/slideLayout495.xml"/><Relationship Id="rId7" Type="http://schemas.openxmlformats.org/officeDocument/2006/relationships/slideLayout" Target="../slideLayouts/slideLayout499.xml"/><Relationship Id="rId2" Type="http://schemas.openxmlformats.org/officeDocument/2006/relationships/slideLayout" Target="../slideLayouts/slideLayout494.xml"/><Relationship Id="rId1" Type="http://schemas.openxmlformats.org/officeDocument/2006/relationships/slideLayout" Target="../slideLayouts/slideLayout493.xml"/><Relationship Id="rId6" Type="http://schemas.openxmlformats.org/officeDocument/2006/relationships/slideLayout" Target="../slideLayouts/slideLayout498.xml"/><Relationship Id="rId5" Type="http://schemas.openxmlformats.org/officeDocument/2006/relationships/slideLayout" Target="../slideLayouts/slideLayout497.xml"/><Relationship Id="rId4" Type="http://schemas.openxmlformats.org/officeDocument/2006/relationships/slideLayout" Target="../slideLayouts/slideLayout496.xml"/><Relationship Id="rId9" Type="http://schemas.openxmlformats.org/officeDocument/2006/relationships/theme" Target="../theme/theme26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8.xml"/><Relationship Id="rId3" Type="http://schemas.openxmlformats.org/officeDocument/2006/relationships/slideLayout" Target="../slideLayouts/slideLayout503.xml"/><Relationship Id="rId7" Type="http://schemas.openxmlformats.org/officeDocument/2006/relationships/slideLayout" Target="../slideLayouts/slideLayout507.xml"/><Relationship Id="rId2" Type="http://schemas.openxmlformats.org/officeDocument/2006/relationships/slideLayout" Target="../slideLayouts/slideLayout502.xml"/><Relationship Id="rId1" Type="http://schemas.openxmlformats.org/officeDocument/2006/relationships/slideLayout" Target="../slideLayouts/slideLayout501.xml"/><Relationship Id="rId6" Type="http://schemas.openxmlformats.org/officeDocument/2006/relationships/slideLayout" Target="../slideLayouts/slideLayout506.xml"/><Relationship Id="rId5" Type="http://schemas.openxmlformats.org/officeDocument/2006/relationships/slideLayout" Target="../slideLayouts/slideLayout505.xml"/><Relationship Id="rId4" Type="http://schemas.openxmlformats.org/officeDocument/2006/relationships/slideLayout" Target="../slideLayouts/slideLayout504.xml"/><Relationship Id="rId9" Type="http://schemas.openxmlformats.org/officeDocument/2006/relationships/theme" Target="../theme/theme27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1.xml"/><Relationship Id="rId2" Type="http://schemas.openxmlformats.org/officeDocument/2006/relationships/slideLayout" Target="../slideLayouts/slideLayout510.xml"/><Relationship Id="rId1" Type="http://schemas.openxmlformats.org/officeDocument/2006/relationships/slideLayout" Target="../slideLayouts/slideLayout509.xml"/><Relationship Id="rId5" Type="http://schemas.openxmlformats.org/officeDocument/2006/relationships/theme" Target="../theme/theme28.xml"/><Relationship Id="rId4" Type="http://schemas.openxmlformats.org/officeDocument/2006/relationships/slideLayout" Target="../slideLayouts/slideLayout5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image" Target="../media/image20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slideLayout" Target="../slideLayouts/slideLayout97.xml"/><Relationship Id="rId3" Type="http://schemas.openxmlformats.org/officeDocument/2006/relationships/slideLayout" Target="../slideLayouts/slideLayout74.xml"/><Relationship Id="rId21" Type="http://schemas.openxmlformats.org/officeDocument/2006/relationships/slideLayout" Target="../slideLayouts/slideLayout92.xml"/><Relationship Id="rId34" Type="http://schemas.openxmlformats.org/officeDocument/2006/relationships/oleObject" Target="../embeddings/oleObject4.bin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slideLayout" Target="../slideLayouts/slideLayout96.xml"/><Relationship Id="rId33" Type="http://schemas.openxmlformats.org/officeDocument/2006/relationships/tags" Target="../tags/tag6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slideLayout" Target="../slideLayouts/slideLayout91.xml"/><Relationship Id="rId29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95.xml"/><Relationship Id="rId32" Type="http://schemas.openxmlformats.org/officeDocument/2006/relationships/theme" Target="../theme/theme4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28" Type="http://schemas.openxmlformats.org/officeDocument/2006/relationships/slideLayout" Target="../slideLayouts/slideLayout99.xml"/><Relationship Id="rId36" Type="http://schemas.openxmlformats.org/officeDocument/2006/relationships/image" Target="../media/image24.png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31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101.xml"/><Relationship Id="rId35" Type="http://schemas.openxmlformats.org/officeDocument/2006/relationships/image" Target="../media/image20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slideLayout" Target="../slideLayouts/slideLayout105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tags" Target="../tags/tag7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0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slideLayout" Target="../slideLayouts/slideLayout119.xml"/><Relationship Id="rId18" Type="http://schemas.openxmlformats.org/officeDocument/2006/relationships/slideLayout" Target="../slideLayouts/slideLayout124.x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109.xml"/><Relationship Id="rId21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slideLayout" Target="../slideLayouts/slideLayout123.xml"/><Relationship Id="rId25" Type="http://schemas.openxmlformats.org/officeDocument/2006/relationships/theme" Target="../theme/theme6.xml"/><Relationship Id="rId2" Type="http://schemas.openxmlformats.org/officeDocument/2006/relationships/slideLayout" Target="../slideLayouts/slideLayout108.xml"/><Relationship Id="rId16" Type="http://schemas.openxmlformats.org/officeDocument/2006/relationships/slideLayout" Target="../slideLayouts/slideLayout122.xml"/><Relationship Id="rId20" Type="http://schemas.openxmlformats.org/officeDocument/2006/relationships/slideLayout" Target="../slideLayouts/slideLayout126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24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21.xml"/><Relationship Id="rId23" Type="http://schemas.openxmlformats.org/officeDocument/2006/relationships/slideLayout" Target="../slideLayouts/slideLayout129.xml"/><Relationship Id="rId28" Type="http://schemas.openxmlformats.org/officeDocument/2006/relationships/image" Target="../media/image19.emf"/><Relationship Id="rId10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20.xml"/><Relationship Id="rId22" Type="http://schemas.openxmlformats.org/officeDocument/2006/relationships/slideLayout" Target="../slideLayouts/slideLayout128.xml"/><Relationship Id="rId27" Type="http://schemas.openxmlformats.org/officeDocument/2006/relationships/oleObject" Target="../embeddings/oleObject6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slideLayout" Target="../slideLayouts/slideLayout143.xml"/><Relationship Id="rId18" Type="http://schemas.openxmlformats.org/officeDocument/2006/relationships/slideLayout" Target="../slideLayouts/slideLayout148.xml"/><Relationship Id="rId26" Type="http://schemas.openxmlformats.org/officeDocument/2006/relationships/slideLayout" Target="../slideLayouts/slideLayout156.xml"/><Relationship Id="rId3" Type="http://schemas.openxmlformats.org/officeDocument/2006/relationships/slideLayout" Target="../slideLayouts/slideLayout133.xml"/><Relationship Id="rId21" Type="http://schemas.openxmlformats.org/officeDocument/2006/relationships/slideLayout" Target="../slideLayouts/slideLayout151.xml"/><Relationship Id="rId34" Type="http://schemas.openxmlformats.org/officeDocument/2006/relationships/oleObject" Target="../embeddings/oleObject7.bin"/><Relationship Id="rId7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2.xml"/><Relationship Id="rId17" Type="http://schemas.openxmlformats.org/officeDocument/2006/relationships/slideLayout" Target="../slideLayouts/slideLayout147.xml"/><Relationship Id="rId25" Type="http://schemas.openxmlformats.org/officeDocument/2006/relationships/slideLayout" Target="../slideLayouts/slideLayout155.xml"/><Relationship Id="rId33" Type="http://schemas.openxmlformats.org/officeDocument/2006/relationships/tags" Target="../tags/tag9.xml"/><Relationship Id="rId2" Type="http://schemas.openxmlformats.org/officeDocument/2006/relationships/slideLayout" Target="../slideLayouts/slideLayout132.xml"/><Relationship Id="rId16" Type="http://schemas.openxmlformats.org/officeDocument/2006/relationships/slideLayout" Target="../slideLayouts/slideLayout146.xml"/><Relationship Id="rId20" Type="http://schemas.openxmlformats.org/officeDocument/2006/relationships/slideLayout" Target="../slideLayouts/slideLayout150.xml"/><Relationship Id="rId29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24" Type="http://schemas.openxmlformats.org/officeDocument/2006/relationships/slideLayout" Target="../slideLayouts/slideLayout154.xml"/><Relationship Id="rId32" Type="http://schemas.openxmlformats.org/officeDocument/2006/relationships/theme" Target="../theme/theme7.xml"/><Relationship Id="rId5" Type="http://schemas.openxmlformats.org/officeDocument/2006/relationships/slideLayout" Target="../slideLayouts/slideLayout135.xml"/><Relationship Id="rId15" Type="http://schemas.openxmlformats.org/officeDocument/2006/relationships/slideLayout" Target="../slideLayouts/slideLayout145.xml"/><Relationship Id="rId23" Type="http://schemas.openxmlformats.org/officeDocument/2006/relationships/slideLayout" Target="../slideLayouts/slideLayout153.xml"/><Relationship Id="rId28" Type="http://schemas.openxmlformats.org/officeDocument/2006/relationships/slideLayout" Target="../slideLayouts/slideLayout158.xml"/><Relationship Id="rId36" Type="http://schemas.openxmlformats.org/officeDocument/2006/relationships/image" Target="../media/image24.png"/><Relationship Id="rId10" Type="http://schemas.openxmlformats.org/officeDocument/2006/relationships/slideLayout" Target="../slideLayouts/slideLayout140.xml"/><Relationship Id="rId19" Type="http://schemas.openxmlformats.org/officeDocument/2006/relationships/slideLayout" Target="../slideLayouts/slideLayout149.xml"/><Relationship Id="rId31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slideLayout" Target="../slideLayouts/slideLayout144.xml"/><Relationship Id="rId22" Type="http://schemas.openxmlformats.org/officeDocument/2006/relationships/slideLayout" Target="../slideLayouts/slideLayout152.xml"/><Relationship Id="rId27" Type="http://schemas.openxmlformats.org/officeDocument/2006/relationships/slideLayout" Target="../slideLayouts/slideLayout157.xml"/><Relationship Id="rId30" Type="http://schemas.openxmlformats.org/officeDocument/2006/relationships/slideLayout" Target="../slideLayouts/slideLayout160.xml"/><Relationship Id="rId35" Type="http://schemas.openxmlformats.org/officeDocument/2006/relationships/image" Target="../media/image19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.xml"/><Relationship Id="rId13" Type="http://schemas.openxmlformats.org/officeDocument/2006/relationships/slideLayout" Target="../slideLayouts/slideLayout174.xml"/><Relationship Id="rId18" Type="http://schemas.openxmlformats.org/officeDocument/2006/relationships/slideLayout" Target="../slideLayouts/slideLayout179.xml"/><Relationship Id="rId26" Type="http://schemas.openxmlformats.org/officeDocument/2006/relationships/oleObject" Target="../embeddings/oleObject8.bin"/><Relationship Id="rId3" Type="http://schemas.openxmlformats.org/officeDocument/2006/relationships/slideLayout" Target="../slideLayouts/slideLayout164.xml"/><Relationship Id="rId21" Type="http://schemas.openxmlformats.org/officeDocument/2006/relationships/slideLayout" Target="../slideLayouts/slideLayout182.xml"/><Relationship Id="rId7" Type="http://schemas.openxmlformats.org/officeDocument/2006/relationships/slideLayout" Target="../slideLayouts/slideLayout168.xml"/><Relationship Id="rId12" Type="http://schemas.openxmlformats.org/officeDocument/2006/relationships/slideLayout" Target="../slideLayouts/slideLayout173.xml"/><Relationship Id="rId17" Type="http://schemas.openxmlformats.org/officeDocument/2006/relationships/slideLayout" Target="../slideLayouts/slideLayout178.xml"/><Relationship Id="rId25" Type="http://schemas.openxmlformats.org/officeDocument/2006/relationships/tags" Target="../tags/tag10.xml"/><Relationship Id="rId2" Type="http://schemas.openxmlformats.org/officeDocument/2006/relationships/slideLayout" Target="../slideLayouts/slideLayout163.xml"/><Relationship Id="rId16" Type="http://schemas.openxmlformats.org/officeDocument/2006/relationships/slideLayout" Target="../slideLayouts/slideLayout177.xml"/><Relationship Id="rId20" Type="http://schemas.openxmlformats.org/officeDocument/2006/relationships/slideLayout" Target="../slideLayouts/slideLayout181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24" Type="http://schemas.openxmlformats.org/officeDocument/2006/relationships/theme" Target="../theme/theme8.xml"/><Relationship Id="rId5" Type="http://schemas.openxmlformats.org/officeDocument/2006/relationships/slideLayout" Target="../slideLayouts/slideLayout166.xml"/><Relationship Id="rId15" Type="http://schemas.openxmlformats.org/officeDocument/2006/relationships/slideLayout" Target="../slideLayouts/slideLayout176.xml"/><Relationship Id="rId23" Type="http://schemas.openxmlformats.org/officeDocument/2006/relationships/slideLayout" Target="../slideLayouts/slideLayout184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71.xml"/><Relationship Id="rId19" Type="http://schemas.openxmlformats.org/officeDocument/2006/relationships/slideLayout" Target="../slideLayouts/slideLayout180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Relationship Id="rId14" Type="http://schemas.openxmlformats.org/officeDocument/2006/relationships/slideLayout" Target="../slideLayouts/slideLayout175.xml"/><Relationship Id="rId22" Type="http://schemas.openxmlformats.org/officeDocument/2006/relationships/slideLayout" Target="../slideLayouts/slideLayout183.xml"/><Relationship Id="rId27" Type="http://schemas.openxmlformats.org/officeDocument/2006/relationships/image" Target="../media/image19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slideLayout" Target="../slideLayouts/slideLayout197.xml"/><Relationship Id="rId18" Type="http://schemas.openxmlformats.org/officeDocument/2006/relationships/slideLayout" Target="../slideLayouts/slideLayout202.xml"/><Relationship Id="rId26" Type="http://schemas.openxmlformats.org/officeDocument/2006/relationships/oleObject" Target="../embeddings/oleObject9.bin"/><Relationship Id="rId3" Type="http://schemas.openxmlformats.org/officeDocument/2006/relationships/slideLayout" Target="../slideLayouts/slideLayout187.xml"/><Relationship Id="rId21" Type="http://schemas.openxmlformats.org/officeDocument/2006/relationships/slideLayout" Target="../slideLayouts/slideLayout205.xml"/><Relationship Id="rId7" Type="http://schemas.openxmlformats.org/officeDocument/2006/relationships/slideLayout" Target="../slideLayouts/slideLayout191.xml"/><Relationship Id="rId12" Type="http://schemas.openxmlformats.org/officeDocument/2006/relationships/slideLayout" Target="../slideLayouts/slideLayout196.xml"/><Relationship Id="rId17" Type="http://schemas.openxmlformats.org/officeDocument/2006/relationships/slideLayout" Target="../slideLayouts/slideLayout201.xml"/><Relationship Id="rId25" Type="http://schemas.openxmlformats.org/officeDocument/2006/relationships/tags" Target="../tags/tag11.xml"/><Relationship Id="rId2" Type="http://schemas.openxmlformats.org/officeDocument/2006/relationships/slideLayout" Target="../slideLayouts/slideLayout186.xml"/><Relationship Id="rId16" Type="http://schemas.openxmlformats.org/officeDocument/2006/relationships/slideLayout" Target="../slideLayouts/slideLayout200.xml"/><Relationship Id="rId20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slideLayout" Target="../slideLayouts/slideLayout195.xml"/><Relationship Id="rId24" Type="http://schemas.openxmlformats.org/officeDocument/2006/relationships/theme" Target="../theme/theme9.xml"/><Relationship Id="rId5" Type="http://schemas.openxmlformats.org/officeDocument/2006/relationships/slideLayout" Target="../slideLayouts/slideLayout189.xml"/><Relationship Id="rId15" Type="http://schemas.openxmlformats.org/officeDocument/2006/relationships/slideLayout" Target="../slideLayouts/slideLayout199.xml"/><Relationship Id="rId23" Type="http://schemas.openxmlformats.org/officeDocument/2006/relationships/slideLayout" Target="../slideLayouts/slideLayout207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94.xml"/><Relationship Id="rId19" Type="http://schemas.openxmlformats.org/officeDocument/2006/relationships/slideLayout" Target="../slideLayouts/slideLayout203.xml"/><Relationship Id="rId4" Type="http://schemas.openxmlformats.org/officeDocument/2006/relationships/slideLayout" Target="../slideLayouts/slideLayout188.xml"/><Relationship Id="rId9" Type="http://schemas.openxmlformats.org/officeDocument/2006/relationships/slideLayout" Target="../slideLayouts/slideLayout193.xml"/><Relationship Id="rId14" Type="http://schemas.openxmlformats.org/officeDocument/2006/relationships/slideLayout" Target="../slideLayouts/slideLayout198.xml"/><Relationship Id="rId22" Type="http://schemas.openxmlformats.org/officeDocument/2006/relationships/slideLayout" Target="../slideLayouts/slideLayout206.xml"/><Relationship Id="rId27" Type="http://schemas.openxmlformats.org/officeDocument/2006/relationships/image" Target="../media/image19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409889-7115-4AE3-A5D7-98167B2F15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53" imgH="353" progId="TCLayout.ActiveDocument.1">
                  <p:embed/>
                </p:oleObj>
              </mc:Choice>
              <mc:Fallback>
                <p:oleObj name="think-cell Slide" r:id="rId28" imgW="353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409889-7115-4AE3-A5D7-98167B2F15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7A62C48B-6204-4B5E-A9A7-1BC581899847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750"/>
              </a:spcBef>
            </a:pPr>
            <a:endParaRPr lang="en-GB" sz="4000" b="0" i="0" baseline="0" noProof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24" name="Logo"/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1203699"/>
            <a:ext cx="10214464" cy="71241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dirty="0" err="1"/>
              <a:t>Klik</a:t>
            </a:r>
            <a:r>
              <a:rPr lang="en-GB" noProof="0" dirty="0"/>
              <a:t> for at </a:t>
            </a:r>
            <a:r>
              <a:rPr lang="en-GB" noProof="0" dirty="0" err="1"/>
              <a:t>redigere</a:t>
            </a:r>
            <a:r>
              <a:rPr lang="en-GB" noProof="0" dirty="0"/>
              <a:t> </a:t>
            </a:r>
            <a:r>
              <a:rPr lang="en-GB" noProof="0" dirty="0" err="1"/>
              <a:t>i</a:t>
            </a:r>
            <a:r>
              <a:rPr lang="en-GB" noProof="0" dirty="0"/>
              <a:t> </a:t>
            </a:r>
            <a:r>
              <a:rPr lang="en-GB" noProof="0" dirty="0" err="1"/>
              <a:t>master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2852738"/>
            <a:ext cx="10226675" cy="3303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0182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  <p:sldLayoutId id="2147483760" r:id="rId20"/>
    <p:sldLayoutId id="2147483761" r:id="rId21"/>
    <p:sldLayoutId id="2147483762" r:id="rId22"/>
    <p:sldLayoutId id="2147483763" r:id="rId23"/>
    <p:sldLayoutId id="2147484628" r:id="rId24"/>
  </p:sldLayoutIdLst>
  <p:hf sldNum="0" hdr="0" ft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4000" kern="1200" cap="all" baseline="0">
          <a:solidFill>
            <a:schemeClr val="accent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1797">
          <p15:clr>
            <a:srgbClr val="F26B43"/>
          </p15:clr>
        </p15:guide>
        <p15:guide id="4" orient="horz" pos="3878">
          <p15:clr>
            <a:srgbClr val="F26B43"/>
          </p15:clr>
        </p15:guide>
        <p15:guide id="5" orient="horz" pos="1207">
          <p15:clr>
            <a:srgbClr val="F26B43"/>
          </p15:clr>
        </p15:guide>
        <p15:guide id="6" orient="horz" pos="1729">
          <p15:clr>
            <a:srgbClr val="F26B43"/>
          </p15:clr>
        </p15:guide>
        <p15:guide id="7" orient="horz" pos="754">
          <p15:clr>
            <a:srgbClr val="F26B43"/>
          </p15:clr>
        </p15:guide>
        <p15:guide id="8" orient="horz" pos="1275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7229DC6-0637-4BDC-998D-CCFFF215B8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637867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622" imgH="623" progId="TCLayout.ActiveDocument.1">
                  <p:embed/>
                </p:oleObj>
              </mc:Choice>
              <mc:Fallback>
                <p:oleObj name="think-cell Slide" r:id="rId26" imgW="622" imgH="62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7229DC6-0637-4BDC-998D-CCFFF215B8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Logo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1203699"/>
            <a:ext cx="10214464" cy="71241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rtl="0"/>
            <a:r>
              <a:rPr lang="en-gb"/>
              <a:t>Klik for at redigere i master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2852738"/>
            <a:ext cx="10226675" cy="3303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rtl="0"/>
            <a:r>
              <a:rPr lang="en-gb" noProof="0"/>
              <a:t>Edit Master text styles</a:t>
            </a:r>
          </a:p>
          <a:p>
            <a:pPr lvl="1" rtl="0"/>
            <a:r>
              <a:rPr lang="en-gb" noProof="0"/>
              <a:t>Second level</a:t>
            </a:r>
          </a:p>
          <a:p>
            <a:pPr lvl="2" rtl="0"/>
            <a:r>
              <a:rPr lang="en-gb" noProof="0"/>
              <a:t>Third level</a:t>
            </a:r>
          </a:p>
          <a:p>
            <a:pPr lvl="3" rtl="0"/>
            <a:r>
              <a:rPr lang="en-gb" noProof="0"/>
              <a:t>Fourth level</a:t>
            </a:r>
          </a:p>
          <a:p>
            <a:pPr lvl="4" rtl="0"/>
            <a:r>
              <a:rPr lang="en-gb" noProof="0"/>
              <a:t>Fifth level</a:t>
            </a:r>
          </a:p>
          <a:p>
            <a:pPr lvl="5" rtl="0"/>
            <a:r>
              <a:rPr lang="en-gb" noProof="0"/>
              <a:t>6</a:t>
            </a:r>
          </a:p>
          <a:p>
            <a:pPr lvl="6" rtl="0"/>
            <a:r>
              <a:rPr lang="en-gb" noProof="0"/>
              <a:t>7</a:t>
            </a:r>
          </a:p>
          <a:p>
            <a:pPr lvl="7" rtl="0"/>
            <a:r>
              <a:rPr lang="en-gb" noProof="0"/>
              <a:t>8</a:t>
            </a:r>
          </a:p>
          <a:p>
            <a:pPr lvl="8" rtl="0"/>
            <a:r>
              <a:rPr lang="en-gb" noProof="0"/>
              <a:t>9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pPr rtl="0"/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pPr rtl="0"/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pPr rtl="0"/>
            <a:fld id="{24C8C45C-947F-4981-8B3F-4F32E973C901}" type="slidenum">
              <a:rPr lang="en-GB" smtClean="0"/>
              <a:pPr rtl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7762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8" r:id="rId1"/>
    <p:sldLayoutId id="2147484339" r:id="rId2"/>
    <p:sldLayoutId id="2147484340" r:id="rId3"/>
    <p:sldLayoutId id="2147484341" r:id="rId4"/>
    <p:sldLayoutId id="2147484342" r:id="rId5"/>
    <p:sldLayoutId id="2147484343" r:id="rId6"/>
    <p:sldLayoutId id="2147484344" r:id="rId7"/>
    <p:sldLayoutId id="2147484345" r:id="rId8"/>
    <p:sldLayoutId id="2147484346" r:id="rId9"/>
    <p:sldLayoutId id="2147484347" r:id="rId10"/>
    <p:sldLayoutId id="2147484348" r:id="rId11"/>
    <p:sldLayoutId id="2147484349" r:id="rId12"/>
    <p:sldLayoutId id="2147484350" r:id="rId13"/>
    <p:sldLayoutId id="2147484351" r:id="rId14"/>
    <p:sldLayoutId id="2147484352" r:id="rId15"/>
    <p:sldLayoutId id="2147484353" r:id="rId16"/>
    <p:sldLayoutId id="2147484354" r:id="rId17"/>
    <p:sldLayoutId id="2147484355" r:id="rId18"/>
    <p:sldLayoutId id="2147484356" r:id="rId19"/>
    <p:sldLayoutId id="2147484357" r:id="rId20"/>
    <p:sldLayoutId id="2147484358" r:id="rId21"/>
    <p:sldLayoutId id="2147484359" r:id="rId22"/>
    <p:sldLayoutId id="2147484360" r:id="rId23"/>
  </p:sldLayoutIdLst>
  <p:hf sldNum="0" hdr="0" ft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4000" kern="1200" cap="all" baseline="0">
          <a:solidFill>
            <a:schemeClr val="accent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1797">
          <p15:clr>
            <a:srgbClr val="F26B43"/>
          </p15:clr>
        </p15:guide>
        <p15:guide id="4" orient="horz" pos="3878">
          <p15:clr>
            <a:srgbClr val="F26B43"/>
          </p15:clr>
        </p15:guide>
        <p15:guide id="5" orient="horz" pos="1207">
          <p15:clr>
            <a:srgbClr val="F26B43"/>
          </p15:clr>
        </p15:guide>
        <p15:guide id="6" orient="horz" pos="1729">
          <p15:clr>
            <a:srgbClr val="F26B43"/>
          </p15:clr>
        </p15:guide>
        <p15:guide id="7" orient="horz" pos="754">
          <p15:clr>
            <a:srgbClr val="F26B43"/>
          </p15:clr>
        </p15:guide>
        <p15:guide id="8" orient="horz" pos="1275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7CA1E99-7521-4185-903D-D54458E2A4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95978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622" imgH="623" progId="TCLayout.ActiveDocument.1">
                  <p:embed/>
                </p:oleObj>
              </mc:Choice>
              <mc:Fallback>
                <p:oleObj name="think-cell Slide" r:id="rId26" imgW="622" imgH="62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7CA1E99-7521-4185-903D-D54458E2A4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Logo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1203699"/>
            <a:ext cx="10214464" cy="71241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-DK"/>
              <a:t>Klik for at redigere i master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2852738"/>
            <a:ext cx="10226675" cy="3303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en-GB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5303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2" r:id="rId1"/>
    <p:sldLayoutId id="2147484363" r:id="rId2"/>
    <p:sldLayoutId id="2147484364" r:id="rId3"/>
    <p:sldLayoutId id="2147484365" r:id="rId4"/>
    <p:sldLayoutId id="2147484366" r:id="rId5"/>
    <p:sldLayoutId id="2147484367" r:id="rId6"/>
    <p:sldLayoutId id="2147484368" r:id="rId7"/>
    <p:sldLayoutId id="2147484369" r:id="rId8"/>
    <p:sldLayoutId id="2147484370" r:id="rId9"/>
    <p:sldLayoutId id="2147484371" r:id="rId10"/>
    <p:sldLayoutId id="2147484372" r:id="rId11"/>
    <p:sldLayoutId id="2147484373" r:id="rId12"/>
    <p:sldLayoutId id="2147484374" r:id="rId13"/>
    <p:sldLayoutId id="2147484375" r:id="rId14"/>
    <p:sldLayoutId id="2147484376" r:id="rId15"/>
    <p:sldLayoutId id="2147484377" r:id="rId16"/>
    <p:sldLayoutId id="2147484378" r:id="rId17"/>
    <p:sldLayoutId id="2147484379" r:id="rId18"/>
    <p:sldLayoutId id="2147484380" r:id="rId19"/>
    <p:sldLayoutId id="2147484381" r:id="rId20"/>
    <p:sldLayoutId id="2147484382" r:id="rId21"/>
    <p:sldLayoutId id="2147484383" r:id="rId22"/>
    <p:sldLayoutId id="2147484384" r:id="rId23"/>
  </p:sldLayoutIdLst>
  <p:hf hd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4000" kern="1200" cap="all" baseline="0">
          <a:solidFill>
            <a:schemeClr val="accent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1797">
          <p15:clr>
            <a:srgbClr val="F26B43"/>
          </p15:clr>
        </p15:guide>
        <p15:guide id="4" orient="horz" pos="3878">
          <p15:clr>
            <a:srgbClr val="F26B43"/>
          </p15:clr>
        </p15:guide>
        <p15:guide id="5" orient="horz" pos="1207">
          <p15:clr>
            <a:srgbClr val="F26B43"/>
          </p15:clr>
        </p15:guide>
        <p15:guide id="6" orient="horz" pos="1729">
          <p15:clr>
            <a:srgbClr val="F26B43"/>
          </p15:clr>
        </p15:guide>
        <p15:guide id="7" orient="horz" pos="754">
          <p15:clr>
            <a:srgbClr val="F26B43"/>
          </p15:clr>
        </p15:guide>
        <p15:guide id="8" orient="horz" pos="1275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A4167E5-3098-45DE-A52B-D10265447C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884848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622" imgH="623" progId="TCLayout.ActiveDocument.1">
                  <p:embed/>
                </p:oleObj>
              </mc:Choice>
              <mc:Fallback>
                <p:oleObj name="think-cell Slide" r:id="rId34" imgW="622" imgH="62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A4167E5-3098-45DE-A52B-D10265447C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51703" y="779463"/>
            <a:ext cx="10889267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51702" y="1557347"/>
            <a:ext cx="10889269" cy="45243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</p:txBody>
      </p:sp>
      <p:sp>
        <p:nvSpPr>
          <p:cNvPr id="12" name="Pladsholder til dato 11" hidden="1"/>
          <p:cNvSpPr>
            <a:spLocks noGrp="1"/>
          </p:cNvSpPr>
          <p:nvPr>
            <p:ph type="dt" sz="half" idx="2"/>
          </p:nvPr>
        </p:nvSpPr>
        <p:spPr>
          <a:xfrm>
            <a:off x="8400256" y="760038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da-DK" sz="789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EEAF7074-C617-3A4E-B97C-6D3021D3DD42}" type="datetime3">
              <a:t>08.06.2023</a:t>
            </a:fld>
            <a:endParaRPr lang="da-DK" dirty="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CEC73029-9A61-CC46-ABDC-F803F2C449F2}"/>
              </a:ext>
            </a:extLst>
          </p:cNvPr>
          <p:cNvSpPr txBox="1"/>
          <p:nvPr userDrawn="1"/>
        </p:nvSpPr>
        <p:spPr>
          <a:xfrm>
            <a:off x="10952318" y="6487580"/>
            <a:ext cx="576151" cy="16248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fld id="{373E2121-3D66-4841-8070-AD34F1B5490E}" type="slidenum">
              <a:rPr lang="da-DK" sz="1056" smtClean="0">
                <a:solidFill>
                  <a:schemeClr val="bg2"/>
                </a:solidFill>
              </a:rPr>
              <a:pPr algn="r"/>
              <a:t>‹#›</a:t>
            </a:fld>
            <a:endParaRPr lang="da-DK" sz="1056" dirty="0">
              <a:solidFill>
                <a:schemeClr val="bg2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66E3C61A-FF97-7E49-BA27-546EC8879F97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701" y="6245802"/>
            <a:ext cx="2133600" cy="42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089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0" r:id="rId1"/>
    <p:sldLayoutId id="2147484391" r:id="rId2"/>
    <p:sldLayoutId id="2147484392" r:id="rId3"/>
    <p:sldLayoutId id="2147484393" r:id="rId4"/>
    <p:sldLayoutId id="2147484394" r:id="rId5"/>
    <p:sldLayoutId id="2147484395" r:id="rId6"/>
    <p:sldLayoutId id="2147484396" r:id="rId7"/>
    <p:sldLayoutId id="2147484397" r:id="rId8"/>
    <p:sldLayoutId id="2147484398" r:id="rId9"/>
    <p:sldLayoutId id="2147484399" r:id="rId10"/>
    <p:sldLayoutId id="2147484400" r:id="rId11"/>
    <p:sldLayoutId id="2147484401" r:id="rId12"/>
    <p:sldLayoutId id="2147484402" r:id="rId13"/>
    <p:sldLayoutId id="2147484403" r:id="rId14"/>
    <p:sldLayoutId id="2147484404" r:id="rId15"/>
    <p:sldLayoutId id="2147484405" r:id="rId16"/>
    <p:sldLayoutId id="2147484406" r:id="rId17"/>
    <p:sldLayoutId id="2147484407" r:id="rId18"/>
    <p:sldLayoutId id="2147484408" r:id="rId19"/>
    <p:sldLayoutId id="2147484409" r:id="rId20"/>
    <p:sldLayoutId id="2147484410" r:id="rId21"/>
    <p:sldLayoutId id="2147484411" r:id="rId22"/>
    <p:sldLayoutId id="2147484412" r:id="rId23"/>
    <p:sldLayoutId id="2147484413" r:id="rId24"/>
    <p:sldLayoutId id="2147484414" r:id="rId25"/>
    <p:sldLayoutId id="2147484415" r:id="rId26"/>
    <p:sldLayoutId id="2147484416" r:id="rId27"/>
    <p:sldLayoutId id="2147484417" r:id="rId28"/>
    <p:sldLayoutId id="2147484418" r:id="rId29"/>
    <p:sldLayoutId id="2147484419" r:id="rId30"/>
    <p:sldLayoutId id="2147484420" r:id="rId31"/>
  </p:sldLayoutIdLst>
  <p:hf hdr="0" ftr="0"/>
  <p:txStyles>
    <p:titleStyle>
      <a:lvl1pPr algn="l" defTabSz="904161" rtl="0" eaLnBrk="1" latinLnBrk="0" hangingPunct="1">
        <a:lnSpc>
          <a:spcPct val="90000"/>
        </a:lnSpc>
        <a:spcBef>
          <a:spcPct val="0"/>
        </a:spcBef>
        <a:buNone/>
        <a:defRPr sz="2112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04161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​"/>
        <a:defRPr sz="2112" b="0" kern="1200">
          <a:solidFill>
            <a:schemeClr val="bg2"/>
          </a:solidFill>
          <a:latin typeface="+mn-lt"/>
          <a:ea typeface="+mn-ea"/>
          <a:cs typeface="+mn-cs"/>
        </a:defRPr>
      </a:lvl1pPr>
      <a:lvl2pPr marL="213581" indent="-213581" algn="l" defTabSz="904161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•"/>
        <a:defRPr sz="2112" b="0" kern="1200">
          <a:solidFill>
            <a:schemeClr val="bg2"/>
          </a:solidFill>
          <a:latin typeface="+mn-lt"/>
          <a:ea typeface="+mn-ea"/>
          <a:cs typeface="+mn-cs"/>
        </a:defRPr>
      </a:lvl2pPr>
      <a:lvl3pPr marL="427164" indent="-213581" algn="l" defTabSz="904161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845" b="0" kern="1200">
          <a:solidFill>
            <a:schemeClr val="bg2"/>
          </a:solidFill>
          <a:latin typeface="+mn-lt"/>
          <a:ea typeface="+mn-ea"/>
          <a:cs typeface="+mn-cs"/>
        </a:defRPr>
      </a:lvl3pPr>
      <a:lvl4pPr marL="640744" indent="-213581" algn="l" defTabSz="904161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45" b="0" kern="1200">
          <a:solidFill>
            <a:schemeClr val="bg2"/>
          </a:solidFill>
          <a:latin typeface="+mn-lt"/>
          <a:ea typeface="+mn-ea"/>
          <a:cs typeface="+mn-cs"/>
        </a:defRPr>
      </a:lvl4pPr>
      <a:lvl5pPr marL="854324" indent="-213581" algn="l" defTabSz="904161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845" b="0" kern="1200">
          <a:solidFill>
            <a:schemeClr val="bg2"/>
          </a:solidFill>
          <a:latin typeface="+mn-lt"/>
          <a:ea typeface="+mn-ea"/>
          <a:cs typeface="+mn-cs"/>
        </a:defRPr>
      </a:lvl5pPr>
      <a:lvl6pPr marL="854324" indent="-213581" algn="l" defTabSz="904161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45" b="0" kern="1200">
          <a:solidFill>
            <a:schemeClr val="bg2"/>
          </a:solidFill>
          <a:latin typeface="+mn-lt"/>
          <a:ea typeface="+mn-ea"/>
          <a:cs typeface="+mn-cs"/>
        </a:defRPr>
      </a:lvl6pPr>
      <a:lvl7pPr marL="854324" indent="-213581" algn="l" defTabSz="904161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45" b="0" kern="1200">
          <a:solidFill>
            <a:schemeClr val="bg2"/>
          </a:solidFill>
          <a:latin typeface="+mn-lt"/>
          <a:ea typeface="+mn-ea"/>
          <a:cs typeface="+mn-cs"/>
        </a:defRPr>
      </a:lvl7pPr>
      <a:lvl8pPr marL="854324" indent="-213581" algn="l" defTabSz="904161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45" b="0" kern="1200" baseline="0">
          <a:solidFill>
            <a:schemeClr val="bg2"/>
          </a:solidFill>
          <a:latin typeface="+mn-lt"/>
          <a:ea typeface="+mn-ea"/>
          <a:cs typeface="+mn-cs"/>
        </a:defRPr>
      </a:lvl8pPr>
      <a:lvl9pPr marL="854324" indent="-213581" algn="l" defTabSz="904161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45" b="0" kern="1200">
          <a:solidFill>
            <a:schemeClr val="bg2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04161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1pPr>
      <a:lvl2pPr marL="452081" algn="l" defTabSz="904161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2pPr>
      <a:lvl3pPr marL="904161" algn="l" defTabSz="904161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3pPr>
      <a:lvl4pPr marL="1356242" algn="l" defTabSz="904161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4pPr>
      <a:lvl5pPr marL="1808320" algn="l" defTabSz="904161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5pPr>
      <a:lvl6pPr marL="2260399" algn="l" defTabSz="904161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6pPr>
      <a:lvl7pPr marL="2712482" algn="l" defTabSz="904161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7pPr>
      <a:lvl8pPr marL="3164558" algn="l" defTabSz="904161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8pPr>
      <a:lvl9pPr marL="3616639" algn="l" defTabSz="904161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36">
          <p15:clr>
            <a:srgbClr val="F26B43"/>
          </p15:clr>
        </p15:guide>
        <p15:guide id="4" orient="horz" pos="2873">
          <p15:clr>
            <a:srgbClr val="F26B43"/>
          </p15:clr>
        </p15:guide>
        <p15:guide id="6" orient="horz" pos="368">
          <p15:clr>
            <a:srgbClr val="F26B43"/>
          </p15:clr>
        </p15:guide>
        <p15:guide id="7" pos="307">
          <p15:clr>
            <a:srgbClr val="F26B43"/>
          </p15:clr>
        </p15:guide>
        <p15:guide id="8" pos="5452">
          <p15:clr>
            <a:srgbClr val="F26B43"/>
          </p15:clr>
        </p15:guide>
        <p15:guide id="9" pos="668">
          <p15:clr>
            <a:srgbClr val="F26B43"/>
          </p15:clr>
        </p15:guide>
        <p15:guide id="11" pos="2710">
          <p15:clr>
            <a:srgbClr val="F26B43"/>
          </p15:clr>
        </p15:guide>
        <p15:guide id="12" pos="3050">
          <p15:clr>
            <a:srgbClr val="F26B43"/>
          </p15:clr>
        </p15:guide>
        <p15:guide id="13" pos="5092">
          <p15:clr>
            <a:srgbClr val="F26B43"/>
          </p15:clr>
        </p15:guide>
        <p15:guide id="14" orient="horz" pos="2504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0A64249-1CFA-4E2A-8BD0-9E214516B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10184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22" imgH="623" progId="TCLayout.ActiveDocument.1">
                  <p:embed/>
                </p:oleObj>
              </mc:Choice>
              <mc:Fallback>
                <p:oleObj name="think-cell Slide" r:id="rId7" imgW="622" imgH="62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0A64249-1CFA-4E2A-8BD0-9E214516B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93041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2" r:id="rId1"/>
    <p:sldLayoutId id="2147484423" r:id="rId2"/>
    <p:sldLayoutId id="2147484424" r:id="rId3"/>
    <p:sldLayoutId id="2147484425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hf hdr="0" ftr="0"/>
  <p:txStyles>
    <p:titleStyle>
      <a:lvl1pPr algn="l" defTabSz="609585" rtl="0" eaLnBrk="1" latinLnBrk="0" hangingPunct="1">
        <a:spcBef>
          <a:spcPct val="0"/>
        </a:spcBef>
        <a:buNone/>
        <a:defRPr sz="3067" b="1" kern="1200">
          <a:solidFill>
            <a:srgbClr val="415171"/>
          </a:solidFill>
          <a:latin typeface="+mj-lt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spcBef>
          <a:spcPct val="20000"/>
        </a:spcBef>
        <a:buFont typeface="Arial"/>
        <a:buNone/>
        <a:defRPr sz="16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1333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1333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13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333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6BFD31-7E89-4BB8-BA7D-04BFAF475A5B}" type="datetimeFigureOut">
              <a:rPr lang="pl-PL" smtClean="0"/>
              <a:t>08.06.2023</a:t>
            </a:fld>
            <a:endParaRPr lang="pl-PL" dirty="0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BEA5D3-1F4F-4190-887E-8231FC8EC0C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857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6" r:id="rId1"/>
    <p:sldLayoutId id="2147484447" r:id="rId2"/>
    <p:sldLayoutId id="2147484448" r:id="rId3"/>
    <p:sldLayoutId id="2147484449" r:id="rId4"/>
    <p:sldLayoutId id="2147484450" r:id="rId5"/>
    <p:sldLayoutId id="2147484451" r:id="rId6"/>
    <p:sldLayoutId id="2147484452" r:id="rId7"/>
    <p:sldLayoutId id="2147484453" r:id="rId8"/>
    <p:sldLayoutId id="2147484454" r:id="rId9"/>
    <p:sldLayoutId id="2147484455" r:id="rId10"/>
    <p:sldLayoutId id="2147484456" r:id="rId11"/>
    <p:sldLayoutId id="2147484457" r:id="rId12"/>
    <p:sldLayoutId id="2147484458" r:id="rId13"/>
    <p:sldLayoutId id="2147484459" r:id="rId14"/>
    <p:sldLayoutId id="2147484460" r:id="rId15"/>
    <p:sldLayoutId id="2147484461" r:id="rId16"/>
    <p:sldLayoutId id="2147484462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 dirty="0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BEA5D3-1F4F-4190-887E-8231FC8EC0C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0271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6" r:id="rId1"/>
    <p:sldLayoutId id="2147484467" r:id="rId2"/>
    <p:sldLayoutId id="2147484468" r:id="rId3"/>
    <p:sldLayoutId id="2147484469" r:id="rId4"/>
    <p:sldLayoutId id="2147484470" r:id="rId5"/>
    <p:sldLayoutId id="2147484471" r:id="rId6"/>
    <p:sldLayoutId id="2147484472" r:id="rId7"/>
    <p:sldLayoutId id="2147484473" r:id="rId8"/>
    <p:sldLayoutId id="2147484474" r:id="rId9"/>
    <p:sldLayoutId id="2147484475" r:id="rId10"/>
    <p:sldLayoutId id="2147484476" r:id="rId11"/>
    <p:sldLayoutId id="2147484477" r:id="rId12"/>
    <p:sldLayoutId id="2147484478" r:id="rId13"/>
    <p:sldLayoutId id="2147484479" r:id="rId14"/>
    <p:sldLayoutId id="2147484480" r:id="rId15"/>
    <p:sldLayoutId id="2147484481" r:id="rId16"/>
    <p:sldLayoutId id="2147484482" r:id="rId17"/>
    <p:sldLayoutId id="2147484483" r:id="rId18"/>
    <p:sldLayoutId id="2147484484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51687" y="779463"/>
            <a:ext cx="10889267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51686" y="1557341"/>
            <a:ext cx="10889269" cy="45243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</p:txBody>
      </p:sp>
      <p:sp>
        <p:nvSpPr>
          <p:cNvPr id="12" name="Pladsholder til dato 11" hidden="1"/>
          <p:cNvSpPr>
            <a:spLocks noGrp="1"/>
          </p:cNvSpPr>
          <p:nvPr>
            <p:ph type="dt" sz="half" idx="2"/>
          </p:nvPr>
        </p:nvSpPr>
        <p:spPr>
          <a:xfrm>
            <a:off x="8400256" y="760038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da-DK" sz="80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EEAF7074-C617-3A4E-B97C-6D3021D3DD42}" type="datetime3">
              <a:t>08.06.2023</a:t>
            </a:fld>
            <a:endParaRPr lang="da-DK" dirty="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CEC73029-9A61-CC46-ABDC-F803F2C449F2}"/>
              </a:ext>
            </a:extLst>
          </p:cNvPr>
          <p:cNvSpPr txBox="1"/>
          <p:nvPr userDrawn="1"/>
        </p:nvSpPr>
        <p:spPr>
          <a:xfrm>
            <a:off x="10952302" y="6486682"/>
            <a:ext cx="576151" cy="16421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fld id="{373E2121-3D66-4841-8070-AD34F1B5490E}" type="slidenum">
              <a:rPr lang="da-DK" sz="1067" dirty="0" err="1" smtClean="0">
                <a:solidFill>
                  <a:schemeClr val="bg2"/>
                </a:solidFill>
              </a:rPr>
              <a:pPr algn="r"/>
              <a:t>‹#›</a:t>
            </a:fld>
            <a:endParaRPr lang="da-DK" sz="1067" dirty="0" err="1">
              <a:solidFill>
                <a:schemeClr val="bg2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66E3C61A-FF97-7E49-BA27-546EC8879F97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85" y="6245802"/>
            <a:ext cx="2133600" cy="42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691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6" r:id="rId1"/>
    <p:sldLayoutId id="2147484487" r:id="rId2"/>
    <p:sldLayoutId id="2147484488" r:id="rId3"/>
    <p:sldLayoutId id="2147484489" r:id="rId4"/>
    <p:sldLayoutId id="2147484490" r:id="rId5"/>
    <p:sldLayoutId id="2147484491" r:id="rId6"/>
    <p:sldLayoutId id="2147484492" r:id="rId7"/>
    <p:sldLayoutId id="2147484493" r:id="rId8"/>
    <p:sldLayoutId id="2147484494" r:id="rId9"/>
    <p:sldLayoutId id="2147484495" r:id="rId10"/>
    <p:sldLayoutId id="2147484496" r:id="rId11"/>
    <p:sldLayoutId id="2147484497" r:id="rId12"/>
    <p:sldLayoutId id="2147484498" r:id="rId13"/>
    <p:sldLayoutId id="2147484499" r:id="rId14"/>
    <p:sldLayoutId id="2147484500" r:id="rId15"/>
    <p:sldLayoutId id="2147484501" r:id="rId16"/>
    <p:sldLayoutId id="2147484502" r:id="rId17"/>
    <p:sldLayoutId id="2147484503" r:id="rId18"/>
    <p:sldLayoutId id="2147484504" r:id="rId19"/>
    <p:sldLayoutId id="2147484505" r:id="rId20"/>
    <p:sldLayoutId id="2147484506" r:id="rId21"/>
    <p:sldLayoutId id="2147484507" r:id="rId22"/>
    <p:sldLayoutId id="2147484508" r:id="rId23"/>
    <p:sldLayoutId id="2147484509" r:id="rId24"/>
    <p:sldLayoutId id="2147484510" r:id="rId25"/>
    <p:sldLayoutId id="2147484511" r:id="rId26"/>
    <p:sldLayoutId id="2147484512" r:id="rId27"/>
    <p:sldLayoutId id="2147484513" r:id="rId28"/>
    <p:sldLayoutId id="2147484514" r:id="rId29"/>
    <p:sldLayoutId id="2147484515" r:id="rId30"/>
    <p:sldLayoutId id="2147484516" r:id="rId31"/>
  </p:sldLayoutIdLst>
  <p:hf hdr="0" ftr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133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354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​"/>
        <a:defRPr sz="2133" b="0" kern="1200">
          <a:solidFill>
            <a:schemeClr val="bg2"/>
          </a:solidFill>
          <a:latin typeface="+mn-lt"/>
          <a:ea typeface="+mn-ea"/>
          <a:cs typeface="+mn-cs"/>
        </a:defRPr>
      </a:lvl1pPr>
      <a:lvl2pPr marL="215989" indent="-215989" algn="l" defTabSz="914354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•"/>
        <a:defRPr sz="2133" b="0" kern="1200">
          <a:solidFill>
            <a:schemeClr val="bg2"/>
          </a:solidFill>
          <a:latin typeface="+mn-lt"/>
          <a:ea typeface="+mn-ea"/>
          <a:cs typeface="+mn-cs"/>
        </a:defRPr>
      </a:lvl2pPr>
      <a:lvl3pPr marL="431979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3pPr>
      <a:lvl4pPr marL="647968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4pPr>
      <a:lvl5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5pPr>
      <a:lvl6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6pPr>
      <a:lvl7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7pPr>
      <a:lvl8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 baseline="0">
          <a:solidFill>
            <a:schemeClr val="bg2"/>
          </a:solidFill>
          <a:latin typeface="+mn-lt"/>
          <a:ea typeface="+mn-ea"/>
          <a:cs typeface="+mn-cs"/>
        </a:defRPr>
      </a:lvl8pPr>
      <a:lvl9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36">
          <p15:clr>
            <a:srgbClr val="F26B43"/>
          </p15:clr>
        </p15:guide>
        <p15:guide id="4" orient="horz" pos="2873">
          <p15:clr>
            <a:srgbClr val="F26B43"/>
          </p15:clr>
        </p15:guide>
        <p15:guide id="6" orient="horz" pos="368">
          <p15:clr>
            <a:srgbClr val="F26B43"/>
          </p15:clr>
        </p15:guide>
        <p15:guide id="7" pos="307">
          <p15:clr>
            <a:srgbClr val="F26B43"/>
          </p15:clr>
        </p15:guide>
        <p15:guide id="8" pos="5452">
          <p15:clr>
            <a:srgbClr val="F26B43"/>
          </p15:clr>
        </p15:guide>
        <p15:guide id="9" pos="668">
          <p15:clr>
            <a:srgbClr val="F26B43"/>
          </p15:clr>
        </p15:guide>
        <p15:guide id="11" pos="2710">
          <p15:clr>
            <a:srgbClr val="F26B43"/>
          </p15:clr>
        </p15:guide>
        <p15:guide id="12" pos="3050">
          <p15:clr>
            <a:srgbClr val="F26B43"/>
          </p15:clr>
        </p15:guide>
        <p15:guide id="13" pos="5092">
          <p15:clr>
            <a:srgbClr val="F26B43"/>
          </p15:clr>
        </p15:guide>
        <p15:guide id="14" orient="horz" pos="2504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0532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8" r:id="rId1"/>
    <p:sldLayoutId id="2147484519" r:id="rId2"/>
    <p:sldLayoutId id="2147484520" r:id="rId3"/>
    <p:sldLayoutId id="2147484521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hf hdr="0" ftr="0"/>
  <p:txStyles>
    <p:titleStyle>
      <a:lvl1pPr algn="l" defTabSz="609585" rtl="0" eaLnBrk="1" latinLnBrk="0" hangingPunct="1">
        <a:spcBef>
          <a:spcPct val="0"/>
        </a:spcBef>
        <a:buNone/>
        <a:defRPr sz="3067" b="1" kern="1200">
          <a:solidFill>
            <a:srgbClr val="415171"/>
          </a:solidFill>
          <a:latin typeface="+mj-lt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spcBef>
          <a:spcPct val="20000"/>
        </a:spcBef>
        <a:buFont typeface="Arial"/>
        <a:buNone/>
        <a:defRPr sz="16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1333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1333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13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333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10972800" cy="1143000"/>
          </a:xfrm>
          <a:prstGeom prst="rect">
            <a:avLst/>
          </a:prstGeom>
        </p:spPr>
        <p:txBody>
          <a:bodyPr vert="horz" lIns="81869" tIns="40934" rIns="81869" bIns="40934" rtlCol="0" anchor="ctr">
            <a:norm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idx="1"/>
          </p:nvPr>
        </p:nvSpPr>
        <p:spPr>
          <a:xfrm>
            <a:off x="609601" y="1634990"/>
            <a:ext cx="10966721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36330" y="6202090"/>
            <a:ext cx="1642631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l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0499271" y="6202090"/>
            <a:ext cx="1077052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r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89907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2" r:id="rId1"/>
    <p:sldLayoutId id="2147484533" r:id="rId2"/>
    <p:sldLayoutId id="2147484534" r:id="rId3"/>
    <p:sldLayoutId id="2147484535" r:id="rId4"/>
    <p:sldLayoutId id="2147484712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ctr" defTabSz="1091563" rtl="0" eaLnBrk="1" latinLnBrk="0" hangingPunct="1">
        <a:spcBef>
          <a:spcPct val="0"/>
        </a:spcBef>
        <a:buNone/>
        <a:defRPr sz="5200" kern="1200">
          <a:solidFill>
            <a:schemeClr val="tx1"/>
          </a:solidFill>
          <a:latin typeface="Segoe UI Semilight" panose="020B0402040204020203" pitchFamily="34" charset="0"/>
          <a:ea typeface="+mj-ea"/>
          <a:cs typeface="Segoe UI Semilight" panose="020B0402040204020203" pitchFamily="34" charset="0"/>
        </a:defRPr>
      </a:lvl1pPr>
    </p:titleStyle>
    <p:bodyStyle>
      <a:lvl1pPr marL="380990" indent="-380990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807857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−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2pPr>
      <a:lvl3pPr marL="1103972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3pPr>
      <a:lvl4pPr marL="1439964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–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4pPr>
      <a:lvl5pPr marL="1836057" indent="-380990" algn="l" defTabSz="1091563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5pPr>
      <a:lvl6pPr marL="2111947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»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6pPr>
      <a:lvl7pPr marL="3547582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93364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39145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578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91563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7344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83128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8909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7469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20472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66255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10972800" cy="1143000"/>
          </a:xfrm>
          <a:prstGeom prst="rect">
            <a:avLst/>
          </a:prstGeom>
        </p:spPr>
        <p:txBody>
          <a:bodyPr vert="horz" lIns="81869" tIns="40934" rIns="81869" bIns="40934" rtlCol="0" anchor="ctr">
            <a:norm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idx="1"/>
          </p:nvPr>
        </p:nvSpPr>
        <p:spPr>
          <a:xfrm>
            <a:off x="609601" y="1634990"/>
            <a:ext cx="10966721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36330" y="6202090"/>
            <a:ext cx="1642631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l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0499271" y="6202090"/>
            <a:ext cx="1077052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r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0502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9" r:id="rId1"/>
    <p:sldLayoutId id="2147484540" r:id="rId2"/>
    <p:sldLayoutId id="2147484541" r:id="rId3"/>
    <p:sldLayoutId id="2147484543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ctr" defTabSz="1091563" rtl="0" eaLnBrk="1" latinLnBrk="0" hangingPunct="1">
        <a:spcBef>
          <a:spcPct val="0"/>
        </a:spcBef>
        <a:buNone/>
        <a:defRPr sz="5200" kern="1200">
          <a:solidFill>
            <a:schemeClr val="tx1"/>
          </a:solidFill>
          <a:latin typeface="Segoe UI Semilight" panose="020B0402040204020203" pitchFamily="34" charset="0"/>
          <a:ea typeface="+mj-ea"/>
          <a:cs typeface="Segoe UI Semilight" panose="020B0402040204020203" pitchFamily="34" charset="0"/>
        </a:defRPr>
      </a:lvl1pPr>
    </p:titleStyle>
    <p:bodyStyle>
      <a:lvl1pPr marL="380990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•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807857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−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2pPr>
      <a:lvl3pPr marL="1103972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ο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3pPr>
      <a:lvl4pPr marL="1439964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»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4pPr>
      <a:lvl5pPr marL="1836057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▪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5pPr>
      <a:lvl6pPr marL="2111947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»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6pPr>
      <a:lvl7pPr marL="3547582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93364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39145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578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91563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7344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83128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8909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7469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20472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66255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7C81033-79CD-41EC-AEF9-644EF87C5C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113687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98" imgH="499" progId="TCLayout.ActiveDocument.1">
                  <p:embed/>
                </p:oleObj>
              </mc:Choice>
              <mc:Fallback>
                <p:oleObj name="think-cell Slide" r:id="rId27" imgW="498" imgH="49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7C81033-79CD-41EC-AEF9-644EF87C5C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Logo"/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1203699"/>
            <a:ext cx="10214464" cy="71241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-DK"/>
              <a:t>Klik for at redigere i master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2852738"/>
            <a:ext cx="10226675" cy="3303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en-GB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1415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  <p:sldLayoutId id="2147483935" r:id="rId12"/>
    <p:sldLayoutId id="2147483936" r:id="rId13"/>
    <p:sldLayoutId id="2147483937" r:id="rId14"/>
    <p:sldLayoutId id="2147483938" r:id="rId15"/>
    <p:sldLayoutId id="2147483939" r:id="rId16"/>
    <p:sldLayoutId id="2147483940" r:id="rId17"/>
    <p:sldLayoutId id="2147483941" r:id="rId18"/>
    <p:sldLayoutId id="2147483942" r:id="rId19"/>
    <p:sldLayoutId id="2147483943" r:id="rId20"/>
    <p:sldLayoutId id="2147483944" r:id="rId21"/>
    <p:sldLayoutId id="2147483945" r:id="rId22"/>
    <p:sldLayoutId id="2147483946" r:id="rId23"/>
    <p:sldLayoutId id="2147484627" r:id="rId24"/>
  </p:sldLayoutIdLst>
  <p:hf hd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4000" kern="1200" cap="all" baseline="0">
          <a:solidFill>
            <a:schemeClr val="accent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1797">
          <p15:clr>
            <a:srgbClr val="F26B43"/>
          </p15:clr>
        </p15:guide>
        <p15:guide id="4" orient="horz" pos="3878">
          <p15:clr>
            <a:srgbClr val="F26B43"/>
          </p15:clr>
        </p15:guide>
        <p15:guide id="5" orient="horz" pos="1207">
          <p15:clr>
            <a:srgbClr val="F26B43"/>
          </p15:clr>
        </p15:guide>
        <p15:guide id="6" orient="horz" pos="1729">
          <p15:clr>
            <a:srgbClr val="F26B43"/>
          </p15:clr>
        </p15:guide>
        <p15:guide id="7" orient="horz" pos="754">
          <p15:clr>
            <a:srgbClr val="F26B43"/>
          </p15:clr>
        </p15:guide>
        <p15:guide id="8" orient="horz" pos="1275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10972800" cy="1143000"/>
          </a:xfrm>
          <a:prstGeom prst="rect">
            <a:avLst/>
          </a:prstGeom>
        </p:spPr>
        <p:txBody>
          <a:bodyPr vert="horz" lIns="81869" tIns="40934" rIns="81869" bIns="40934" rtlCol="0" anchor="ctr">
            <a:norm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idx="1"/>
          </p:nvPr>
        </p:nvSpPr>
        <p:spPr>
          <a:xfrm>
            <a:off x="609601" y="1634990"/>
            <a:ext cx="10966721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36330" y="6202090"/>
            <a:ext cx="1642631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l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0499271" y="6202090"/>
            <a:ext cx="1077052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r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89778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5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ctr" defTabSz="1091563" rtl="0" eaLnBrk="1" latinLnBrk="0" hangingPunct="1">
        <a:spcBef>
          <a:spcPct val="0"/>
        </a:spcBef>
        <a:buNone/>
        <a:defRPr sz="5200" kern="1200">
          <a:solidFill>
            <a:schemeClr val="tx1"/>
          </a:solidFill>
          <a:latin typeface="Segoe UI Semilight" panose="020B0402040204020203" pitchFamily="34" charset="0"/>
          <a:ea typeface="+mj-ea"/>
          <a:cs typeface="Segoe UI Semilight" panose="020B0402040204020203" pitchFamily="34" charset="0"/>
        </a:defRPr>
      </a:lvl1pPr>
    </p:titleStyle>
    <p:bodyStyle>
      <a:lvl1pPr marL="380990" indent="-380990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807857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−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2pPr>
      <a:lvl3pPr marL="1103972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3pPr>
      <a:lvl4pPr marL="1439964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–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4pPr>
      <a:lvl5pPr marL="1836057" indent="-380990" algn="l" defTabSz="1091563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5pPr>
      <a:lvl6pPr marL="2111947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»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6pPr>
      <a:lvl7pPr marL="3547582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93364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39145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578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91563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7344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83128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8909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7469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20472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66255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Logo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1203699"/>
            <a:ext cx="10214464" cy="71241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-DK"/>
              <a:t>Klik for at redigere i master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2852738"/>
            <a:ext cx="10226675" cy="3303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en-GB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715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7" r:id="rId1"/>
    <p:sldLayoutId id="2147484548" r:id="rId2"/>
    <p:sldLayoutId id="2147484549" r:id="rId3"/>
    <p:sldLayoutId id="2147484550" r:id="rId4"/>
    <p:sldLayoutId id="2147484551" r:id="rId5"/>
    <p:sldLayoutId id="2147484552" r:id="rId6"/>
    <p:sldLayoutId id="2147484553" r:id="rId7"/>
    <p:sldLayoutId id="2147484554" r:id="rId8"/>
    <p:sldLayoutId id="2147484555" r:id="rId9"/>
    <p:sldLayoutId id="2147484556" r:id="rId10"/>
    <p:sldLayoutId id="2147484557" r:id="rId11"/>
    <p:sldLayoutId id="2147484558" r:id="rId12"/>
    <p:sldLayoutId id="2147484559" r:id="rId13"/>
    <p:sldLayoutId id="2147484560" r:id="rId14"/>
    <p:sldLayoutId id="2147484561" r:id="rId15"/>
    <p:sldLayoutId id="2147484562" r:id="rId16"/>
    <p:sldLayoutId id="2147484563" r:id="rId17"/>
    <p:sldLayoutId id="2147484564" r:id="rId18"/>
    <p:sldLayoutId id="2147484565" r:id="rId19"/>
    <p:sldLayoutId id="2147484566" r:id="rId20"/>
    <p:sldLayoutId id="2147484567" r:id="rId21"/>
    <p:sldLayoutId id="2147484568" r:id="rId22"/>
    <p:sldLayoutId id="2147484569" r:id="rId23"/>
  </p:sldLayoutIdLst>
  <p:hf hd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4000" kern="1200" cap="all" baseline="0">
          <a:solidFill>
            <a:schemeClr val="accent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1797">
          <p15:clr>
            <a:srgbClr val="F26B43"/>
          </p15:clr>
        </p15:guide>
        <p15:guide id="4" orient="horz" pos="3878">
          <p15:clr>
            <a:srgbClr val="F26B43"/>
          </p15:clr>
        </p15:guide>
        <p15:guide id="5" orient="horz" pos="1207">
          <p15:clr>
            <a:srgbClr val="F26B43"/>
          </p15:clr>
        </p15:guide>
        <p15:guide id="6" orient="horz" pos="1729">
          <p15:clr>
            <a:srgbClr val="F26B43"/>
          </p15:clr>
        </p15:guide>
        <p15:guide id="7" orient="horz" pos="754">
          <p15:clr>
            <a:srgbClr val="F26B43"/>
          </p15:clr>
        </p15:guide>
        <p15:guide id="8" orient="horz" pos="1275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7517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9" r:id="rId1"/>
    <p:sldLayoutId id="2147484590" r:id="rId2"/>
    <p:sldLayoutId id="2147484591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hf hdr="0" ftr="0"/>
  <p:txStyles>
    <p:titleStyle>
      <a:lvl1pPr algn="l" defTabSz="609585" rtl="0" eaLnBrk="1" latinLnBrk="0" hangingPunct="1">
        <a:spcBef>
          <a:spcPct val="0"/>
        </a:spcBef>
        <a:buNone/>
        <a:defRPr sz="3067" b="1" kern="1200">
          <a:solidFill>
            <a:srgbClr val="6AA7B7"/>
          </a:solidFill>
          <a:latin typeface="+mj-lt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spcBef>
          <a:spcPct val="20000"/>
        </a:spcBef>
        <a:buFont typeface="Arial"/>
        <a:buNone/>
        <a:defRPr sz="16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1333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1333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13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333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CB24013B-AEBE-4ED1-A8D8-20742884D0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64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E2319B-FD82-4CDF-8818-7808929BE5E4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2" name="Pladsholder til dato 11"/>
          <p:cNvSpPr>
            <a:spLocks noGrp="1"/>
          </p:cNvSpPr>
          <p:nvPr>
            <p:ph type="dt" sz="half" idx="2"/>
          </p:nvPr>
        </p:nvSpPr>
        <p:spPr>
          <a:xfrm>
            <a:off x="9840437" y="6487688"/>
            <a:ext cx="937651" cy="163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lang="da-DK" sz="986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2BECF-4FF9-4EA8-AAC0-8022A0B40D6F}" type="datetime4">
              <a:rPr lang="en-DK" smtClean="0"/>
              <a:pPr/>
              <a:t>08 June 2023</a:t>
            </a:fld>
            <a:endParaRPr lang="en-DK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6E8BA1-9ECB-4036-9692-FD58CCA629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36166" y="6487688"/>
            <a:ext cx="3802559" cy="163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da-DK" sz="776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DK" sz="986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</a:lstStyle>
          <a:p>
            <a:pPr lvl="1"/>
            <a:endParaRPr lang="da-DK"/>
          </a:p>
        </p:txBody>
      </p:sp>
      <p:sp>
        <p:nvSpPr>
          <p:cNvPr id="5" name="Tekstfelt sidetal fast">
            <a:extLst>
              <a:ext uri="{FF2B5EF4-FFF2-40B4-BE49-F238E27FC236}">
                <a16:creationId xmlns:a16="http://schemas.microsoft.com/office/drawing/2014/main" id="{CEC73029-9A61-CC46-ABDC-F803F2C449F2}"/>
              </a:ext>
            </a:extLst>
          </p:cNvPr>
          <p:cNvSpPr txBox="1"/>
          <p:nvPr userDrawn="1"/>
        </p:nvSpPr>
        <p:spPr>
          <a:xfrm>
            <a:off x="10952315" y="6491872"/>
            <a:ext cx="576151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fld id="{373E2121-3D66-4841-8070-AD34F1B5490E}" type="slidenum">
              <a:rPr lang="da-DK" sz="986" noProof="1" smtClean="0">
                <a:solidFill>
                  <a:schemeClr val="bg2"/>
                </a:solidFill>
              </a:rPr>
              <a:pPr algn="r"/>
              <a:t>‹#›</a:t>
            </a:fld>
            <a:endParaRPr lang="da-DK" sz="886" noProof="1">
              <a:solidFill>
                <a:schemeClr val="bg2"/>
              </a:solidFill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51700" y="779463"/>
            <a:ext cx="10889267" cy="62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51718" y="1557352"/>
            <a:ext cx="10889270" cy="45243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</p:txBody>
      </p:sp>
      <p:sp>
        <p:nvSpPr>
          <p:cNvPr id="11" name="Dynamisk logo" descr="{&quot;templafy&quot;:{&quot;id&quot;:&quot;89ff826e-556c-4b16-ac24-6e0a48847dd8&quot;}}">
            <a:extLst>
              <a:ext uri="{FF2B5EF4-FFF2-40B4-BE49-F238E27FC236}">
                <a16:creationId xmlns:a16="http://schemas.microsoft.com/office/drawing/2014/main" id="{65DA5467-3FC5-4974-BBF7-16D0152B898C}"/>
              </a:ext>
            </a:extLst>
          </p:cNvPr>
          <p:cNvSpPr/>
          <p:nvPr userDrawn="1"/>
        </p:nvSpPr>
        <p:spPr>
          <a:xfrm>
            <a:off x="627134" y="6220964"/>
            <a:ext cx="2318400" cy="5808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949" tIns="70949" rIns="70949" bIns="70949" rtlCol="0" anchor="ctr"/>
          <a:lstStyle/>
          <a:p>
            <a:pPr algn="ctr"/>
            <a:endParaRPr lang="en-GB" sz="1772" dirty="0" err="1"/>
          </a:p>
        </p:txBody>
      </p:sp>
    </p:spTree>
    <p:extLst>
      <p:ext uri="{BB962C8B-B14F-4D97-AF65-F5344CB8AC3E}">
        <p14:creationId xmlns:p14="http://schemas.microsoft.com/office/powerpoint/2010/main" val="354519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3" r:id="rId1"/>
    <p:sldLayoutId id="2147484594" r:id="rId2"/>
    <p:sldLayoutId id="2147484595" r:id="rId3"/>
    <p:sldLayoutId id="2147484596" r:id="rId4"/>
    <p:sldLayoutId id="2147484597" r:id="rId5"/>
    <p:sldLayoutId id="2147484598" r:id="rId6"/>
    <p:sldLayoutId id="2147484599" r:id="rId7"/>
    <p:sldLayoutId id="2147484600" r:id="rId8"/>
    <p:sldLayoutId id="2147484601" r:id="rId9"/>
    <p:sldLayoutId id="2147484602" r:id="rId10"/>
    <p:sldLayoutId id="2147484603" r:id="rId11"/>
    <p:sldLayoutId id="2147484604" r:id="rId12"/>
    <p:sldLayoutId id="2147484605" r:id="rId13"/>
    <p:sldLayoutId id="2147484606" r:id="rId14"/>
    <p:sldLayoutId id="2147484607" r:id="rId15"/>
    <p:sldLayoutId id="2147484608" r:id="rId16"/>
    <p:sldLayoutId id="2147484609" r:id="rId17"/>
    <p:sldLayoutId id="2147484610" r:id="rId18"/>
    <p:sldLayoutId id="2147484611" r:id="rId19"/>
    <p:sldLayoutId id="2147484612" r:id="rId20"/>
    <p:sldLayoutId id="2147484613" r:id="rId21"/>
    <p:sldLayoutId id="2147484614" r:id="rId22"/>
    <p:sldLayoutId id="2147484615" r:id="rId23"/>
    <p:sldLayoutId id="2147484616" r:id="rId24"/>
    <p:sldLayoutId id="2147484617" r:id="rId25"/>
    <p:sldLayoutId id="2147484618" r:id="rId26"/>
    <p:sldLayoutId id="2147484619" r:id="rId27"/>
    <p:sldLayoutId id="2147484620" r:id="rId28"/>
    <p:sldLayoutId id="2147484621" r:id="rId29"/>
    <p:sldLayoutId id="2147484622" r:id="rId30"/>
    <p:sldLayoutId id="2147484623" r:id="rId31"/>
    <p:sldLayoutId id="2147484624" r:id="rId32"/>
    <p:sldLayoutId id="2147484625" r:id="rId33"/>
    <p:sldLayoutId id="2147484626" r:id="rId34"/>
  </p:sldLayoutIdLst>
  <p:hf sldNum="0" hdr="0" ftr="0" dt="0"/>
  <p:txStyles>
    <p:titleStyle>
      <a:lvl1pPr algn="l" defTabSz="666766" rtl="0" eaLnBrk="1" latinLnBrk="0" hangingPunct="1">
        <a:lnSpc>
          <a:spcPct val="90000"/>
        </a:lnSpc>
        <a:spcBef>
          <a:spcPct val="0"/>
        </a:spcBef>
        <a:buNone/>
        <a:defRPr sz="2372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666766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​"/>
        <a:defRPr sz="1772" b="0" kern="1200">
          <a:solidFill>
            <a:schemeClr val="bg2"/>
          </a:solidFill>
          <a:latin typeface="+mn-lt"/>
          <a:ea typeface="+mn-ea"/>
          <a:cs typeface="+mn-cs"/>
        </a:defRPr>
      </a:lvl1pPr>
      <a:lvl2pPr marL="157504" indent="-157504" algn="l" defTabSz="666766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•"/>
        <a:defRPr sz="1772" b="0" kern="1200">
          <a:solidFill>
            <a:schemeClr val="bg2"/>
          </a:solidFill>
          <a:latin typeface="+mn-lt"/>
          <a:ea typeface="+mn-ea"/>
          <a:cs typeface="+mn-cs"/>
        </a:defRPr>
      </a:lvl2pPr>
      <a:lvl3pPr marL="315007" indent="-157504" algn="l" defTabSz="666766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572" b="0" kern="1200">
          <a:solidFill>
            <a:schemeClr val="bg2"/>
          </a:solidFill>
          <a:latin typeface="+mn-lt"/>
          <a:ea typeface="+mn-ea"/>
          <a:cs typeface="+mn-cs"/>
        </a:defRPr>
      </a:lvl3pPr>
      <a:lvl4pPr marL="472512" indent="-157504" algn="l" defTabSz="666766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572" b="0" kern="1200">
          <a:solidFill>
            <a:schemeClr val="bg2"/>
          </a:solidFill>
          <a:latin typeface="+mn-lt"/>
          <a:ea typeface="+mn-ea"/>
          <a:cs typeface="+mn-cs"/>
        </a:defRPr>
      </a:lvl4pPr>
      <a:lvl5pPr marL="630017" indent="-157504" algn="l" defTabSz="666766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572" b="0" kern="1200">
          <a:solidFill>
            <a:schemeClr val="bg2"/>
          </a:solidFill>
          <a:latin typeface="+mn-lt"/>
          <a:ea typeface="+mn-ea"/>
          <a:cs typeface="+mn-cs"/>
        </a:defRPr>
      </a:lvl5pPr>
      <a:lvl6pPr marL="630017" indent="-157504" algn="l" defTabSz="666766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572" b="0" kern="1200">
          <a:solidFill>
            <a:schemeClr val="bg2"/>
          </a:solidFill>
          <a:latin typeface="+mn-lt"/>
          <a:ea typeface="+mn-ea"/>
          <a:cs typeface="+mn-cs"/>
        </a:defRPr>
      </a:lvl6pPr>
      <a:lvl7pPr marL="630017" indent="-157504" algn="l" defTabSz="666766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572" b="0" kern="1200">
          <a:solidFill>
            <a:schemeClr val="bg2"/>
          </a:solidFill>
          <a:latin typeface="+mn-lt"/>
          <a:ea typeface="+mn-ea"/>
          <a:cs typeface="+mn-cs"/>
        </a:defRPr>
      </a:lvl7pPr>
      <a:lvl8pPr marL="630017" indent="-157504" algn="l" defTabSz="666766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572" b="0" kern="1200" baseline="0">
          <a:solidFill>
            <a:schemeClr val="bg2"/>
          </a:solidFill>
          <a:latin typeface="+mn-lt"/>
          <a:ea typeface="+mn-ea"/>
          <a:cs typeface="+mn-cs"/>
        </a:defRPr>
      </a:lvl8pPr>
      <a:lvl9pPr marL="630017" indent="-157504" algn="l" defTabSz="666766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572" b="0" kern="1200">
          <a:solidFill>
            <a:schemeClr val="bg2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666766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1pPr>
      <a:lvl2pPr marL="333386" algn="l" defTabSz="666766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2pPr>
      <a:lvl3pPr marL="666766" algn="l" defTabSz="666766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3pPr>
      <a:lvl4pPr marL="1000157" algn="l" defTabSz="666766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4pPr>
      <a:lvl5pPr marL="1333537" algn="l" defTabSz="666766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5pPr>
      <a:lvl6pPr marL="1666919" algn="l" defTabSz="666766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6pPr>
      <a:lvl7pPr marL="2000298" algn="l" defTabSz="666766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7pPr>
      <a:lvl8pPr marL="2333686" algn="l" defTabSz="666766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8pPr>
      <a:lvl9pPr marL="2667070" algn="l" defTabSz="666766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891">
          <p15:clr>
            <a:srgbClr val="F26B43"/>
          </p15:clr>
        </p15:guide>
        <p15:guide id="2" pos="6789">
          <p15:clr>
            <a:srgbClr val="F26B43"/>
          </p15:clr>
        </p15:guide>
        <p15:guide id="3" orient="horz" pos="980">
          <p15:clr>
            <a:srgbClr val="F26B43"/>
          </p15:clr>
        </p15:guide>
        <p15:guide id="4" orient="horz" pos="3339">
          <p15:clr>
            <a:srgbClr val="F26B43"/>
          </p15:clr>
        </p15:guide>
        <p15:guide id="5" pos="409">
          <p15:clr>
            <a:srgbClr val="F26B43"/>
          </p15:clr>
        </p15:guide>
        <p15:guide id="6" pos="3612">
          <p15:clr>
            <a:srgbClr val="F26B43"/>
          </p15:clr>
        </p15:guide>
        <p15:guide id="7" orient="horz" pos="491">
          <p15:clr>
            <a:srgbClr val="F26B43"/>
          </p15:clr>
        </p15:guide>
        <p15:guide id="9" orient="horz" pos="3831">
          <p15:clr>
            <a:srgbClr val="F26B43"/>
          </p15:clr>
        </p15:guide>
        <p15:guide id="10" pos="4069">
          <p15:clr>
            <a:srgbClr val="F26B43"/>
          </p15:clr>
        </p15:guide>
        <p15:guide id="11" pos="7272">
          <p15:clr>
            <a:srgbClr val="F26B43"/>
          </p15:clr>
        </p15:guide>
      </p15:sldGuideLst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3016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0" r:id="rId1"/>
    <p:sldLayoutId id="2147484631" r:id="rId2"/>
    <p:sldLayoutId id="2147484632" r:id="rId3"/>
    <p:sldLayoutId id="2147484633" r:id="rId4"/>
    <p:sldLayoutId id="2147484634" r:id="rId5"/>
    <p:sldLayoutId id="2147484635" r:id="rId6"/>
    <p:sldLayoutId id="2147484636" r:id="rId7"/>
    <p:sldLayoutId id="2147484637" r:id="rId8"/>
    <p:sldLayoutId id="2147484638" r:id="rId9"/>
    <p:sldLayoutId id="2147484639" r:id="rId10"/>
    <p:sldLayoutId id="2147484640" r:id="rId11"/>
    <p:sldLayoutId id="2147484641" r:id="rId12"/>
    <p:sldLayoutId id="2147484642" r:id="rId13"/>
    <p:sldLayoutId id="2147484643" r:id="rId14"/>
    <p:sldLayoutId id="2147484644" r:id="rId15"/>
    <p:sldLayoutId id="2147484645" r:id="rId16"/>
    <p:sldLayoutId id="2147484646" r:id="rId17"/>
    <p:sldLayoutId id="2147484647" r:id="rId18"/>
    <p:sldLayoutId id="2147484648" r:id="rId19"/>
    <p:sldLayoutId id="2147484649" r:id="rId20"/>
    <p:sldLayoutId id="2147484650" r:id="rId21"/>
    <p:sldLayoutId id="2147484651" r:id="rId22"/>
    <p:sldLayoutId id="2147484652" r:id="rId23"/>
    <p:sldLayoutId id="2147484653" r:id="rId24"/>
    <p:sldLayoutId id="2147484654" r:id="rId25"/>
    <p:sldLayoutId id="2147484655" r:id="rId26"/>
    <p:sldLayoutId id="2147484656" r:id="rId27"/>
    <p:sldLayoutId id="2147484657" r:id="rId28"/>
    <p:sldLayoutId id="2147484658" r:id="rId29"/>
    <p:sldLayoutId id="2147484659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hf hdr="0" dt="0"/>
  <p:txStyles>
    <p:titleStyle>
      <a:lvl1pPr algn="l" defTabSz="609585" rtl="0" eaLnBrk="1" latinLnBrk="0" hangingPunct="1">
        <a:spcBef>
          <a:spcPct val="0"/>
        </a:spcBef>
        <a:buNone/>
        <a:defRPr sz="3067" b="1" kern="1200">
          <a:solidFill>
            <a:srgbClr val="415171"/>
          </a:solidFill>
          <a:latin typeface="+mj-lt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spcBef>
          <a:spcPct val="20000"/>
        </a:spcBef>
        <a:buFont typeface="Arial"/>
        <a:buNone/>
        <a:defRPr sz="16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1333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1333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13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333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51716" y="779463"/>
            <a:ext cx="10889267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51715" y="1557347"/>
            <a:ext cx="10889269" cy="45243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</p:txBody>
      </p:sp>
      <p:sp>
        <p:nvSpPr>
          <p:cNvPr id="12" name="Pladsholder til dato 11" hidden="1"/>
          <p:cNvSpPr>
            <a:spLocks noGrp="1"/>
          </p:cNvSpPr>
          <p:nvPr>
            <p:ph type="dt" sz="half" idx="2"/>
          </p:nvPr>
        </p:nvSpPr>
        <p:spPr>
          <a:xfrm>
            <a:off x="8400256" y="760038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da-DK" sz="789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EEAF7074-C617-3A4E-B97C-6D3021D3DD42}" type="datetime3">
              <a:t>08.06.2023</a:t>
            </a:fld>
            <a:endParaRPr lang="da-DK" dirty="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CEC73029-9A61-CC46-ABDC-F803F2C449F2}"/>
              </a:ext>
            </a:extLst>
          </p:cNvPr>
          <p:cNvSpPr txBox="1"/>
          <p:nvPr userDrawn="1"/>
        </p:nvSpPr>
        <p:spPr>
          <a:xfrm>
            <a:off x="10952331" y="6487607"/>
            <a:ext cx="576151" cy="16248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fld id="{373E2121-3D66-4841-8070-AD34F1B5490E}" type="slidenum">
              <a:rPr lang="da-DK" sz="1056" smtClean="0">
                <a:solidFill>
                  <a:schemeClr val="bg2"/>
                </a:solidFill>
              </a:rPr>
              <a:pPr algn="r"/>
              <a:t>‹#›</a:t>
            </a:fld>
            <a:endParaRPr lang="da-DK" sz="1056" dirty="0">
              <a:solidFill>
                <a:schemeClr val="bg2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66E3C61A-FF97-7E49-BA27-546EC8879F97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715" y="6245802"/>
            <a:ext cx="2133600" cy="42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186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1" r:id="rId1"/>
    <p:sldLayoutId id="2147484662" r:id="rId2"/>
    <p:sldLayoutId id="2147484663" r:id="rId3"/>
    <p:sldLayoutId id="2147484664" r:id="rId4"/>
    <p:sldLayoutId id="2147484665" r:id="rId5"/>
    <p:sldLayoutId id="2147484666" r:id="rId6"/>
    <p:sldLayoutId id="2147484667" r:id="rId7"/>
    <p:sldLayoutId id="2147484668" r:id="rId8"/>
    <p:sldLayoutId id="2147484669" r:id="rId9"/>
    <p:sldLayoutId id="2147484670" r:id="rId10"/>
    <p:sldLayoutId id="2147484671" r:id="rId11"/>
    <p:sldLayoutId id="2147484672" r:id="rId12"/>
    <p:sldLayoutId id="2147484673" r:id="rId13"/>
    <p:sldLayoutId id="2147484674" r:id="rId14"/>
    <p:sldLayoutId id="2147484675" r:id="rId15"/>
    <p:sldLayoutId id="2147484676" r:id="rId16"/>
    <p:sldLayoutId id="2147484677" r:id="rId17"/>
    <p:sldLayoutId id="2147484678" r:id="rId18"/>
    <p:sldLayoutId id="2147484679" r:id="rId19"/>
    <p:sldLayoutId id="2147484680" r:id="rId20"/>
    <p:sldLayoutId id="2147484681" r:id="rId21"/>
    <p:sldLayoutId id="2147484682" r:id="rId22"/>
    <p:sldLayoutId id="2147484683" r:id="rId23"/>
    <p:sldLayoutId id="2147484684" r:id="rId24"/>
    <p:sldLayoutId id="2147484685" r:id="rId25"/>
    <p:sldLayoutId id="2147484686" r:id="rId26"/>
    <p:sldLayoutId id="2147484687" r:id="rId27"/>
    <p:sldLayoutId id="2147484688" r:id="rId28"/>
    <p:sldLayoutId id="2147484689" r:id="rId29"/>
    <p:sldLayoutId id="2147484690" r:id="rId30"/>
    <p:sldLayoutId id="2147484691" r:id="rId31"/>
    <p:sldLayoutId id="2147484692" r:id="rId32"/>
    <p:sldLayoutId id="2147484693" r:id="rId33"/>
  </p:sldLayoutIdLst>
  <p:hf hdr="0" ftr="0"/>
  <p:txStyles>
    <p:titleStyle>
      <a:lvl1pPr algn="l" defTabSz="904153" rtl="0" eaLnBrk="1" latinLnBrk="0" hangingPunct="1">
        <a:lnSpc>
          <a:spcPct val="90000"/>
        </a:lnSpc>
        <a:spcBef>
          <a:spcPct val="0"/>
        </a:spcBef>
        <a:buNone/>
        <a:defRPr sz="2112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04153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​"/>
        <a:defRPr sz="2112" b="0" kern="1200">
          <a:solidFill>
            <a:schemeClr val="bg2"/>
          </a:solidFill>
          <a:latin typeface="+mn-lt"/>
          <a:ea typeface="+mn-ea"/>
          <a:cs typeface="+mn-cs"/>
        </a:defRPr>
      </a:lvl1pPr>
      <a:lvl2pPr marL="213580" indent="-213580" algn="l" defTabSz="904153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•"/>
        <a:defRPr sz="2112" b="0" kern="1200">
          <a:solidFill>
            <a:schemeClr val="bg2"/>
          </a:solidFill>
          <a:latin typeface="+mn-lt"/>
          <a:ea typeface="+mn-ea"/>
          <a:cs typeface="+mn-cs"/>
        </a:defRPr>
      </a:lvl2pPr>
      <a:lvl3pPr marL="427159" indent="-213580" algn="l" defTabSz="904153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845" b="0" kern="1200">
          <a:solidFill>
            <a:schemeClr val="bg2"/>
          </a:solidFill>
          <a:latin typeface="+mn-lt"/>
          <a:ea typeface="+mn-ea"/>
          <a:cs typeface="+mn-cs"/>
        </a:defRPr>
      </a:lvl3pPr>
      <a:lvl4pPr marL="640737" indent="-213580" algn="l" defTabSz="904153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45" b="0" kern="1200">
          <a:solidFill>
            <a:schemeClr val="bg2"/>
          </a:solidFill>
          <a:latin typeface="+mn-lt"/>
          <a:ea typeface="+mn-ea"/>
          <a:cs typeface="+mn-cs"/>
        </a:defRPr>
      </a:lvl4pPr>
      <a:lvl5pPr marL="854316" indent="-213580" algn="l" defTabSz="904153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845" b="0" kern="1200">
          <a:solidFill>
            <a:schemeClr val="bg2"/>
          </a:solidFill>
          <a:latin typeface="+mn-lt"/>
          <a:ea typeface="+mn-ea"/>
          <a:cs typeface="+mn-cs"/>
        </a:defRPr>
      </a:lvl5pPr>
      <a:lvl6pPr marL="854316" indent="-213580" algn="l" defTabSz="904153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45" b="0" kern="1200">
          <a:solidFill>
            <a:schemeClr val="bg2"/>
          </a:solidFill>
          <a:latin typeface="+mn-lt"/>
          <a:ea typeface="+mn-ea"/>
          <a:cs typeface="+mn-cs"/>
        </a:defRPr>
      </a:lvl6pPr>
      <a:lvl7pPr marL="854316" indent="-213580" algn="l" defTabSz="904153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45" b="0" kern="1200">
          <a:solidFill>
            <a:schemeClr val="bg2"/>
          </a:solidFill>
          <a:latin typeface="+mn-lt"/>
          <a:ea typeface="+mn-ea"/>
          <a:cs typeface="+mn-cs"/>
        </a:defRPr>
      </a:lvl7pPr>
      <a:lvl8pPr marL="854316" indent="-213580" algn="l" defTabSz="904153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45" b="0" kern="1200" baseline="0">
          <a:solidFill>
            <a:schemeClr val="bg2"/>
          </a:solidFill>
          <a:latin typeface="+mn-lt"/>
          <a:ea typeface="+mn-ea"/>
          <a:cs typeface="+mn-cs"/>
        </a:defRPr>
      </a:lvl8pPr>
      <a:lvl9pPr marL="854316" indent="-213580" algn="l" defTabSz="904153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45" b="0" kern="1200">
          <a:solidFill>
            <a:schemeClr val="bg2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04153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1pPr>
      <a:lvl2pPr marL="452075" algn="l" defTabSz="904153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2pPr>
      <a:lvl3pPr marL="904153" algn="l" defTabSz="904153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3pPr>
      <a:lvl4pPr marL="1356229" algn="l" defTabSz="904153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4pPr>
      <a:lvl5pPr marL="1808301" algn="l" defTabSz="904153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5pPr>
      <a:lvl6pPr marL="2260379" algn="l" defTabSz="904153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6pPr>
      <a:lvl7pPr marL="2712455" algn="l" defTabSz="904153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7pPr>
      <a:lvl8pPr marL="3164526" algn="l" defTabSz="904153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8pPr>
      <a:lvl9pPr marL="3616602" algn="l" defTabSz="904153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36">
          <p15:clr>
            <a:srgbClr val="F26B43"/>
          </p15:clr>
        </p15:guide>
        <p15:guide id="4" orient="horz" pos="2873">
          <p15:clr>
            <a:srgbClr val="F26B43"/>
          </p15:clr>
        </p15:guide>
        <p15:guide id="6" orient="horz" pos="368">
          <p15:clr>
            <a:srgbClr val="F26B43"/>
          </p15:clr>
        </p15:guide>
        <p15:guide id="7" pos="307">
          <p15:clr>
            <a:srgbClr val="F26B43"/>
          </p15:clr>
        </p15:guide>
        <p15:guide id="8" pos="5452">
          <p15:clr>
            <a:srgbClr val="F26B43"/>
          </p15:clr>
        </p15:guide>
        <p15:guide id="9" pos="668">
          <p15:clr>
            <a:srgbClr val="F26B43"/>
          </p15:clr>
        </p15:guide>
        <p15:guide id="11" pos="2710">
          <p15:clr>
            <a:srgbClr val="F26B43"/>
          </p15:clr>
        </p15:guide>
        <p15:guide id="12" pos="3050">
          <p15:clr>
            <a:srgbClr val="F26B43"/>
          </p15:clr>
        </p15:guide>
        <p15:guide id="13" pos="5092">
          <p15:clr>
            <a:srgbClr val="F26B43"/>
          </p15:clr>
        </p15:guide>
        <p15:guide id="14" orient="horz" pos="2504">
          <p15:clr>
            <a:srgbClr val="F26B43"/>
          </p15:clr>
        </p15:guide>
      </p15:sldGuideLst>
    </p:ext>
  </p:extLst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10972800" cy="1143000"/>
          </a:xfrm>
          <a:prstGeom prst="rect">
            <a:avLst/>
          </a:prstGeom>
        </p:spPr>
        <p:txBody>
          <a:bodyPr vert="horz" lIns="81869" tIns="40934" rIns="81869" bIns="40934" rtlCol="0" anchor="ctr">
            <a:norm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idx="1"/>
          </p:nvPr>
        </p:nvSpPr>
        <p:spPr>
          <a:xfrm>
            <a:off x="609601" y="1634990"/>
            <a:ext cx="10966721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9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36330" y="6202090"/>
            <a:ext cx="1642631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l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10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0499271" y="6202090"/>
            <a:ext cx="1077052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r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10890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5" r:id="rId1"/>
    <p:sldLayoutId id="2147484696" r:id="rId2"/>
    <p:sldLayoutId id="2147484697" r:id="rId3"/>
    <p:sldLayoutId id="2147484698" r:id="rId4"/>
    <p:sldLayoutId id="2147484699" r:id="rId5"/>
    <p:sldLayoutId id="2147484700" r:id="rId6"/>
    <p:sldLayoutId id="2147484701" r:id="rId7"/>
    <p:sldLayoutId id="2147484702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ctr" defTabSz="1091563" rtl="0" eaLnBrk="1" latinLnBrk="0" hangingPunct="1">
        <a:spcBef>
          <a:spcPct val="0"/>
        </a:spcBef>
        <a:buNone/>
        <a:defRPr sz="5200" kern="1200">
          <a:solidFill>
            <a:schemeClr val="tx1"/>
          </a:solidFill>
          <a:latin typeface="Segoe UI Semilight" panose="020B0402040204020203" pitchFamily="34" charset="0"/>
          <a:ea typeface="+mj-ea"/>
          <a:cs typeface="Segoe UI Semilight" panose="020B0402040204020203" pitchFamily="34" charset="0"/>
        </a:defRPr>
      </a:lvl1pPr>
    </p:titleStyle>
    <p:bodyStyle>
      <a:lvl1pPr marL="380990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•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807857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−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2pPr>
      <a:lvl3pPr marL="1103972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ο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3pPr>
      <a:lvl4pPr marL="1439964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»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4pPr>
      <a:lvl5pPr marL="1836057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▪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5pPr>
      <a:lvl6pPr marL="2111947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»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6pPr>
      <a:lvl7pPr marL="3547582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93364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39145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578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91563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7344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83128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8909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7469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20472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66255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10972800" cy="1143000"/>
          </a:xfrm>
          <a:prstGeom prst="rect">
            <a:avLst/>
          </a:prstGeom>
        </p:spPr>
        <p:txBody>
          <a:bodyPr vert="horz" lIns="81869" tIns="40934" rIns="81869" bIns="40934" rtlCol="0" anchor="ctr">
            <a:norm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idx="1"/>
          </p:nvPr>
        </p:nvSpPr>
        <p:spPr>
          <a:xfrm>
            <a:off x="609601" y="1634990"/>
            <a:ext cx="10966721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36330" y="6202090"/>
            <a:ext cx="1642631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l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0499271" y="6202090"/>
            <a:ext cx="1077052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r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46542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4" r:id="rId1"/>
    <p:sldLayoutId id="2147484705" r:id="rId2"/>
    <p:sldLayoutId id="2147484706" r:id="rId3"/>
    <p:sldLayoutId id="2147484707" r:id="rId4"/>
    <p:sldLayoutId id="2147484708" r:id="rId5"/>
    <p:sldLayoutId id="2147484709" r:id="rId6"/>
    <p:sldLayoutId id="2147484710" r:id="rId7"/>
    <p:sldLayoutId id="2147484711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ctr" defTabSz="1091563" rtl="0" eaLnBrk="1" latinLnBrk="0" hangingPunct="1">
        <a:spcBef>
          <a:spcPct val="0"/>
        </a:spcBef>
        <a:buNone/>
        <a:defRPr sz="5200" kern="1200">
          <a:solidFill>
            <a:schemeClr val="tx1"/>
          </a:solidFill>
          <a:latin typeface="Segoe UI Semilight" panose="020B0402040204020203" pitchFamily="34" charset="0"/>
          <a:ea typeface="+mj-ea"/>
          <a:cs typeface="Segoe UI Semilight" panose="020B0402040204020203" pitchFamily="34" charset="0"/>
        </a:defRPr>
      </a:lvl1pPr>
    </p:titleStyle>
    <p:bodyStyle>
      <a:lvl1pPr marL="380990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•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807857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−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2pPr>
      <a:lvl3pPr marL="1103972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ο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3pPr>
      <a:lvl4pPr marL="1439964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»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4pPr>
      <a:lvl5pPr marL="1836057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▪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5pPr>
      <a:lvl6pPr marL="2111947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»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6pPr>
      <a:lvl7pPr marL="3547582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93364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39145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578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91563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7344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83128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8909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7469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20472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66255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10972800" cy="1143000"/>
          </a:xfrm>
          <a:prstGeom prst="rect">
            <a:avLst/>
          </a:prstGeom>
        </p:spPr>
        <p:txBody>
          <a:bodyPr vert="horz" lIns="81869" tIns="40934" rIns="81869" bIns="40934" rtlCol="0" anchor="ctr">
            <a:norm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idx="1"/>
          </p:nvPr>
        </p:nvSpPr>
        <p:spPr>
          <a:xfrm>
            <a:off x="609601" y="1634990"/>
            <a:ext cx="10966721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36330" y="6202090"/>
            <a:ext cx="1642631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l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8. juni 2023</a:t>
            </a:fld>
            <a:endParaRPr lang="da-DK" dirty="0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0499271" y="6202090"/>
            <a:ext cx="1077052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r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13062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4" r:id="rId1"/>
    <p:sldLayoutId id="2147484715" r:id="rId2"/>
    <p:sldLayoutId id="2147484716" r:id="rId3"/>
    <p:sldLayoutId id="2147484717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ctr" defTabSz="1091563" rtl="0" eaLnBrk="1" latinLnBrk="0" hangingPunct="1">
        <a:spcBef>
          <a:spcPct val="0"/>
        </a:spcBef>
        <a:buNone/>
        <a:defRPr sz="5200" kern="1200">
          <a:solidFill>
            <a:schemeClr val="tx1"/>
          </a:solidFill>
          <a:latin typeface="Segoe UI Semilight" panose="020B0402040204020203" pitchFamily="34" charset="0"/>
          <a:ea typeface="+mj-ea"/>
          <a:cs typeface="Segoe UI Semilight" panose="020B0402040204020203" pitchFamily="34" charset="0"/>
        </a:defRPr>
      </a:lvl1pPr>
    </p:titleStyle>
    <p:bodyStyle>
      <a:lvl1pPr marL="380990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•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807857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−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2pPr>
      <a:lvl3pPr marL="1103972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ο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3pPr>
      <a:lvl4pPr marL="1439964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»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4pPr>
      <a:lvl5pPr marL="1836057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▪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5pPr>
      <a:lvl6pPr marL="2111947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»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6pPr>
      <a:lvl7pPr marL="3547582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93364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39145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578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91563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7344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83128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8909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7469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20472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66255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A708B76-CE06-4649-A532-F9D0665622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660806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53" imgH="354" progId="TCLayout.ActiveDocument.1">
                  <p:embed/>
                </p:oleObj>
              </mc:Choice>
              <mc:Fallback>
                <p:oleObj name="think-cell Slide" r:id="rId26" imgW="353" imgH="35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A708B76-CE06-4649-A532-F9D0665622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Logo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1203699"/>
            <a:ext cx="10214464" cy="71241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-DK"/>
              <a:t>Klik for at redigere i master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2852738"/>
            <a:ext cx="10226675" cy="3303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en-GB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9784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4" r:id="rId1"/>
    <p:sldLayoutId id="2147484155" r:id="rId2"/>
    <p:sldLayoutId id="2147484156" r:id="rId3"/>
    <p:sldLayoutId id="2147484157" r:id="rId4"/>
    <p:sldLayoutId id="2147484158" r:id="rId5"/>
    <p:sldLayoutId id="2147484159" r:id="rId6"/>
    <p:sldLayoutId id="2147484160" r:id="rId7"/>
    <p:sldLayoutId id="2147484161" r:id="rId8"/>
    <p:sldLayoutId id="2147484162" r:id="rId9"/>
    <p:sldLayoutId id="2147484163" r:id="rId10"/>
    <p:sldLayoutId id="2147484164" r:id="rId11"/>
    <p:sldLayoutId id="2147484165" r:id="rId12"/>
    <p:sldLayoutId id="2147484166" r:id="rId13"/>
    <p:sldLayoutId id="2147484167" r:id="rId14"/>
    <p:sldLayoutId id="2147484168" r:id="rId15"/>
    <p:sldLayoutId id="2147484169" r:id="rId16"/>
    <p:sldLayoutId id="2147484170" r:id="rId17"/>
    <p:sldLayoutId id="2147484171" r:id="rId18"/>
    <p:sldLayoutId id="2147484172" r:id="rId19"/>
    <p:sldLayoutId id="2147484173" r:id="rId20"/>
    <p:sldLayoutId id="2147484174" r:id="rId21"/>
    <p:sldLayoutId id="2147484175" r:id="rId22"/>
    <p:sldLayoutId id="2147484176" r:id="rId23"/>
  </p:sldLayoutIdLst>
  <p:hf hd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4000" kern="1200" cap="all" baseline="0">
          <a:solidFill>
            <a:schemeClr val="accent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1797">
          <p15:clr>
            <a:srgbClr val="F26B43"/>
          </p15:clr>
        </p15:guide>
        <p15:guide id="4" orient="horz" pos="3878">
          <p15:clr>
            <a:srgbClr val="F26B43"/>
          </p15:clr>
        </p15:guide>
        <p15:guide id="5" orient="horz" pos="1207">
          <p15:clr>
            <a:srgbClr val="F26B43"/>
          </p15:clr>
        </p15:guide>
        <p15:guide id="6" orient="horz" pos="1729">
          <p15:clr>
            <a:srgbClr val="F26B43"/>
          </p15:clr>
        </p15:guide>
        <p15:guide id="7" orient="horz" pos="754">
          <p15:clr>
            <a:srgbClr val="F26B43"/>
          </p15:clr>
        </p15:guide>
        <p15:guide id="8" orient="horz" pos="127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49CA2BB-06C7-4534-8FBA-CFF8DB9A22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371491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53" imgH="354" progId="TCLayout.ActiveDocument.1">
                  <p:embed/>
                </p:oleObj>
              </mc:Choice>
              <mc:Fallback>
                <p:oleObj name="think-cell Slide" r:id="rId34" imgW="353" imgH="35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49CA2BB-06C7-4534-8FBA-CFF8DB9A22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51687" y="779463"/>
            <a:ext cx="10889267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51686" y="1557341"/>
            <a:ext cx="10889269" cy="45243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</p:txBody>
      </p:sp>
      <p:sp>
        <p:nvSpPr>
          <p:cNvPr id="12" name="Pladsholder til dato 11" hidden="1"/>
          <p:cNvSpPr>
            <a:spLocks noGrp="1"/>
          </p:cNvSpPr>
          <p:nvPr>
            <p:ph type="dt" sz="half" idx="2"/>
          </p:nvPr>
        </p:nvSpPr>
        <p:spPr>
          <a:xfrm>
            <a:off x="8400256" y="760038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da-DK" sz="80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EEAF7074-C617-3A4E-B97C-6D3021D3DD42}" type="datetime3">
              <a:t>08.06.2023</a:t>
            </a:fld>
            <a:endParaRPr lang="da-DK" dirty="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CEC73029-9A61-CC46-ABDC-F803F2C449F2}"/>
              </a:ext>
            </a:extLst>
          </p:cNvPr>
          <p:cNvSpPr txBox="1"/>
          <p:nvPr userDrawn="1"/>
        </p:nvSpPr>
        <p:spPr>
          <a:xfrm>
            <a:off x="10952302" y="6486682"/>
            <a:ext cx="576151" cy="16421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fld id="{373E2121-3D66-4841-8070-AD34F1B5490E}" type="slidenum">
              <a:rPr lang="da-DK" sz="1067" dirty="0" err="1" smtClean="0">
                <a:solidFill>
                  <a:schemeClr val="bg2"/>
                </a:solidFill>
              </a:rPr>
              <a:pPr algn="r"/>
              <a:t>‹#›</a:t>
            </a:fld>
            <a:endParaRPr lang="da-DK" sz="1067" dirty="0" err="1">
              <a:solidFill>
                <a:schemeClr val="bg2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66E3C61A-FF97-7E49-BA27-546EC8879F97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85" y="6245802"/>
            <a:ext cx="2133600" cy="42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277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8" r:id="rId1"/>
    <p:sldLayoutId id="2147484179" r:id="rId2"/>
    <p:sldLayoutId id="2147484180" r:id="rId3"/>
    <p:sldLayoutId id="2147484181" r:id="rId4"/>
    <p:sldLayoutId id="2147484182" r:id="rId5"/>
    <p:sldLayoutId id="2147484183" r:id="rId6"/>
    <p:sldLayoutId id="2147484184" r:id="rId7"/>
    <p:sldLayoutId id="2147484185" r:id="rId8"/>
    <p:sldLayoutId id="2147484186" r:id="rId9"/>
    <p:sldLayoutId id="2147484187" r:id="rId10"/>
    <p:sldLayoutId id="2147484188" r:id="rId11"/>
    <p:sldLayoutId id="2147484189" r:id="rId12"/>
    <p:sldLayoutId id="2147484190" r:id="rId13"/>
    <p:sldLayoutId id="2147484191" r:id="rId14"/>
    <p:sldLayoutId id="2147484192" r:id="rId15"/>
    <p:sldLayoutId id="2147484193" r:id="rId16"/>
    <p:sldLayoutId id="2147484194" r:id="rId17"/>
    <p:sldLayoutId id="2147484195" r:id="rId18"/>
    <p:sldLayoutId id="2147484196" r:id="rId19"/>
    <p:sldLayoutId id="2147484197" r:id="rId20"/>
    <p:sldLayoutId id="2147484198" r:id="rId21"/>
    <p:sldLayoutId id="2147484199" r:id="rId22"/>
    <p:sldLayoutId id="2147484200" r:id="rId23"/>
    <p:sldLayoutId id="2147484201" r:id="rId24"/>
    <p:sldLayoutId id="2147484202" r:id="rId25"/>
    <p:sldLayoutId id="2147484203" r:id="rId26"/>
    <p:sldLayoutId id="2147484204" r:id="rId27"/>
    <p:sldLayoutId id="2147484205" r:id="rId28"/>
    <p:sldLayoutId id="2147484206" r:id="rId29"/>
    <p:sldLayoutId id="2147484207" r:id="rId30"/>
    <p:sldLayoutId id="2147484208" r:id="rId31"/>
  </p:sldLayoutIdLst>
  <p:hf hdr="0" ftr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133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354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​"/>
        <a:defRPr sz="2133" b="0" kern="1200">
          <a:solidFill>
            <a:schemeClr val="bg2"/>
          </a:solidFill>
          <a:latin typeface="+mn-lt"/>
          <a:ea typeface="+mn-ea"/>
          <a:cs typeface="+mn-cs"/>
        </a:defRPr>
      </a:lvl1pPr>
      <a:lvl2pPr marL="215989" indent="-215989" algn="l" defTabSz="914354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•"/>
        <a:defRPr sz="2133" b="0" kern="1200">
          <a:solidFill>
            <a:schemeClr val="bg2"/>
          </a:solidFill>
          <a:latin typeface="+mn-lt"/>
          <a:ea typeface="+mn-ea"/>
          <a:cs typeface="+mn-cs"/>
        </a:defRPr>
      </a:lvl2pPr>
      <a:lvl3pPr marL="431979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3pPr>
      <a:lvl4pPr marL="647968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4pPr>
      <a:lvl5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5pPr>
      <a:lvl6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6pPr>
      <a:lvl7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7pPr>
      <a:lvl8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 baseline="0">
          <a:solidFill>
            <a:schemeClr val="bg2"/>
          </a:solidFill>
          <a:latin typeface="+mn-lt"/>
          <a:ea typeface="+mn-ea"/>
          <a:cs typeface="+mn-cs"/>
        </a:defRPr>
      </a:lvl8pPr>
      <a:lvl9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36">
          <p15:clr>
            <a:srgbClr val="F26B43"/>
          </p15:clr>
        </p15:guide>
        <p15:guide id="4" orient="horz" pos="2873">
          <p15:clr>
            <a:srgbClr val="F26B43"/>
          </p15:clr>
        </p15:guide>
        <p15:guide id="6" orient="horz" pos="368">
          <p15:clr>
            <a:srgbClr val="F26B43"/>
          </p15:clr>
        </p15:guide>
        <p15:guide id="7" pos="307">
          <p15:clr>
            <a:srgbClr val="F26B43"/>
          </p15:clr>
        </p15:guide>
        <p15:guide id="8" pos="5452">
          <p15:clr>
            <a:srgbClr val="F26B43"/>
          </p15:clr>
        </p15:guide>
        <p15:guide id="9" pos="668">
          <p15:clr>
            <a:srgbClr val="F26B43"/>
          </p15:clr>
        </p15:guide>
        <p15:guide id="11" pos="2710">
          <p15:clr>
            <a:srgbClr val="F26B43"/>
          </p15:clr>
        </p15:guide>
        <p15:guide id="12" pos="3050">
          <p15:clr>
            <a:srgbClr val="F26B43"/>
          </p15:clr>
        </p15:guide>
        <p15:guide id="13" pos="5092">
          <p15:clr>
            <a:srgbClr val="F26B43"/>
          </p15:clr>
        </p15:guide>
        <p15:guide id="14" orient="horz" pos="250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B8E27DB-D87B-4C84-A8C6-40ECA08132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7791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22" imgH="623" progId="TCLayout.ActiveDocument.1">
                  <p:embed/>
                </p:oleObj>
              </mc:Choice>
              <mc:Fallback>
                <p:oleObj name="think-cell Slide" r:id="rId7" imgW="622" imgH="62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6B8E27DB-D87B-4C84-A8C6-40ECA08132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2826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0" r:id="rId1"/>
    <p:sldLayoutId id="2147484211" r:id="rId2"/>
    <p:sldLayoutId id="2147484212" r:id="rId3"/>
    <p:sldLayoutId id="2147484213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hf hdr="0" ftr="0"/>
  <p:txStyles>
    <p:titleStyle>
      <a:lvl1pPr algn="l" defTabSz="609585" rtl="0" eaLnBrk="1" latinLnBrk="0" hangingPunct="1">
        <a:spcBef>
          <a:spcPct val="0"/>
        </a:spcBef>
        <a:buNone/>
        <a:defRPr sz="3067" b="1" kern="1200">
          <a:solidFill>
            <a:srgbClr val="415171"/>
          </a:solidFill>
          <a:latin typeface="+mj-lt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spcBef>
          <a:spcPct val="20000"/>
        </a:spcBef>
        <a:buFont typeface="Arial"/>
        <a:buNone/>
        <a:defRPr sz="16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1333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1333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13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333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171DF8B-9832-4047-836F-E3720D5C9E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10234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622" imgH="623" progId="TCLayout.ActiveDocument.1">
                  <p:embed/>
                </p:oleObj>
              </mc:Choice>
              <mc:Fallback>
                <p:oleObj name="think-cell Slide" r:id="rId27" imgW="622" imgH="62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171DF8B-9832-4047-836F-E3720D5C9E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Logo"/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1203699"/>
            <a:ext cx="10214464" cy="71241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-DK"/>
              <a:t>Klik for at redigere i master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2852738"/>
            <a:ext cx="10226675" cy="3303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en-GB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1985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5" r:id="rId1"/>
    <p:sldLayoutId id="2147484216" r:id="rId2"/>
    <p:sldLayoutId id="2147484217" r:id="rId3"/>
    <p:sldLayoutId id="2147484218" r:id="rId4"/>
    <p:sldLayoutId id="2147484219" r:id="rId5"/>
    <p:sldLayoutId id="2147484220" r:id="rId6"/>
    <p:sldLayoutId id="2147484221" r:id="rId7"/>
    <p:sldLayoutId id="2147484222" r:id="rId8"/>
    <p:sldLayoutId id="2147484223" r:id="rId9"/>
    <p:sldLayoutId id="2147484224" r:id="rId10"/>
    <p:sldLayoutId id="2147484225" r:id="rId11"/>
    <p:sldLayoutId id="2147484226" r:id="rId12"/>
    <p:sldLayoutId id="2147484227" r:id="rId13"/>
    <p:sldLayoutId id="2147484228" r:id="rId14"/>
    <p:sldLayoutId id="2147484229" r:id="rId15"/>
    <p:sldLayoutId id="2147484230" r:id="rId16"/>
    <p:sldLayoutId id="2147484231" r:id="rId17"/>
    <p:sldLayoutId id="2147484232" r:id="rId18"/>
    <p:sldLayoutId id="2147484233" r:id="rId19"/>
    <p:sldLayoutId id="2147484234" r:id="rId20"/>
    <p:sldLayoutId id="2147484235" r:id="rId21"/>
    <p:sldLayoutId id="2147484236" r:id="rId22"/>
    <p:sldLayoutId id="2147484237" r:id="rId23"/>
    <p:sldLayoutId id="2147484238" r:id="rId24"/>
  </p:sldLayoutIdLst>
  <p:hf hd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4000" kern="1200" cap="all" baseline="0">
          <a:solidFill>
            <a:schemeClr val="accent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1797">
          <p15:clr>
            <a:srgbClr val="F26B43"/>
          </p15:clr>
        </p15:guide>
        <p15:guide id="4" orient="horz" pos="3878">
          <p15:clr>
            <a:srgbClr val="F26B43"/>
          </p15:clr>
        </p15:guide>
        <p15:guide id="5" orient="horz" pos="1207">
          <p15:clr>
            <a:srgbClr val="F26B43"/>
          </p15:clr>
        </p15:guide>
        <p15:guide id="6" orient="horz" pos="1729">
          <p15:clr>
            <a:srgbClr val="F26B43"/>
          </p15:clr>
        </p15:guide>
        <p15:guide id="7" orient="horz" pos="754">
          <p15:clr>
            <a:srgbClr val="F26B43"/>
          </p15:clr>
        </p15:guide>
        <p15:guide id="8" orient="horz" pos="127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C179757-C2EF-4827-8719-8A36B90925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350562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622" imgH="623" progId="TCLayout.ActiveDocument.1">
                  <p:embed/>
                </p:oleObj>
              </mc:Choice>
              <mc:Fallback>
                <p:oleObj name="think-cell Slide" r:id="rId34" imgW="622" imgH="62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C179757-C2EF-4827-8719-8A36B90925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51687" y="779463"/>
            <a:ext cx="10889267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51686" y="1557341"/>
            <a:ext cx="10889269" cy="45243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</p:txBody>
      </p:sp>
      <p:sp>
        <p:nvSpPr>
          <p:cNvPr id="12" name="Pladsholder til dato 11" hidden="1"/>
          <p:cNvSpPr>
            <a:spLocks noGrp="1"/>
          </p:cNvSpPr>
          <p:nvPr>
            <p:ph type="dt" sz="half" idx="2"/>
          </p:nvPr>
        </p:nvSpPr>
        <p:spPr>
          <a:xfrm>
            <a:off x="8400256" y="760038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da-DK" sz="80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EEAF7074-C617-3A4E-B97C-6D3021D3DD42}" type="datetime3">
              <a:t>08.06.2023</a:t>
            </a:fld>
            <a:endParaRPr lang="da-DK" dirty="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CEC73029-9A61-CC46-ABDC-F803F2C449F2}"/>
              </a:ext>
            </a:extLst>
          </p:cNvPr>
          <p:cNvSpPr txBox="1"/>
          <p:nvPr userDrawn="1"/>
        </p:nvSpPr>
        <p:spPr>
          <a:xfrm>
            <a:off x="10952302" y="6486682"/>
            <a:ext cx="576151" cy="16421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fld id="{373E2121-3D66-4841-8070-AD34F1B5490E}" type="slidenum">
              <a:rPr lang="da-DK" sz="1067" dirty="0" err="1" smtClean="0">
                <a:solidFill>
                  <a:schemeClr val="bg2"/>
                </a:solidFill>
              </a:rPr>
              <a:pPr algn="r"/>
              <a:t>‹#›</a:t>
            </a:fld>
            <a:endParaRPr lang="da-DK" sz="1067" dirty="0" err="1">
              <a:solidFill>
                <a:schemeClr val="bg2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66E3C61A-FF97-7E49-BA27-546EC8879F97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85" y="6245802"/>
            <a:ext cx="2133600" cy="42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539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  <p:sldLayoutId id="2147484248" r:id="rId8"/>
    <p:sldLayoutId id="2147484249" r:id="rId9"/>
    <p:sldLayoutId id="2147484250" r:id="rId10"/>
    <p:sldLayoutId id="2147484251" r:id="rId11"/>
    <p:sldLayoutId id="2147484252" r:id="rId12"/>
    <p:sldLayoutId id="2147484253" r:id="rId13"/>
    <p:sldLayoutId id="2147484254" r:id="rId14"/>
    <p:sldLayoutId id="2147484255" r:id="rId15"/>
    <p:sldLayoutId id="2147484256" r:id="rId16"/>
    <p:sldLayoutId id="2147484257" r:id="rId17"/>
    <p:sldLayoutId id="2147484258" r:id="rId18"/>
    <p:sldLayoutId id="2147484259" r:id="rId19"/>
    <p:sldLayoutId id="2147484260" r:id="rId20"/>
    <p:sldLayoutId id="2147484261" r:id="rId21"/>
    <p:sldLayoutId id="2147484262" r:id="rId22"/>
    <p:sldLayoutId id="2147484263" r:id="rId23"/>
    <p:sldLayoutId id="2147484264" r:id="rId24"/>
    <p:sldLayoutId id="2147484265" r:id="rId25"/>
    <p:sldLayoutId id="2147484266" r:id="rId26"/>
    <p:sldLayoutId id="2147484267" r:id="rId27"/>
    <p:sldLayoutId id="2147484268" r:id="rId28"/>
    <p:sldLayoutId id="2147484269" r:id="rId29"/>
    <p:sldLayoutId id="2147484270" r:id="rId30"/>
    <p:sldLayoutId id="2147484271" r:id="rId31"/>
  </p:sldLayoutIdLst>
  <p:hf hdr="0" ftr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133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354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​"/>
        <a:defRPr sz="2133" b="0" kern="1200">
          <a:solidFill>
            <a:schemeClr val="bg2"/>
          </a:solidFill>
          <a:latin typeface="+mn-lt"/>
          <a:ea typeface="+mn-ea"/>
          <a:cs typeface="+mn-cs"/>
        </a:defRPr>
      </a:lvl1pPr>
      <a:lvl2pPr marL="215989" indent="-215989" algn="l" defTabSz="914354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•"/>
        <a:defRPr sz="2133" b="0" kern="1200">
          <a:solidFill>
            <a:schemeClr val="bg2"/>
          </a:solidFill>
          <a:latin typeface="+mn-lt"/>
          <a:ea typeface="+mn-ea"/>
          <a:cs typeface="+mn-cs"/>
        </a:defRPr>
      </a:lvl2pPr>
      <a:lvl3pPr marL="431979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3pPr>
      <a:lvl4pPr marL="647968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4pPr>
      <a:lvl5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5pPr>
      <a:lvl6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6pPr>
      <a:lvl7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7pPr>
      <a:lvl8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 baseline="0">
          <a:solidFill>
            <a:schemeClr val="bg2"/>
          </a:solidFill>
          <a:latin typeface="+mn-lt"/>
          <a:ea typeface="+mn-ea"/>
          <a:cs typeface="+mn-cs"/>
        </a:defRPr>
      </a:lvl8pPr>
      <a:lvl9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36">
          <p15:clr>
            <a:srgbClr val="F26B43"/>
          </p15:clr>
        </p15:guide>
        <p15:guide id="4" orient="horz" pos="2873">
          <p15:clr>
            <a:srgbClr val="F26B43"/>
          </p15:clr>
        </p15:guide>
        <p15:guide id="6" orient="horz" pos="368">
          <p15:clr>
            <a:srgbClr val="F26B43"/>
          </p15:clr>
        </p15:guide>
        <p15:guide id="7" pos="307">
          <p15:clr>
            <a:srgbClr val="F26B43"/>
          </p15:clr>
        </p15:guide>
        <p15:guide id="8" pos="5452">
          <p15:clr>
            <a:srgbClr val="F26B43"/>
          </p15:clr>
        </p15:guide>
        <p15:guide id="9" pos="668">
          <p15:clr>
            <a:srgbClr val="F26B43"/>
          </p15:clr>
        </p15:guide>
        <p15:guide id="11" pos="2710">
          <p15:clr>
            <a:srgbClr val="F26B43"/>
          </p15:clr>
        </p15:guide>
        <p15:guide id="12" pos="3050">
          <p15:clr>
            <a:srgbClr val="F26B43"/>
          </p15:clr>
        </p15:guide>
        <p15:guide id="13" pos="5092">
          <p15:clr>
            <a:srgbClr val="F26B43"/>
          </p15:clr>
        </p15:guide>
        <p15:guide id="14" orient="horz" pos="2504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327E489-BD32-48FC-9987-B1B2D65A21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522725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622" imgH="623" progId="TCLayout.ActiveDocument.1">
                  <p:embed/>
                </p:oleObj>
              </mc:Choice>
              <mc:Fallback>
                <p:oleObj name="think-cell Slide" r:id="rId26" imgW="622" imgH="62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327E489-BD32-48FC-9987-B1B2D65A21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Logo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1203699"/>
            <a:ext cx="10214464" cy="71241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-DK"/>
              <a:t>Klik for at redigere i master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2852738"/>
            <a:ext cx="10226675" cy="3303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en-GB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7421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0" r:id="rId1"/>
    <p:sldLayoutId id="2147484291" r:id="rId2"/>
    <p:sldLayoutId id="2147484292" r:id="rId3"/>
    <p:sldLayoutId id="2147484293" r:id="rId4"/>
    <p:sldLayoutId id="2147484294" r:id="rId5"/>
    <p:sldLayoutId id="2147484295" r:id="rId6"/>
    <p:sldLayoutId id="2147484296" r:id="rId7"/>
    <p:sldLayoutId id="2147484297" r:id="rId8"/>
    <p:sldLayoutId id="2147484298" r:id="rId9"/>
    <p:sldLayoutId id="2147484299" r:id="rId10"/>
    <p:sldLayoutId id="2147484300" r:id="rId11"/>
    <p:sldLayoutId id="2147484301" r:id="rId12"/>
    <p:sldLayoutId id="2147484302" r:id="rId13"/>
    <p:sldLayoutId id="2147484303" r:id="rId14"/>
    <p:sldLayoutId id="2147484304" r:id="rId15"/>
    <p:sldLayoutId id="2147484305" r:id="rId16"/>
    <p:sldLayoutId id="2147484306" r:id="rId17"/>
    <p:sldLayoutId id="2147484307" r:id="rId18"/>
    <p:sldLayoutId id="2147484308" r:id="rId19"/>
    <p:sldLayoutId id="2147484309" r:id="rId20"/>
    <p:sldLayoutId id="2147484310" r:id="rId21"/>
    <p:sldLayoutId id="2147484311" r:id="rId22"/>
    <p:sldLayoutId id="2147484312" r:id="rId23"/>
  </p:sldLayoutIdLst>
  <p:hf hd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4000" kern="1200" cap="all" baseline="0">
          <a:solidFill>
            <a:schemeClr val="accent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1797">
          <p15:clr>
            <a:srgbClr val="F26B43"/>
          </p15:clr>
        </p15:guide>
        <p15:guide id="4" orient="horz" pos="3878">
          <p15:clr>
            <a:srgbClr val="F26B43"/>
          </p15:clr>
        </p15:guide>
        <p15:guide id="5" orient="horz" pos="1207">
          <p15:clr>
            <a:srgbClr val="F26B43"/>
          </p15:clr>
        </p15:guide>
        <p15:guide id="6" orient="horz" pos="1729">
          <p15:clr>
            <a:srgbClr val="F26B43"/>
          </p15:clr>
        </p15:guide>
        <p15:guide id="7" orient="horz" pos="754">
          <p15:clr>
            <a:srgbClr val="F26B43"/>
          </p15:clr>
        </p15:guide>
        <p15:guide id="8" orient="horz" pos="1275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AF3AA24-46A8-4732-8F89-7BC393C6C7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49929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622" imgH="623" progId="TCLayout.ActiveDocument.1">
                  <p:embed/>
                </p:oleObj>
              </mc:Choice>
              <mc:Fallback>
                <p:oleObj name="think-cell Slide" r:id="rId26" imgW="622" imgH="62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AF3AA24-46A8-4732-8F89-7BC393C6C7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Logo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1203699"/>
            <a:ext cx="10214464" cy="71241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rtl="0"/>
            <a:r>
              <a:rPr lang="en-gb"/>
              <a:t>Klik for at redigere i master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2852738"/>
            <a:ext cx="10226675" cy="3303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rtl="0"/>
            <a:r>
              <a:rPr lang="en-gb" noProof="0"/>
              <a:t>Klik for at redigere teksttypografierne i masteren
Andet niveau
Tredje niveau
Fjerde niveau
Femte niveau</a:t>
            </a:r>
            <a:endParaRPr lang="en-GB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pPr rtl="0"/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pPr rtl="0"/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pPr rtl="0"/>
            <a:fld id="{24C8C45C-947F-4981-8B3F-4F32E973C901}" type="slidenum">
              <a:rPr lang="en-GB" smtClean="0"/>
              <a:pPr rtl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1540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4" r:id="rId1"/>
    <p:sldLayoutId id="2147484315" r:id="rId2"/>
    <p:sldLayoutId id="2147484316" r:id="rId3"/>
    <p:sldLayoutId id="2147484317" r:id="rId4"/>
    <p:sldLayoutId id="2147484318" r:id="rId5"/>
    <p:sldLayoutId id="2147484319" r:id="rId6"/>
    <p:sldLayoutId id="2147484320" r:id="rId7"/>
    <p:sldLayoutId id="2147484321" r:id="rId8"/>
    <p:sldLayoutId id="2147484322" r:id="rId9"/>
    <p:sldLayoutId id="2147484323" r:id="rId10"/>
    <p:sldLayoutId id="2147484324" r:id="rId11"/>
    <p:sldLayoutId id="2147484325" r:id="rId12"/>
    <p:sldLayoutId id="2147484326" r:id="rId13"/>
    <p:sldLayoutId id="2147484327" r:id="rId14"/>
    <p:sldLayoutId id="2147484328" r:id="rId15"/>
    <p:sldLayoutId id="2147484329" r:id="rId16"/>
    <p:sldLayoutId id="2147484330" r:id="rId17"/>
    <p:sldLayoutId id="2147484331" r:id="rId18"/>
    <p:sldLayoutId id="2147484332" r:id="rId19"/>
    <p:sldLayoutId id="2147484333" r:id="rId20"/>
    <p:sldLayoutId id="2147484334" r:id="rId21"/>
    <p:sldLayoutId id="2147484335" r:id="rId22"/>
    <p:sldLayoutId id="2147484336" r:id="rId23"/>
  </p:sldLayoutIdLst>
  <p:hf sldNum="0" hdr="0" ft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4000" kern="1200" cap="all" baseline="0">
          <a:solidFill>
            <a:schemeClr val="accent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1797">
          <p15:clr>
            <a:srgbClr val="F26B43"/>
          </p15:clr>
        </p15:guide>
        <p15:guide id="4" orient="horz" pos="3878">
          <p15:clr>
            <a:srgbClr val="F26B43"/>
          </p15:clr>
        </p15:guide>
        <p15:guide id="5" orient="horz" pos="1207">
          <p15:clr>
            <a:srgbClr val="F26B43"/>
          </p15:clr>
        </p15:guide>
        <p15:guide id="6" orient="horz" pos="1729">
          <p15:clr>
            <a:srgbClr val="F26B43"/>
          </p15:clr>
        </p15:guide>
        <p15:guide id="7" orient="horz" pos="754">
          <p15:clr>
            <a:srgbClr val="F26B43"/>
          </p15:clr>
        </p15:guide>
        <p15:guide id="8" orient="horz" pos="127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71.emf"/><Relationship Id="rId4" Type="http://schemas.openxmlformats.org/officeDocument/2006/relationships/oleObject" Target="../embeddings/oleObject14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0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0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0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0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6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0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ns.dk/" TargetMode="External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50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9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50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50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50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50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50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6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43.xml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4" Type="http://schemas.microsoft.com/office/2007/relationships/hdphoto" Target="../media/hdphoto4.wdp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459.xml"/><Relationship Id="rId5" Type="http://schemas.openxmlformats.org/officeDocument/2006/relationships/image" Target="../media/image94.png"/><Relationship Id="rId4" Type="http://schemas.openxmlformats.org/officeDocument/2006/relationships/hyperlink" Target="https://gasstorage.dk/news/2023/05/15/auction-sy2024-13-june-2023/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gasstorage.dk/news/2023/02/22/change-in-the-variable-injection-tariff/" TargetMode="External"/><Relationship Id="rId2" Type="http://schemas.openxmlformats.org/officeDocument/2006/relationships/hyperlink" Target="https://gasstorage.dk/news/2023/05/17/new-prices-17-05-2023/" TargetMode="External"/><Relationship Id="rId1" Type="http://schemas.openxmlformats.org/officeDocument/2006/relationships/slideLayout" Target="../slideLayouts/slideLayout445.xml"/><Relationship Id="rId4" Type="http://schemas.openxmlformats.org/officeDocument/2006/relationships/image" Target="../media/image9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7" Type="http://schemas.openxmlformats.org/officeDocument/2006/relationships/image" Target="../media/image9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42.xml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4" Type="http://schemas.microsoft.com/office/2007/relationships/hdphoto" Target="../media/hdphoto5.wdp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6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8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6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7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83.xml"/><Relationship Id="rId4" Type="http://schemas.openxmlformats.org/officeDocument/2006/relationships/chart" Target="../charts/char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86.xml"/><Relationship Id="rId4" Type="http://schemas.openxmlformats.org/officeDocument/2006/relationships/chart" Target="../charts/char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83.xml"/><Relationship Id="rId4" Type="http://schemas.openxmlformats.org/officeDocument/2006/relationships/chart" Target="../charts/char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86.xml"/><Relationship Id="rId4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83.xml"/><Relationship Id="rId4" Type="http://schemas.openxmlformats.org/officeDocument/2006/relationships/chart" Target="../charts/chart5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tags" Target="../tags/tag20.xml"/><Relationship Id="rId7" Type="http://schemas.openxmlformats.org/officeDocument/2006/relationships/image" Target="../media/image99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98.jpeg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483.xml"/><Relationship Id="rId9" Type="http://schemas.openxmlformats.org/officeDocument/2006/relationships/image" Target="../media/image101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48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1.xml"/><Relationship Id="rId2" Type="http://schemas.openxmlformats.org/officeDocument/2006/relationships/customXml" Target="../../customXml/item5.xml"/><Relationship Id="rId1" Type="http://schemas.openxmlformats.org/officeDocument/2006/relationships/customXml" Target="../../customXml/item3.xml"/><Relationship Id="rId4" Type="http://schemas.openxmlformats.org/officeDocument/2006/relationships/image" Target="../media/image98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6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4.xml"/><Relationship Id="rId4" Type="http://schemas.openxmlformats.org/officeDocument/2006/relationships/image" Target="../media/image98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sv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467.xml"/><Relationship Id="rId4" Type="http://schemas.openxmlformats.org/officeDocument/2006/relationships/image" Target="../media/image98.jpe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jpeg"/><Relationship Id="rId3" Type="http://schemas.openxmlformats.org/officeDocument/2006/relationships/image" Target="../media/image105.svg"/><Relationship Id="rId7" Type="http://schemas.openxmlformats.org/officeDocument/2006/relationships/image" Target="../media/image109.sv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492.xml"/><Relationship Id="rId6" Type="http://schemas.openxmlformats.org/officeDocument/2006/relationships/image" Target="../media/image108.png"/><Relationship Id="rId5" Type="http://schemas.openxmlformats.org/officeDocument/2006/relationships/image" Target="../media/image107.svg"/><Relationship Id="rId4" Type="http://schemas.openxmlformats.org/officeDocument/2006/relationships/image" Target="../media/image106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g"/><Relationship Id="rId2" Type="http://schemas.openxmlformats.org/officeDocument/2006/relationships/hyperlink" Target="http://www.acer-remit.eu/portal/list-inside-platforms" TargetMode="External"/><Relationship Id="rId1" Type="http://schemas.openxmlformats.org/officeDocument/2006/relationships/slideLayout" Target="../slideLayouts/slideLayout467.xml"/><Relationship Id="rId4" Type="http://schemas.openxmlformats.org/officeDocument/2006/relationships/image" Target="../media/image98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image" Target="../media/image111.jpg"/><Relationship Id="rId1" Type="http://schemas.openxmlformats.org/officeDocument/2006/relationships/slideLayout" Target="../slideLayouts/slideLayout46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sv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477.xml"/><Relationship Id="rId4" Type="http://schemas.openxmlformats.org/officeDocument/2006/relationships/image" Target="../media/image9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en.energinet.dk/gas/transparency/market-based-activity/" TargetMode="External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1.xml"/><Relationship Id="rId5" Type="http://schemas.openxmlformats.org/officeDocument/2006/relationships/image" Target="../media/image115.png"/><Relationship Id="rId4" Type="http://schemas.openxmlformats.org/officeDocument/2006/relationships/image" Target="../media/image19.emf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2.xml"/><Relationship Id="rId5" Type="http://schemas.openxmlformats.org/officeDocument/2006/relationships/image" Target="../media/image116.png"/><Relationship Id="rId4" Type="http://schemas.openxmlformats.org/officeDocument/2006/relationships/image" Target="../media/image19.emf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tags" Target="../tags/tag48.xml"/><Relationship Id="rId39" Type="http://schemas.openxmlformats.org/officeDocument/2006/relationships/image" Target="../media/image19.emf"/><Relationship Id="rId3" Type="http://schemas.openxmlformats.org/officeDocument/2006/relationships/tags" Target="../tags/tag25.xml"/><Relationship Id="rId21" Type="http://schemas.openxmlformats.org/officeDocument/2006/relationships/tags" Target="../tags/tag43.xml"/><Relationship Id="rId34" Type="http://schemas.openxmlformats.org/officeDocument/2006/relationships/tags" Target="../tags/tag56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33" Type="http://schemas.openxmlformats.org/officeDocument/2006/relationships/tags" Target="../tags/tag55.xml"/><Relationship Id="rId38" Type="http://schemas.openxmlformats.org/officeDocument/2006/relationships/oleObject" Target="../embeddings/oleObject17.bin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29" Type="http://schemas.openxmlformats.org/officeDocument/2006/relationships/tags" Target="../tags/tag51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tags" Target="../tags/tag46.xml"/><Relationship Id="rId32" Type="http://schemas.openxmlformats.org/officeDocument/2006/relationships/tags" Target="../tags/tag54.xml"/><Relationship Id="rId37" Type="http://schemas.openxmlformats.org/officeDocument/2006/relationships/notesSlide" Target="../notesSlides/notesSlide24.xml"/><Relationship Id="rId40" Type="http://schemas.openxmlformats.org/officeDocument/2006/relationships/chart" Target="../charts/chart6.xml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28" Type="http://schemas.openxmlformats.org/officeDocument/2006/relationships/tags" Target="../tags/tag50.xml"/><Relationship Id="rId36" Type="http://schemas.openxmlformats.org/officeDocument/2006/relationships/slideLayout" Target="../slideLayouts/slideLayout2.xml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31" Type="http://schemas.openxmlformats.org/officeDocument/2006/relationships/tags" Target="../tags/tag53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tags" Target="../tags/tag44.xml"/><Relationship Id="rId27" Type="http://schemas.openxmlformats.org/officeDocument/2006/relationships/tags" Target="../tags/tag49.xml"/><Relationship Id="rId30" Type="http://schemas.openxmlformats.org/officeDocument/2006/relationships/tags" Target="../tags/tag52.xml"/><Relationship Id="rId35" Type="http://schemas.openxmlformats.org/officeDocument/2006/relationships/tags" Target="../tags/tag5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60.xml"/><Relationship Id="rId6" Type="http://schemas.openxmlformats.org/officeDocument/2006/relationships/image" Target="../media/image1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7" Type="http://schemas.openxmlformats.org/officeDocument/2006/relationships/image" Target="../media/image119.emf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1.xml"/><Relationship Id="rId6" Type="http://schemas.openxmlformats.org/officeDocument/2006/relationships/image" Target="../media/image114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0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121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2.xml"/><Relationship Id="rId6" Type="http://schemas.openxmlformats.org/officeDocument/2006/relationships/image" Target="../media/image1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1.bin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48.xml"/><Relationship Id="rId6" Type="http://schemas.microsoft.com/office/2007/relationships/hdphoto" Target="../media/hdphoto3.wdp"/><Relationship Id="rId5" Type="http://schemas.openxmlformats.org/officeDocument/2006/relationships/image" Target="../media/image80.png"/><Relationship Id="rId4" Type="http://schemas.microsoft.com/office/2007/relationships/hdphoto" Target="../media/hdphoto2.wdp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0.png"/><Relationship Id="rId3" Type="http://schemas.openxmlformats.org/officeDocument/2006/relationships/image" Target="../media/image125.svg"/><Relationship Id="rId7" Type="http://schemas.openxmlformats.org/officeDocument/2006/relationships/image" Target="../media/image129.svg"/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8.png"/><Relationship Id="rId5" Type="http://schemas.openxmlformats.org/officeDocument/2006/relationships/image" Target="../media/image127.svg"/><Relationship Id="rId4" Type="http://schemas.openxmlformats.org/officeDocument/2006/relationships/image" Target="../media/image126.png"/><Relationship Id="rId9" Type="http://schemas.openxmlformats.org/officeDocument/2006/relationships/image" Target="../media/image131.sv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en.energinet.dk/Gas/Transparency/Gas-transmission-capacities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jpeg"/><Relationship Id="rId1" Type="http://schemas.openxmlformats.org/officeDocument/2006/relationships/slideLayout" Target="../slideLayouts/slideLayout3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3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jpeg"/><Relationship Id="rId2" Type="http://schemas.openxmlformats.org/officeDocument/2006/relationships/hyperlink" Target="https://view.officeapps.live.com/op/view.aspx?src=https%3A%2F%2Fen.energinet.dk%2Fmedia%2Fmkkhe40o%2Fstrategic-activity-plan-gas-system-2023.xlsx&amp;wdOrigin=BROWSELINK" TargetMode="Externa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45.png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3.xml"/><Relationship Id="rId5" Type="http://schemas.openxmlformats.org/officeDocument/2006/relationships/image" Target="../media/image146.png"/><Relationship Id="rId4" Type="http://schemas.openxmlformats.org/officeDocument/2006/relationships/image" Target="../media/image1.emf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7.jpg"/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9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9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FFF7280-222F-4098-8AEC-67CD32FEF6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1" imgH="520" progId="TCLayout.ActiveDocument.1">
                  <p:embed/>
                </p:oleObj>
              </mc:Choice>
              <mc:Fallback>
                <p:oleObj name="think-cell Slide" r:id="rId4" imgW="521" imgH="52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FFF7280-222F-4098-8AEC-67CD32FEF6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854BDF1E-0D26-40F8-879D-A1E7E0C40F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4000" noProof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B4B4FE3-C4B9-477E-9592-807D9379A2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Shippers’ Forum	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B256AEE5-DA7F-47BB-918A-36C8907A504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/>
              <a:t>8 June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22804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914377"/>
            <a:fld id="{D6C43E05-5416-43CC-9354-A0F970D8A001}" type="datetime2">
              <a:rPr lang="da-DK">
                <a:solidFill>
                  <a:prstClr val="black"/>
                </a:solidFill>
              </a:rPr>
              <a:pPr defTabSz="914377"/>
              <a:t>8. juni 2023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914377"/>
            <a:r>
              <a:rPr lang="da-DK">
                <a:solidFill>
                  <a:prstClr val="black"/>
                </a:solidFill>
              </a:rPr>
              <a:t>Side </a:t>
            </a:r>
            <a:fld id="{8E044AEF-F590-47CE-BE8F-5C241A59BA2A}" type="slidenum">
              <a:rPr lang="da-DK">
                <a:solidFill>
                  <a:prstClr val="black"/>
                </a:solidFill>
              </a:rPr>
              <a:pPr defTabSz="914377"/>
              <a:t>10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a-DK" sz="3467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upply situation</a:t>
            </a:r>
          </a:p>
        </p:txBody>
      </p:sp>
      <p:sp>
        <p:nvSpPr>
          <p:cNvPr id="9" name="Afrundet rektangel 8"/>
          <p:cNvSpPr/>
          <p:nvPr/>
        </p:nvSpPr>
        <p:spPr>
          <a:xfrm>
            <a:off x="2280955" y="1316765"/>
            <a:ext cx="4567159" cy="672075"/>
          </a:xfrm>
          <a:prstGeom prst="roundRect">
            <a:avLst>
              <a:gd name="adj" fmla="val 17403"/>
            </a:avLst>
          </a:prstGeom>
          <a:solidFill>
            <a:srgbClr val="AE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AST WINTER (22/23)</a:t>
            </a:r>
          </a:p>
        </p:txBody>
      </p:sp>
      <p:sp>
        <p:nvSpPr>
          <p:cNvPr id="10" name="Afrundet rektangel 9"/>
          <p:cNvSpPr/>
          <p:nvPr/>
        </p:nvSpPr>
        <p:spPr>
          <a:xfrm>
            <a:off x="2240865" y="3128959"/>
            <a:ext cx="4567159" cy="978248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ble </a:t>
            </a:r>
            <a:r>
              <a:rPr lang="da-DK" sz="1867" dirty="0" err="1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upply</a:t>
            </a:r>
            <a:r>
              <a:rPr lang="da-DK" sz="1867" dirty="0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. </a:t>
            </a:r>
          </a:p>
          <a:p>
            <a:pPr algn="ctr" defTabSz="1091563"/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olatile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,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igh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ices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 Low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oduction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lightly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duced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sumption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11" name="Afrundet rektangel 10"/>
          <p:cNvSpPr/>
          <p:nvPr/>
        </p:nvSpPr>
        <p:spPr>
          <a:xfrm>
            <a:off x="6933123" y="1322637"/>
            <a:ext cx="4512499" cy="672075"/>
          </a:xfrm>
          <a:prstGeom prst="roundRect">
            <a:avLst>
              <a:gd name="adj" fmla="val 17403"/>
            </a:avLst>
          </a:prstGeom>
          <a:solidFill>
            <a:srgbClr val="AE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EXT WINTER (23/24)</a:t>
            </a:r>
          </a:p>
        </p:txBody>
      </p:sp>
      <p:sp>
        <p:nvSpPr>
          <p:cNvPr id="12" name="Afrundet rektangel 11"/>
          <p:cNvSpPr/>
          <p:nvPr/>
        </p:nvSpPr>
        <p:spPr>
          <a:xfrm>
            <a:off x="2260326" y="2077064"/>
            <a:ext cx="4567159" cy="963673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ble </a:t>
            </a:r>
            <a:r>
              <a:rPr lang="da-DK" sz="1867" dirty="0" err="1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upply</a:t>
            </a:r>
            <a:r>
              <a:rPr lang="da-DK" sz="1867" dirty="0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. </a:t>
            </a:r>
          </a:p>
          <a:p>
            <a:pPr algn="ctr" defTabSz="1091563"/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olatile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ices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duced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gas from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ussia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creased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LNG.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duced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13" name="Afrundet rektangel 12"/>
          <p:cNvSpPr/>
          <p:nvPr/>
        </p:nvSpPr>
        <p:spPr>
          <a:xfrm>
            <a:off x="677926" y="3124958"/>
            <a:ext cx="1459737" cy="1011543"/>
          </a:xfrm>
          <a:prstGeom prst="roundRect">
            <a:avLst>
              <a:gd name="adj" fmla="val 6995"/>
            </a:avLst>
          </a:prstGeom>
          <a:solidFill>
            <a:srgbClr val="AE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LEC.</a:t>
            </a:r>
          </a:p>
        </p:txBody>
      </p:sp>
      <p:sp>
        <p:nvSpPr>
          <p:cNvPr id="14" name="Afrundet rektangel 13"/>
          <p:cNvSpPr/>
          <p:nvPr/>
        </p:nvSpPr>
        <p:spPr>
          <a:xfrm>
            <a:off x="697387" y="2082248"/>
            <a:ext cx="1459739" cy="958488"/>
          </a:xfrm>
          <a:prstGeom prst="roundRect">
            <a:avLst>
              <a:gd name="adj" fmla="val 8205"/>
            </a:avLst>
          </a:prstGeom>
          <a:solidFill>
            <a:srgbClr val="AE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GAS</a:t>
            </a:r>
          </a:p>
        </p:txBody>
      </p:sp>
      <p:sp>
        <p:nvSpPr>
          <p:cNvPr id="16" name="Afrundet rektangel 15"/>
          <p:cNvSpPr/>
          <p:nvPr/>
        </p:nvSpPr>
        <p:spPr>
          <a:xfrm>
            <a:off x="6911224" y="3119959"/>
            <a:ext cx="4539475" cy="987248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 err="1">
                <a:solidFill>
                  <a:srgbClr val="CC66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hallenging</a:t>
            </a:r>
            <a:r>
              <a:rPr lang="da-DK" sz="1867" dirty="0">
                <a:solidFill>
                  <a:srgbClr val="CC66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.</a:t>
            </a:r>
          </a:p>
          <a:p>
            <a:pPr algn="ctr"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Low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oduction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in Europe.</a:t>
            </a:r>
          </a:p>
        </p:txBody>
      </p:sp>
      <p:sp>
        <p:nvSpPr>
          <p:cNvPr id="17" name="Afrundet rektangel 16"/>
          <p:cNvSpPr/>
          <p:nvPr/>
        </p:nvSpPr>
        <p:spPr>
          <a:xfrm>
            <a:off x="6923495" y="2082246"/>
            <a:ext cx="4522124" cy="958489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 err="1">
                <a:solidFill>
                  <a:srgbClr val="CC66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hallenging</a:t>
            </a:r>
            <a:r>
              <a:rPr lang="da-DK" sz="1867" dirty="0">
                <a:solidFill>
                  <a:srgbClr val="CC66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.</a:t>
            </a:r>
          </a:p>
          <a:p>
            <a:pPr algn="ctr"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nergy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avings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re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still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mportant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20" name="Afrundet rektangel 19"/>
          <p:cNvSpPr/>
          <p:nvPr/>
        </p:nvSpPr>
        <p:spPr>
          <a:xfrm>
            <a:off x="681943" y="4206758"/>
            <a:ext cx="1459740" cy="840561"/>
          </a:xfrm>
          <a:prstGeom prst="roundRect">
            <a:avLst>
              <a:gd name="adj" fmla="val 8205"/>
            </a:avLst>
          </a:prstGeom>
          <a:solidFill>
            <a:srgbClr val="AE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IL</a:t>
            </a:r>
          </a:p>
        </p:txBody>
      </p:sp>
      <p:sp>
        <p:nvSpPr>
          <p:cNvPr id="21" name="Afrundet rektangel 20"/>
          <p:cNvSpPr/>
          <p:nvPr/>
        </p:nvSpPr>
        <p:spPr>
          <a:xfrm>
            <a:off x="681943" y="5127141"/>
            <a:ext cx="1459741" cy="871567"/>
          </a:xfrm>
          <a:prstGeom prst="roundRect">
            <a:avLst>
              <a:gd name="adj" fmla="val 8205"/>
            </a:avLst>
          </a:prstGeom>
          <a:solidFill>
            <a:srgbClr val="AE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EAT &amp; BIOMASS</a:t>
            </a:r>
          </a:p>
        </p:txBody>
      </p:sp>
      <p:sp>
        <p:nvSpPr>
          <p:cNvPr id="22" name="Afrundet rektangel 21"/>
          <p:cNvSpPr/>
          <p:nvPr/>
        </p:nvSpPr>
        <p:spPr>
          <a:xfrm>
            <a:off x="2244885" y="4206758"/>
            <a:ext cx="4567159" cy="840561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ble </a:t>
            </a:r>
            <a:r>
              <a:rPr lang="da-DK" sz="1867" dirty="0" err="1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upply</a:t>
            </a:r>
            <a:r>
              <a:rPr lang="da-DK" sz="1867" dirty="0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. </a:t>
            </a:r>
            <a:br>
              <a:rPr lang="da-DK" sz="1867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igh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ices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23" name="Afrundet rektangel 22"/>
          <p:cNvSpPr/>
          <p:nvPr/>
        </p:nvSpPr>
        <p:spPr>
          <a:xfrm>
            <a:off x="6917680" y="4214083"/>
            <a:ext cx="4539475" cy="833236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 err="1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xpected</a:t>
            </a:r>
            <a:r>
              <a:rPr lang="da-DK" sz="1867" dirty="0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table.</a:t>
            </a:r>
          </a:p>
          <a:p>
            <a:pPr algn="ctr"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ocus on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sequences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of EU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anctions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24" name="Afrundet rektangel 23"/>
          <p:cNvSpPr/>
          <p:nvPr/>
        </p:nvSpPr>
        <p:spPr>
          <a:xfrm>
            <a:off x="2244883" y="5127141"/>
            <a:ext cx="4567159" cy="871567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ble </a:t>
            </a:r>
            <a:r>
              <a:rPr lang="da-DK" sz="1867" dirty="0" err="1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upply</a:t>
            </a:r>
            <a:r>
              <a:rPr lang="da-DK" sz="1867" dirty="0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. </a:t>
            </a:r>
            <a:br>
              <a:rPr lang="da-DK" sz="1867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igher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ices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25" name="Afrundet rektangel 24"/>
          <p:cNvSpPr/>
          <p:nvPr/>
        </p:nvSpPr>
        <p:spPr>
          <a:xfrm>
            <a:off x="6917680" y="5137678"/>
            <a:ext cx="4539475" cy="861029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ble </a:t>
            </a:r>
            <a:r>
              <a:rPr lang="da-DK" sz="1867" dirty="0" err="1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upply</a:t>
            </a:r>
            <a:r>
              <a:rPr lang="da-DK" sz="1867" dirty="0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.</a:t>
            </a:r>
            <a:endParaRPr lang="da-DK" sz="1867" dirty="0">
              <a:solidFill>
                <a:srgbClr val="008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076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586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Gas Supply</a:t>
            </a:r>
            <a:endParaRPr lang="da-DK" sz="2667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a-DK" dirty="0"/>
              <a:t>Status and </a:t>
            </a:r>
            <a:r>
              <a:rPr lang="da-DK" dirty="0" err="1"/>
              <a:t>next</a:t>
            </a:r>
            <a:r>
              <a:rPr lang="da-DK" dirty="0"/>
              <a:t> </a:t>
            </a:r>
            <a:r>
              <a:rPr lang="da-DK" dirty="0" err="1"/>
              <a:t>winter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prstClr val="white"/>
                </a:solidFill>
              </a:rPr>
              <a:pPr defTabSz="1091563"/>
              <a:t>8. juni 2023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prstClr val="white"/>
                </a:solidFill>
              </a:rPr>
              <a:t>Side </a:t>
            </a:r>
            <a:fld id="{8E044AEF-F590-47CE-BE8F-5C241A59BA2A}" type="slidenum">
              <a:rPr lang="da-DK">
                <a:solidFill>
                  <a:prstClr val="white"/>
                </a:solidFill>
              </a:rPr>
              <a:pPr defTabSz="1091563"/>
              <a:t>11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021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8. juni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12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a-DK" sz="3467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table gas </a:t>
            </a:r>
            <a:r>
              <a:rPr lang="da-DK" sz="3467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upply</a:t>
            </a:r>
            <a:endParaRPr lang="da-DK" sz="3467" cap="none" dirty="0">
              <a:solidFill>
                <a:srgbClr val="19767D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1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 txBox="1">
            <a:spLocks/>
          </p:cNvSpPr>
          <p:nvPr/>
        </p:nvSpPr>
        <p:spPr>
          <a:xfrm>
            <a:off x="9171465" y="4521322"/>
            <a:ext cx="2400001" cy="79632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marL="0" indent="0" algn="ctr" defTabSz="818693" rtl="0" eaLnBrk="1" latinLnBrk="0" hangingPunct="1">
              <a:spcBef>
                <a:spcPct val="20000"/>
              </a:spcBef>
              <a:buClr>
                <a:srgbClr val="FF0000"/>
              </a:buClr>
              <a:buFontTx/>
              <a:buNone/>
              <a:defRPr sz="1600" kern="1200" cap="all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05908" indent="-285750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−"/>
              <a:defRPr sz="1400" kern="1200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8280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0800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377077" indent="-285750" algn="l" defTabSz="818693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1584000" indent="-204673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»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6pPr>
            <a:lvl7pPr marL="266075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01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44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1563"/>
            <a:endParaRPr lang="da-DK" sz="2133" cap="none" dirty="0">
              <a:solidFill>
                <a:srgbClr val="FF0000"/>
              </a:solidFill>
            </a:endParaRPr>
          </a:p>
        </p:txBody>
      </p:sp>
      <p:sp>
        <p:nvSpPr>
          <p:cNvPr id="12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 txBox="1">
            <a:spLocks/>
          </p:cNvSpPr>
          <p:nvPr/>
        </p:nvSpPr>
        <p:spPr>
          <a:xfrm>
            <a:off x="3516249" y="4711522"/>
            <a:ext cx="2400001" cy="79632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marL="0" indent="0" algn="ctr" defTabSz="818693" rtl="0" eaLnBrk="1" latinLnBrk="0" hangingPunct="1">
              <a:spcBef>
                <a:spcPct val="20000"/>
              </a:spcBef>
              <a:buClr>
                <a:srgbClr val="FF0000"/>
              </a:buClr>
              <a:buFontTx/>
              <a:buNone/>
              <a:defRPr sz="1600" kern="1200" cap="all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05908" indent="-285750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−"/>
              <a:defRPr sz="1400" kern="1200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8280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0800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377077" indent="-285750" algn="l" defTabSz="818693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1584000" indent="-204673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»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6pPr>
            <a:lvl7pPr marL="266075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01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44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1563"/>
            <a:endParaRPr lang="da-DK" sz="2133" cap="none" dirty="0">
              <a:solidFill>
                <a:srgbClr val="000000"/>
              </a:solidFill>
            </a:endParaRPr>
          </a:p>
        </p:txBody>
      </p:sp>
      <p:sp>
        <p:nvSpPr>
          <p:cNvPr id="15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 txBox="1">
            <a:spLocks/>
          </p:cNvSpPr>
          <p:nvPr/>
        </p:nvSpPr>
        <p:spPr>
          <a:xfrm>
            <a:off x="1089635" y="4695603"/>
            <a:ext cx="1728192" cy="79632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defTabSz="818693" rtl="0" eaLnBrk="1" latinLnBrk="0" hangingPunct="1">
              <a:spcBef>
                <a:spcPct val="20000"/>
              </a:spcBef>
              <a:buClr>
                <a:srgbClr val="FF0000"/>
              </a:buClr>
              <a:buFontTx/>
              <a:buNone/>
              <a:defRPr sz="1600" kern="1200" cap="all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5188" indent="-255842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5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102336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43271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84206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2251407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075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01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44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1563"/>
            <a:endParaRPr lang="da-DK" sz="2133" cap="none" dirty="0">
              <a:solidFill>
                <a:srgbClr val="000000"/>
              </a:solidFill>
            </a:endParaRPr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 txBox="1">
            <a:spLocks/>
          </p:cNvSpPr>
          <p:nvPr/>
        </p:nvSpPr>
        <p:spPr>
          <a:xfrm>
            <a:off x="6503446" y="6260268"/>
            <a:ext cx="2400001" cy="79632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marL="0" indent="0" algn="ctr" defTabSz="818693" rtl="0" eaLnBrk="1" latinLnBrk="0" hangingPunct="1">
              <a:spcBef>
                <a:spcPct val="20000"/>
              </a:spcBef>
              <a:buClr>
                <a:srgbClr val="FF0000"/>
              </a:buClr>
              <a:buFontTx/>
              <a:buNone/>
              <a:defRPr sz="1600" kern="1200" cap="all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05908" indent="-285750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−"/>
              <a:defRPr sz="1400" kern="1200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8280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0800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377077" indent="-285750" algn="l" defTabSz="818693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1584000" indent="-204673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»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6pPr>
            <a:lvl7pPr marL="266075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01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44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1563"/>
            <a:endParaRPr lang="da-DK" sz="2133" cap="none" dirty="0">
              <a:solidFill>
                <a:srgbClr val="000000"/>
              </a:solidFill>
            </a:endParaRPr>
          </a:p>
        </p:txBody>
      </p:sp>
      <p:sp>
        <p:nvSpPr>
          <p:cNvPr id="21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 txBox="1">
            <a:spLocks/>
          </p:cNvSpPr>
          <p:nvPr/>
        </p:nvSpPr>
        <p:spPr>
          <a:xfrm>
            <a:off x="12109529" y="4485118"/>
            <a:ext cx="2400001" cy="79632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marL="0" indent="0" algn="ctr" defTabSz="818693" rtl="0" eaLnBrk="1" latinLnBrk="0" hangingPunct="1">
              <a:spcBef>
                <a:spcPct val="20000"/>
              </a:spcBef>
              <a:buClr>
                <a:srgbClr val="FF0000"/>
              </a:buClr>
              <a:buFontTx/>
              <a:buNone/>
              <a:defRPr sz="1600" kern="1200" cap="all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05908" indent="-285750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−"/>
              <a:defRPr sz="1400" kern="1200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8280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0800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377077" indent="-285750" algn="l" defTabSz="818693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1584000" indent="-204673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»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6pPr>
            <a:lvl7pPr marL="266075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01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44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1563"/>
            <a:endParaRPr lang="da-DK" sz="2133" cap="none" dirty="0">
              <a:solidFill>
                <a:srgbClr val="000000"/>
              </a:solidFill>
            </a:endParaRPr>
          </a:p>
        </p:txBody>
      </p:sp>
      <p:sp>
        <p:nvSpPr>
          <p:cNvPr id="20" name="Afrundet rektangel 19"/>
          <p:cNvSpPr/>
          <p:nvPr/>
        </p:nvSpPr>
        <p:spPr>
          <a:xfrm>
            <a:off x="1871531" y="1658489"/>
            <a:ext cx="8352928" cy="561753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nish gas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torage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is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early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80 pct.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ull</a:t>
            </a:r>
            <a:endParaRPr lang="da-DK" sz="1867" dirty="0"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2" name="Ligebenet trekant 21"/>
          <p:cNvSpPr/>
          <p:nvPr/>
        </p:nvSpPr>
        <p:spPr>
          <a:xfrm rot="5400000">
            <a:off x="1205247" y="1747364"/>
            <a:ext cx="480000" cy="384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endParaRPr lang="da-DK" sz="2133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3" name="Afrundet rektangel 22"/>
          <p:cNvSpPr/>
          <p:nvPr/>
        </p:nvSpPr>
        <p:spPr>
          <a:xfrm>
            <a:off x="1871531" y="2357808"/>
            <a:ext cx="8352928" cy="561753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39% bio gas in the Danish gas system in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ast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12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onths</a:t>
            </a:r>
            <a:endParaRPr lang="da-DK" sz="1867" dirty="0"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4" name="Afrundet rektangel 23"/>
          <p:cNvSpPr/>
          <p:nvPr/>
        </p:nvSpPr>
        <p:spPr>
          <a:xfrm>
            <a:off x="1861112" y="3022080"/>
            <a:ext cx="8352928" cy="561753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Gas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ield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Tyra reopens in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inter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23/24</a:t>
            </a:r>
          </a:p>
        </p:txBody>
      </p:sp>
      <p:sp>
        <p:nvSpPr>
          <p:cNvPr id="25" name="Afrundet rektangel 24"/>
          <p:cNvSpPr/>
          <p:nvPr/>
        </p:nvSpPr>
        <p:spPr>
          <a:xfrm>
            <a:off x="1871531" y="3745242"/>
            <a:ext cx="8352928" cy="561753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ices has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een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igh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urrently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moderate to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low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26" name="Afrundet rektangel 25"/>
          <p:cNvSpPr/>
          <p:nvPr/>
        </p:nvSpPr>
        <p:spPr>
          <a:xfrm>
            <a:off x="1871531" y="4444561"/>
            <a:ext cx="8352928" cy="561753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1563"/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Less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Russian gas, but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uch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more LNG in Europe</a:t>
            </a:r>
          </a:p>
        </p:txBody>
      </p:sp>
      <p:sp>
        <p:nvSpPr>
          <p:cNvPr id="27" name="Afrundet rektangel 26"/>
          <p:cNvSpPr/>
          <p:nvPr/>
        </p:nvSpPr>
        <p:spPr>
          <a:xfrm>
            <a:off x="1861112" y="5075493"/>
            <a:ext cx="8352928" cy="561753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ut gas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duction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measures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re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still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ssential</a:t>
            </a:r>
            <a:endParaRPr lang="da-DK" sz="1867" dirty="0"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8" name="Ligebenet trekant 27"/>
          <p:cNvSpPr/>
          <p:nvPr/>
        </p:nvSpPr>
        <p:spPr>
          <a:xfrm rot="5400000">
            <a:off x="1205247" y="2439487"/>
            <a:ext cx="480000" cy="384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endParaRPr lang="da-DK" sz="2133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9" name="Ligebenet trekant 28"/>
          <p:cNvSpPr/>
          <p:nvPr/>
        </p:nvSpPr>
        <p:spPr>
          <a:xfrm rot="5400000">
            <a:off x="1205247" y="3107791"/>
            <a:ext cx="480000" cy="384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endParaRPr lang="da-DK" sz="2133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0" name="Ligebenet trekant 29"/>
          <p:cNvSpPr/>
          <p:nvPr/>
        </p:nvSpPr>
        <p:spPr>
          <a:xfrm rot="5400000">
            <a:off x="1205247" y="3793241"/>
            <a:ext cx="480000" cy="384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endParaRPr lang="da-DK" sz="2133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1" name="Ligebenet trekant 30"/>
          <p:cNvSpPr/>
          <p:nvPr/>
        </p:nvSpPr>
        <p:spPr>
          <a:xfrm rot="5400000">
            <a:off x="1205247" y="4552861"/>
            <a:ext cx="480000" cy="384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endParaRPr lang="da-DK" sz="2133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2" name="Ligebenet trekant 31"/>
          <p:cNvSpPr/>
          <p:nvPr/>
        </p:nvSpPr>
        <p:spPr>
          <a:xfrm rot="5400000">
            <a:off x="1205247" y="5205245"/>
            <a:ext cx="480000" cy="384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endParaRPr lang="da-DK" sz="2133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74431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8. juni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1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a-DK" sz="3467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Forward </a:t>
            </a:r>
            <a:r>
              <a:rPr lang="da-DK" sz="3467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market</a:t>
            </a:r>
            <a:r>
              <a:rPr lang="da-DK" sz="3467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for gas</a:t>
            </a:r>
            <a:endParaRPr lang="da-DK" sz="3467" cap="none" dirty="0">
              <a:solidFill>
                <a:srgbClr val="FF0000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0" name="Pladsholder til tekst 10"/>
          <p:cNvSpPr>
            <a:spLocks noGrp="1"/>
          </p:cNvSpPr>
          <p:nvPr>
            <p:ph type="body" sz="quarter" idx="12"/>
          </p:nvPr>
        </p:nvSpPr>
        <p:spPr>
          <a:xfrm>
            <a:off x="277483" y="4696915"/>
            <a:ext cx="6144683" cy="1920213"/>
          </a:xfrm>
        </p:spPr>
        <p:txBody>
          <a:bodyPr>
            <a:no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dirty="0" err="1"/>
              <a:t>Current</a:t>
            </a:r>
            <a:r>
              <a:rPr lang="da-DK" dirty="0"/>
              <a:t> situation of </a:t>
            </a:r>
            <a:r>
              <a:rPr lang="da-DK" dirty="0" err="1"/>
              <a:t>expectations</a:t>
            </a:r>
            <a:r>
              <a:rPr lang="da-DK" dirty="0"/>
              <a:t> in the </a:t>
            </a:r>
            <a:r>
              <a:rPr lang="da-DK" dirty="0" err="1"/>
              <a:t>market</a:t>
            </a:r>
            <a:br>
              <a:rPr lang="da-DK" dirty="0"/>
            </a:br>
            <a:endParaRPr lang="da-DK" dirty="0"/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dirty="0"/>
              <a:t>The </a:t>
            </a:r>
            <a:r>
              <a:rPr lang="da-DK" dirty="0" err="1"/>
              <a:t>market</a:t>
            </a:r>
            <a:r>
              <a:rPr lang="da-DK" dirty="0"/>
              <a:t> </a:t>
            </a:r>
            <a:r>
              <a:rPr lang="da-DK" dirty="0" err="1"/>
              <a:t>does</a:t>
            </a:r>
            <a:r>
              <a:rPr lang="da-DK" dirty="0"/>
              <a:t> </a:t>
            </a:r>
            <a:r>
              <a:rPr lang="da-DK" dirty="0" err="1"/>
              <a:t>currently</a:t>
            </a:r>
            <a:r>
              <a:rPr lang="da-DK" dirty="0"/>
              <a:t> not </a:t>
            </a:r>
            <a:r>
              <a:rPr lang="da-DK" dirty="0" err="1"/>
              <a:t>expect</a:t>
            </a:r>
            <a:r>
              <a:rPr lang="da-DK" dirty="0"/>
              <a:t> </a:t>
            </a:r>
            <a:r>
              <a:rPr lang="da-DK" dirty="0" err="1"/>
              <a:t>significant</a:t>
            </a:r>
            <a:r>
              <a:rPr lang="da-DK" dirty="0"/>
              <a:t> </a:t>
            </a:r>
            <a:r>
              <a:rPr lang="da-DK" dirty="0" err="1"/>
              <a:t>increase</a:t>
            </a:r>
            <a:r>
              <a:rPr lang="da-DK" dirty="0"/>
              <a:t> in </a:t>
            </a:r>
            <a:r>
              <a:rPr lang="da-DK" dirty="0" err="1"/>
              <a:t>prices</a:t>
            </a:r>
            <a:r>
              <a:rPr lang="da-DK" dirty="0"/>
              <a:t> the </a:t>
            </a:r>
            <a:r>
              <a:rPr lang="da-DK" dirty="0" err="1"/>
              <a:t>coming</a:t>
            </a:r>
            <a:r>
              <a:rPr lang="da-DK" dirty="0"/>
              <a:t> </a:t>
            </a:r>
            <a:r>
              <a:rPr lang="da-DK" dirty="0" err="1"/>
              <a:t>months</a:t>
            </a:r>
            <a:r>
              <a:rPr lang="da-DK" dirty="0"/>
              <a:t> and </a:t>
            </a:r>
            <a:r>
              <a:rPr lang="da-DK" dirty="0" err="1"/>
              <a:t>years</a:t>
            </a:r>
            <a:r>
              <a:rPr lang="da-DK" dirty="0"/>
              <a:t>. </a:t>
            </a:r>
          </a:p>
        </p:txBody>
      </p:sp>
      <p:pic>
        <p:nvPicPr>
          <p:cNvPr id="7" name="Billed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371" y="1316765"/>
            <a:ext cx="11330317" cy="288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958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8. juni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14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a-DK" sz="3467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Gas </a:t>
            </a:r>
            <a:r>
              <a:rPr lang="da-DK" sz="3467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avings</a:t>
            </a:r>
            <a:r>
              <a:rPr lang="da-DK" sz="3467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trend </a:t>
            </a:r>
            <a:r>
              <a:rPr lang="da-DK" sz="3467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continues</a:t>
            </a:r>
            <a:endParaRPr lang="da-DK" sz="3467" cap="none" dirty="0">
              <a:solidFill>
                <a:srgbClr val="FF0000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1" name="Tekstfelt 10"/>
          <p:cNvSpPr txBox="1"/>
          <p:nvPr/>
        </p:nvSpPr>
        <p:spPr>
          <a:xfrm>
            <a:off x="911424" y="5470699"/>
            <a:ext cx="2592288" cy="1446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1563"/>
            <a:r>
              <a:rPr lang="da-DK" sz="14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Last 12 </a:t>
            </a:r>
            <a:r>
              <a:rPr lang="da-DK" sz="14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onths</a:t>
            </a:r>
            <a:r>
              <a:rPr lang="da-DK" sz="14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:</a:t>
            </a:r>
          </a:p>
          <a:p>
            <a:pPr defTabSz="1091563"/>
            <a:endParaRPr lang="da-DK" sz="1467" dirty="0"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defTabSz="1091563"/>
            <a:r>
              <a:rPr lang="da-DK" sz="14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January</a:t>
            </a:r>
            <a:r>
              <a:rPr lang="da-DK" sz="14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– April 2023:</a:t>
            </a:r>
          </a:p>
          <a:p>
            <a:pPr defTabSz="1091563"/>
            <a:endParaRPr lang="da-DK" sz="1467" dirty="0"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defTabSz="1091563"/>
            <a:endParaRPr lang="da-DK" sz="1467" dirty="0"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defTabSz="1091563"/>
            <a:endParaRPr lang="da-DK" sz="1467" dirty="0"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2" name="Tekstfelt 11"/>
          <p:cNvSpPr txBox="1"/>
          <p:nvPr/>
        </p:nvSpPr>
        <p:spPr>
          <a:xfrm>
            <a:off x="911425" y="4869474"/>
            <a:ext cx="28454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1563"/>
            <a:r>
              <a:rPr lang="da-DK" sz="1600" b="1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duction</a:t>
            </a:r>
            <a:r>
              <a:rPr lang="da-DK" sz="1600" b="1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in gas </a:t>
            </a:r>
            <a:r>
              <a:rPr lang="da-DK" sz="1600" b="1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sumption</a:t>
            </a:r>
            <a:r>
              <a:rPr lang="da-DK" sz="1600" b="1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*</a:t>
            </a:r>
          </a:p>
        </p:txBody>
      </p:sp>
      <p:sp>
        <p:nvSpPr>
          <p:cNvPr id="13" name="Tekstfelt 12"/>
          <p:cNvSpPr txBox="1"/>
          <p:nvPr/>
        </p:nvSpPr>
        <p:spPr>
          <a:xfrm>
            <a:off x="5615016" y="5583549"/>
            <a:ext cx="3230161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1563"/>
            <a:r>
              <a:rPr lang="da-DK" sz="14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ote: Pipeline gas, </a:t>
            </a:r>
            <a:r>
              <a:rPr lang="da-DK" sz="14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eing</a:t>
            </a:r>
            <a:r>
              <a:rPr lang="da-DK" sz="14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4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atural</a:t>
            </a:r>
            <a:r>
              <a:rPr lang="da-DK" sz="14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 gas + </a:t>
            </a:r>
            <a:r>
              <a:rPr lang="da-DK" sz="14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pgraded</a:t>
            </a:r>
            <a:r>
              <a:rPr lang="da-DK" sz="14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bio gas</a:t>
            </a:r>
          </a:p>
        </p:txBody>
      </p:sp>
      <p:sp>
        <p:nvSpPr>
          <p:cNvPr id="14" name="Tekstfelt 13"/>
          <p:cNvSpPr txBox="1"/>
          <p:nvPr/>
        </p:nvSpPr>
        <p:spPr>
          <a:xfrm>
            <a:off x="3119669" y="5470699"/>
            <a:ext cx="864096" cy="769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1563"/>
            <a:r>
              <a:rPr lang="da-DK" sz="14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23 pct.</a:t>
            </a:r>
          </a:p>
          <a:p>
            <a:pPr defTabSz="1091563"/>
            <a:endParaRPr lang="da-DK" sz="1467" dirty="0"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defTabSz="1091563"/>
            <a:r>
              <a:rPr lang="da-DK" sz="14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24 pct. </a:t>
            </a:r>
          </a:p>
        </p:txBody>
      </p:sp>
      <p:pic>
        <p:nvPicPr>
          <p:cNvPr id="7" name="Billed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3499" y="1237372"/>
            <a:ext cx="8851900" cy="3581400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1958070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8. juni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15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a-DK" sz="3467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”Energy </a:t>
            </a:r>
            <a:r>
              <a:rPr lang="da-DK" sz="3467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avings</a:t>
            </a:r>
            <a:r>
              <a:rPr lang="da-DK" sz="3467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-scenario” for gas </a:t>
            </a:r>
            <a:r>
              <a:rPr lang="da-DK" sz="3467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upply</a:t>
            </a:r>
            <a:endParaRPr lang="da-DK" sz="3467" cap="none" dirty="0">
              <a:solidFill>
                <a:srgbClr val="FF0000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5520" y="1193947"/>
            <a:ext cx="7991008" cy="5067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687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8. juni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16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a-DK" sz="3467" cap="none" dirty="0">
              <a:solidFill>
                <a:srgbClr val="19767D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  <a:p>
            <a:r>
              <a:rPr lang="da-DK" sz="3467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”Main scenario” for gas </a:t>
            </a:r>
            <a:r>
              <a:rPr lang="da-DK" sz="3467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upply</a:t>
            </a:r>
            <a:endParaRPr lang="da-DK" sz="3467" cap="none" dirty="0">
              <a:solidFill>
                <a:srgbClr val="FF0000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  <a:p>
            <a:endParaRPr lang="da-DK" sz="3467" cap="none" dirty="0">
              <a:solidFill>
                <a:srgbClr val="FF0000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9510" y="1226978"/>
            <a:ext cx="8227516" cy="5150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21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8B094E77-980B-4C1F-8178-AD8CF5CFAF4B}" type="datetime1">
              <a:rPr lang="en-US">
                <a:solidFill>
                  <a:srgbClr val="000000"/>
                </a:solidFill>
              </a:rPr>
              <a:pPr defTabSz="1091563"/>
              <a:t>6/8/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Pag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17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SoS</a:t>
            </a:r>
            <a:r>
              <a:rPr lang="en-US" dirty="0"/>
              <a:t>-Regulation (2017/1938) mandatory update of risk assessments and plans every four years.</a:t>
            </a:r>
          </a:p>
          <a:p>
            <a:r>
              <a:rPr lang="en-US" dirty="0"/>
              <a:t>National risk assessment: N-1 calculation incl. Tyra = 332 %</a:t>
            </a:r>
          </a:p>
          <a:p>
            <a:r>
              <a:rPr lang="en-US" dirty="0"/>
              <a:t>Regional risk assessment: S-1 scenario shows need of 15 pct. demand-reduction to prevent curtailment.</a:t>
            </a:r>
          </a:p>
          <a:p>
            <a:r>
              <a:rPr lang="en-US" dirty="0"/>
              <a:t>Emergency plan and Preventive action plan: update is currently taking place.</a:t>
            </a:r>
          </a:p>
          <a:p>
            <a:endParaRPr lang="en-US" dirty="0"/>
          </a:p>
          <a:p>
            <a:r>
              <a:rPr lang="en-US" dirty="0"/>
              <a:t>Process Emergency plan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dirty="0"/>
              <a:t>Workshops and meetings with Energine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dirty="0"/>
              <a:t>Stakeholder involvement – non-protected costumers, shippers, NRA, GSD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dirty="0"/>
              <a:t>Consultation on final draft – Risk Group, neighboring countries, the public.</a:t>
            </a:r>
          </a:p>
        </p:txBody>
      </p:sp>
      <p:grpSp>
        <p:nvGrpSpPr>
          <p:cNvPr id="6" name="Gruppe 5"/>
          <p:cNvGrpSpPr/>
          <p:nvPr/>
        </p:nvGrpSpPr>
        <p:grpSpPr>
          <a:xfrm>
            <a:off x="8208235" y="3236979"/>
            <a:ext cx="3360373" cy="2145143"/>
            <a:chOff x="3995936" y="3003798"/>
            <a:chExt cx="2520280" cy="1608857"/>
          </a:xfrm>
        </p:grpSpPr>
        <p:pic>
          <p:nvPicPr>
            <p:cNvPr id="7" name="Billede 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95936" y="3003798"/>
              <a:ext cx="2520280" cy="1608857"/>
            </a:xfrm>
            <a:prstGeom prst="rect">
              <a:avLst/>
            </a:prstGeom>
          </p:spPr>
        </p:pic>
        <p:sp>
          <p:nvSpPr>
            <p:cNvPr id="8" name="Tekstfelt 7"/>
            <p:cNvSpPr txBox="1"/>
            <p:nvPr/>
          </p:nvSpPr>
          <p:spPr>
            <a:xfrm>
              <a:off x="4076143" y="3408141"/>
              <a:ext cx="2359866" cy="800171"/>
            </a:xfrm>
            <a:custGeom>
              <a:avLst/>
              <a:gdLst>
                <a:gd name="connsiteX0" fmla="*/ 0 w 1944216"/>
                <a:gd name="connsiteY0" fmla="*/ 0 h 253916"/>
                <a:gd name="connsiteX1" fmla="*/ 1944216 w 1944216"/>
                <a:gd name="connsiteY1" fmla="*/ 0 h 253916"/>
                <a:gd name="connsiteX2" fmla="*/ 1944216 w 1944216"/>
                <a:gd name="connsiteY2" fmla="*/ 253916 h 253916"/>
                <a:gd name="connsiteX3" fmla="*/ 0 w 1944216"/>
                <a:gd name="connsiteY3" fmla="*/ 253916 h 253916"/>
                <a:gd name="connsiteX4" fmla="*/ 0 w 1944216"/>
                <a:gd name="connsiteY4" fmla="*/ 0 h 253916"/>
                <a:gd name="connsiteX0" fmla="*/ 0 w 1944216"/>
                <a:gd name="connsiteY0" fmla="*/ 0 h 253916"/>
                <a:gd name="connsiteX1" fmla="*/ 1944216 w 1944216"/>
                <a:gd name="connsiteY1" fmla="*/ 0 h 253916"/>
                <a:gd name="connsiteX2" fmla="*/ 1944216 w 1944216"/>
                <a:gd name="connsiteY2" fmla="*/ 253916 h 253916"/>
                <a:gd name="connsiteX3" fmla="*/ 0 w 1944216"/>
                <a:gd name="connsiteY3" fmla="*/ 253916 h 253916"/>
                <a:gd name="connsiteX4" fmla="*/ 0 w 1944216"/>
                <a:gd name="connsiteY4" fmla="*/ 0 h 253916"/>
                <a:gd name="connsiteX0" fmla="*/ 53719 w 1997935"/>
                <a:gd name="connsiteY0" fmla="*/ 0 h 253916"/>
                <a:gd name="connsiteX1" fmla="*/ 1997935 w 1997935"/>
                <a:gd name="connsiteY1" fmla="*/ 0 h 253916"/>
                <a:gd name="connsiteX2" fmla="*/ 1997935 w 1997935"/>
                <a:gd name="connsiteY2" fmla="*/ 253916 h 253916"/>
                <a:gd name="connsiteX3" fmla="*/ 53719 w 1997935"/>
                <a:gd name="connsiteY3" fmla="*/ 253916 h 253916"/>
                <a:gd name="connsiteX4" fmla="*/ 53719 w 1997935"/>
                <a:gd name="connsiteY4" fmla="*/ 0 h 253916"/>
                <a:gd name="connsiteX0" fmla="*/ 53719 w 2110045"/>
                <a:gd name="connsiteY0" fmla="*/ 0 h 253916"/>
                <a:gd name="connsiteX1" fmla="*/ 1997935 w 2110045"/>
                <a:gd name="connsiteY1" fmla="*/ 0 h 253916"/>
                <a:gd name="connsiteX2" fmla="*/ 1997935 w 2110045"/>
                <a:gd name="connsiteY2" fmla="*/ 253916 h 253916"/>
                <a:gd name="connsiteX3" fmla="*/ 53719 w 2110045"/>
                <a:gd name="connsiteY3" fmla="*/ 253916 h 253916"/>
                <a:gd name="connsiteX4" fmla="*/ 53719 w 2110045"/>
                <a:gd name="connsiteY4" fmla="*/ 0 h 253916"/>
                <a:gd name="connsiteX0" fmla="*/ 53719 w 2110045"/>
                <a:gd name="connsiteY0" fmla="*/ 0 h 730384"/>
                <a:gd name="connsiteX1" fmla="*/ 1997935 w 2110045"/>
                <a:gd name="connsiteY1" fmla="*/ 0 h 730384"/>
                <a:gd name="connsiteX2" fmla="*/ 1997935 w 2110045"/>
                <a:gd name="connsiteY2" fmla="*/ 253916 h 730384"/>
                <a:gd name="connsiteX3" fmla="*/ 53719 w 2110045"/>
                <a:gd name="connsiteY3" fmla="*/ 253916 h 730384"/>
                <a:gd name="connsiteX4" fmla="*/ 53719 w 2110045"/>
                <a:gd name="connsiteY4" fmla="*/ 0 h 730384"/>
                <a:gd name="connsiteX0" fmla="*/ 53719 w 2188800"/>
                <a:gd name="connsiteY0" fmla="*/ 0 h 838079"/>
                <a:gd name="connsiteX1" fmla="*/ 1997935 w 2188800"/>
                <a:gd name="connsiteY1" fmla="*/ 0 h 838079"/>
                <a:gd name="connsiteX2" fmla="*/ 2097783 w 2188800"/>
                <a:gd name="connsiteY2" fmla="*/ 395806 h 838079"/>
                <a:gd name="connsiteX3" fmla="*/ 53719 w 2188800"/>
                <a:gd name="connsiteY3" fmla="*/ 253916 h 838079"/>
                <a:gd name="connsiteX4" fmla="*/ 53719 w 2188800"/>
                <a:gd name="connsiteY4" fmla="*/ 0 h 838079"/>
                <a:gd name="connsiteX0" fmla="*/ 53719 w 2173696"/>
                <a:gd name="connsiteY0" fmla="*/ 373117 h 1211196"/>
                <a:gd name="connsiteX1" fmla="*/ 1892832 w 2173696"/>
                <a:gd name="connsiteY1" fmla="*/ 0 h 1211196"/>
                <a:gd name="connsiteX2" fmla="*/ 2097783 w 2173696"/>
                <a:gd name="connsiteY2" fmla="*/ 768923 h 1211196"/>
                <a:gd name="connsiteX3" fmla="*/ 53719 w 2173696"/>
                <a:gd name="connsiteY3" fmla="*/ 627033 h 1211196"/>
                <a:gd name="connsiteX4" fmla="*/ 53719 w 2173696"/>
                <a:gd name="connsiteY4" fmla="*/ 373117 h 1211196"/>
                <a:gd name="connsiteX0" fmla="*/ 47662 w 2167639"/>
                <a:gd name="connsiteY0" fmla="*/ 373117 h 1308469"/>
                <a:gd name="connsiteX1" fmla="*/ 1886775 w 2167639"/>
                <a:gd name="connsiteY1" fmla="*/ 0 h 1308469"/>
                <a:gd name="connsiteX2" fmla="*/ 2091726 w 2167639"/>
                <a:gd name="connsiteY2" fmla="*/ 768923 h 1308469"/>
                <a:gd name="connsiteX3" fmla="*/ 73938 w 2167639"/>
                <a:gd name="connsiteY3" fmla="*/ 984385 h 1308469"/>
                <a:gd name="connsiteX4" fmla="*/ 47662 w 2167639"/>
                <a:gd name="connsiteY4" fmla="*/ 373117 h 1308469"/>
                <a:gd name="connsiteX0" fmla="*/ 55117 w 2143563"/>
                <a:gd name="connsiteY0" fmla="*/ 105103 h 1308469"/>
                <a:gd name="connsiteX1" fmla="*/ 1862699 w 2143563"/>
                <a:gd name="connsiteY1" fmla="*/ 0 h 1308469"/>
                <a:gd name="connsiteX2" fmla="*/ 2067650 w 2143563"/>
                <a:gd name="connsiteY2" fmla="*/ 768923 h 1308469"/>
                <a:gd name="connsiteX3" fmla="*/ 49862 w 2143563"/>
                <a:gd name="connsiteY3" fmla="*/ 984385 h 1308469"/>
                <a:gd name="connsiteX4" fmla="*/ 55117 w 2143563"/>
                <a:gd name="connsiteY4" fmla="*/ 105103 h 1308469"/>
                <a:gd name="connsiteX0" fmla="*/ 199900 w 2288346"/>
                <a:gd name="connsiteY0" fmla="*/ 105103 h 1308469"/>
                <a:gd name="connsiteX1" fmla="*/ 2007482 w 2288346"/>
                <a:gd name="connsiteY1" fmla="*/ 0 h 1308469"/>
                <a:gd name="connsiteX2" fmla="*/ 2212433 w 2288346"/>
                <a:gd name="connsiteY2" fmla="*/ 768923 h 1308469"/>
                <a:gd name="connsiteX3" fmla="*/ 194645 w 2288346"/>
                <a:gd name="connsiteY3" fmla="*/ 984385 h 1308469"/>
                <a:gd name="connsiteX4" fmla="*/ 199900 w 2288346"/>
                <a:gd name="connsiteY4" fmla="*/ 105103 h 1308469"/>
                <a:gd name="connsiteX0" fmla="*/ 199900 w 2273875"/>
                <a:gd name="connsiteY0" fmla="*/ 105103 h 1308469"/>
                <a:gd name="connsiteX1" fmla="*/ 2007482 w 2273875"/>
                <a:gd name="connsiteY1" fmla="*/ 0 h 1308469"/>
                <a:gd name="connsiteX2" fmla="*/ 2212433 w 2273875"/>
                <a:gd name="connsiteY2" fmla="*/ 768923 h 1308469"/>
                <a:gd name="connsiteX3" fmla="*/ 194645 w 2273875"/>
                <a:gd name="connsiteY3" fmla="*/ 984385 h 1308469"/>
                <a:gd name="connsiteX4" fmla="*/ 199900 w 2273875"/>
                <a:gd name="connsiteY4" fmla="*/ 105103 h 1308469"/>
                <a:gd name="connsiteX0" fmla="*/ 199900 w 2273875"/>
                <a:gd name="connsiteY0" fmla="*/ 229053 h 1432419"/>
                <a:gd name="connsiteX1" fmla="*/ 2007482 w 2273875"/>
                <a:gd name="connsiteY1" fmla="*/ 123950 h 1432419"/>
                <a:gd name="connsiteX2" fmla="*/ 2212433 w 2273875"/>
                <a:gd name="connsiteY2" fmla="*/ 892873 h 1432419"/>
                <a:gd name="connsiteX3" fmla="*/ 194645 w 2273875"/>
                <a:gd name="connsiteY3" fmla="*/ 1108335 h 1432419"/>
                <a:gd name="connsiteX4" fmla="*/ 199900 w 2273875"/>
                <a:gd name="connsiteY4" fmla="*/ 229053 h 1432419"/>
                <a:gd name="connsiteX0" fmla="*/ 199900 w 2273875"/>
                <a:gd name="connsiteY0" fmla="*/ 281785 h 1485151"/>
                <a:gd name="connsiteX1" fmla="*/ 2007482 w 2273875"/>
                <a:gd name="connsiteY1" fmla="*/ 176682 h 1485151"/>
                <a:gd name="connsiteX2" fmla="*/ 2212433 w 2273875"/>
                <a:gd name="connsiteY2" fmla="*/ 945605 h 1485151"/>
                <a:gd name="connsiteX3" fmla="*/ 194645 w 2273875"/>
                <a:gd name="connsiteY3" fmla="*/ 1161067 h 1485151"/>
                <a:gd name="connsiteX4" fmla="*/ 199900 w 2273875"/>
                <a:gd name="connsiteY4" fmla="*/ 281785 h 1485151"/>
                <a:gd name="connsiteX0" fmla="*/ 199900 w 2273875"/>
                <a:gd name="connsiteY0" fmla="*/ 281785 h 1521105"/>
                <a:gd name="connsiteX1" fmla="*/ 2007482 w 2273875"/>
                <a:gd name="connsiteY1" fmla="*/ 176682 h 1521105"/>
                <a:gd name="connsiteX2" fmla="*/ 2212433 w 2273875"/>
                <a:gd name="connsiteY2" fmla="*/ 945605 h 1521105"/>
                <a:gd name="connsiteX3" fmla="*/ 194645 w 2273875"/>
                <a:gd name="connsiteY3" fmla="*/ 1161067 h 1521105"/>
                <a:gd name="connsiteX4" fmla="*/ 199900 w 2273875"/>
                <a:gd name="connsiteY4" fmla="*/ 281785 h 1521105"/>
                <a:gd name="connsiteX0" fmla="*/ 186968 w 2260943"/>
                <a:gd name="connsiteY0" fmla="*/ 281785 h 1515400"/>
                <a:gd name="connsiteX1" fmla="*/ 1994550 w 2260943"/>
                <a:gd name="connsiteY1" fmla="*/ 176682 h 1515400"/>
                <a:gd name="connsiteX2" fmla="*/ 2199501 w 2260943"/>
                <a:gd name="connsiteY2" fmla="*/ 945605 h 1515400"/>
                <a:gd name="connsiteX3" fmla="*/ 234265 w 2260943"/>
                <a:gd name="connsiteY3" fmla="*/ 1145302 h 1515400"/>
                <a:gd name="connsiteX4" fmla="*/ 186968 w 2260943"/>
                <a:gd name="connsiteY4" fmla="*/ 281785 h 1515400"/>
                <a:gd name="connsiteX0" fmla="*/ 194522 w 2268497"/>
                <a:gd name="connsiteY0" fmla="*/ 281785 h 1530851"/>
                <a:gd name="connsiteX1" fmla="*/ 2002104 w 2268497"/>
                <a:gd name="connsiteY1" fmla="*/ 176682 h 1530851"/>
                <a:gd name="connsiteX2" fmla="*/ 2207055 w 2268497"/>
                <a:gd name="connsiteY2" fmla="*/ 945605 h 1530851"/>
                <a:gd name="connsiteX3" fmla="*/ 210288 w 2268497"/>
                <a:gd name="connsiteY3" fmla="*/ 1187343 h 1530851"/>
                <a:gd name="connsiteX4" fmla="*/ 194522 w 2268497"/>
                <a:gd name="connsiteY4" fmla="*/ 281785 h 1530851"/>
                <a:gd name="connsiteX0" fmla="*/ 184576 w 2258551"/>
                <a:gd name="connsiteY0" fmla="*/ 281785 h 1526916"/>
                <a:gd name="connsiteX1" fmla="*/ 1992158 w 2258551"/>
                <a:gd name="connsiteY1" fmla="*/ 176682 h 1526916"/>
                <a:gd name="connsiteX2" fmla="*/ 2197109 w 2258551"/>
                <a:gd name="connsiteY2" fmla="*/ 945605 h 1526916"/>
                <a:gd name="connsiteX3" fmla="*/ 242384 w 2258551"/>
                <a:gd name="connsiteY3" fmla="*/ 1176833 h 1526916"/>
                <a:gd name="connsiteX4" fmla="*/ 184576 w 2258551"/>
                <a:gd name="connsiteY4" fmla="*/ 281785 h 1526916"/>
                <a:gd name="connsiteX0" fmla="*/ 203421 w 2277396"/>
                <a:gd name="connsiteY0" fmla="*/ 281785 h 1526916"/>
                <a:gd name="connsiteX1" fmla="*/ 2011003 w 2277396"/>
                <a:gd name="connsiteY1" fmla="*/ 176682 h 1526916"/>
                <a:gd name="connsiteX2" fmla="*/ 2215954 w 2277396"/>
                <a:gd name="connsiteY2" fmla="*/ 945605 h 1526916"/>
                <a:gd name="connsiteX3" fmla="*/ 261229 w 2277396"/>
                <a:gd name="connsiteY3" fmla="*/ 1176833 h 1526916"/>
                <a:gd name="connsiteX4" fmla="*/ 203421 w 2277396"/>
                <a:gd name="connsiteY4" fmla="*/ 281785 h 1526916"/>
                <a:gd name="connsiteX0" fmla="*/ 203421 w 2277396"/>
                <a:gd name="connsiteY0" fmla="*/ 281785 h 1515963"/>
                <a:gd name="connsiteX1" fmla="*/ 2011003 w 2277396"/>
                <a:gd name="connsiteY1" fmla="*/ 176682 h 1515963"/>
                <a:gd name="connsiteX2" fmla="*/ 2215954 w 2277396"/>
                <a:gd name="connsiteY2" fmla="*/ 945605 h 1515963"/>
                <a:gd name="connsiteX3" fmla="*/ 261229 w 2277396"/>
                <a:gd name="connsiteY3" fmla="*/ 1176833 h 1515963"/>
                <a:gd name="connsiteX4" fmla="*/ 203421 w 2277396"/>
                <a:gd name="connsiteY4" fmla="*/ 281785 h 1515963"/>
                <a:gd name="connsiteX0" fmla="*/ 203421 w 2277396"/>
                <a:gd name="connsiteY0" fmla="*/ 281785 h 1398052"/>
                <a:gd name="connsiteX1" fmla="*/ 2011003 w 2277396"/>
                <a:gd name="connsiteY1" fmla="*/ 176682 h 1398052"/>
                <a:gd name="connsiteX2" fmla="*/ 2215954 w 2277396"/>
                <a:gd name="connsiteY2" fmla="*/ 945605 h 1398052"/>
                <a:gd name="connsiteX3" fmla="*/ 261229 w 2277396"/>
                <a:gd name="connsiteY3" fmla="*/ 1176833 h 1398052"/>
                <a:gd name="connsiteX4" fmla="*/ 203421 w 2277396"/>
                <a:gd name="connsiteY4" fmla="*/ 281785 h 1398052"/>
                <a:gd name="connsiteX0" fmla="*/ 203421 w 2258729"/>
                <a:gd name="connsiteY0" fmla="*/ 281785 h 1401171"/>
                <a:gd name="connsiteX1" fmla="*/ 2011003 w 2258729"/>
                <a:gd name="connsiteY1" fmla="*/ 176682 h 1401171"/>
                <a:gd name="connsiteX2" fmla="*/ 2194934 w 2258729"/>
                <a:gd name="connsiteY2" fmla="*/ 950861 h 1401171"/>
                <a:gd name="connsiteX3" fmla="*/ 261229 w 2258729"/>
                <a:gd name="connsiteY3" fmla="*/ 1176833 h 1401171"/>
                <a:gd name="connsiteX4" fmla="*/ 203421 w 2258729"/>
                <a:gd name="connsiteY4" fmla="*/ 281785 h 1401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8729" h="1401171">
                  <a:moveTo>
                    <a:pt x="203421" y="281785"/>
                  </a:moveTo>
                  <a:cubicBezTo>
                    <a:pt x="679823" y="15524"/>
                    <a:pt x="1056380" y="-140381"/>
                    <a:pt x="2011003" y="176682"/>
                  </a:cubicBezTo>
                  <a:cubicBezTo>
                    <a:pt x="2011003" y="261321"/>
                    <a:pt x="2410396" y="608718"/>
                    <a:pt x="2194934" y="950861"/>
                  </a:cubicBezTo>
                  <a:cubicBezTo>
                    <a:pt x="1447013" y="1744392"/>
                    <a:pt x="410059" y="1266171"/>
                    <a:pt x="261229" y="1176833"/>
                  </a:cubicBezTo>
                  <a:cubicBezTo>
                    <a:pt x="171891" y="1039642"/>
                    <a:pt x="-243269" y="786838"/>
                    <a:pt x="203421" y="281785"/>
                  </a:cubicBezTo>
                  <a:close/>
                </a:path>
              </a:pathLst>
            </a:custGeom>
            <a:noFill/>
          </p:spPr>
          <p:txBody>
            <a:bodyPr wrap="square" rtlCol="0" anchor="ctr">
              <a:spAutoFit/>
            </a:bodyPr>
            <a:lstStyle/>
            <a:p>
              <a:pPr algn="ctr" defTabSz="1091563"/>
              <a:r>
                <a:rPr lang="en-US" sz="1400" dirty="0">
                  <a:solidFill>
                    <a:srgbClr val="000000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onsultation </a:t>
              </a:r>
              <a:r>
                <a:rPr lang="en-US" sz="1400" dirty="0">
                  <a:solidFill>
                    <a:srgbClr val="000000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  <a:hlinkClick r:id="rId3"/>
                </a:rPr>
                <a:t>www.ens.dk</a:t>
              </a:r>
              <a:r>
                <a:rPr lang="en-US" sz="1400" dirty="0">
                  <a:solidFill>
                    <a:srgbClr val="000000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</a:t>
              </a:r>
            </a:p>
            <a:p>
              <a:pPr algn="ctr" defTabSz="1091563"/>
              <a:endParaRPr lang="en-US" sz="1400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  <a:p>
              <a:pPr algn="ctr" defTabSz="1091563"/>
              <a:r>
                <a:rPr lang="en-US" sz="2133" b="1" dirty="0">
                  <a:solidFill>
                    <a:srgbClr val="000000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a. 6</a:t>
              </a:r>
              <a:r>
                <a:rPr lang="en-US" sz="2133" b="1" baseline="30000" dirty="0">
                  <a:solidFill>
                    <a:srgbClr val="000000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h</a:t>
              </a:r>
              <a:r>
                <a:rPr lang="en-US" sz="2133" b="1" dirty="0">
                  <a:solidFill>
                    <a:srgbClr val="000000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July – 17</a:t>
              </a:r>
              <a:r>
                <a:rPr lang="en-US" sz="2133" b="1" baseline="30000" dirty="0">
                  <a:solidFill>
                    <a:srgbClr val="000000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h</a:t>
              </a:r>
              <a:r>
                <a:rPr lang="en-US" sz="2133" b="1" dirty="0">
                  <a:solidFill>
                    <a:srgbClr val="000000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 August</a:t>
              </a:r>
            </a:p>
            <a:p>
              <a:pPr algn="ctr" defTabSz="1091563"/>
              <a:endParaRPr lang="en-US" sz="1400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sp>
        <p:nvSpPr>
          <p:cNvPr id="9" name="Pladsholder til tekst 3"/>
          <p:cNvSpPr txBox="1">
            <a:spLocks/>
          </p:cNvSpPr>
          <p:nvPr/>
        </p:nvSpPr>
        <p:spPr>
          <a:xfrm>
            <a:off x="1169091" y="354781"/>
            <a:ext cx="10800000" cy="83573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marL="0" indent="0" algn="l" defTabSz="818693" rtl="0" eaLnBrk="1" latinLnBrk="0" hangingPunct="1">
              <a:spcBef>
                <a:spcPct val="20000"/>
              </a:spcBef>
              <a:buClr>
                <a:srgbClr val="FF0000"/>
              </a:buClr>
              <a:buFontTx/>
              <a:buNone/>
              <a:defRPr sz="2400" b="0" kern="1200" cap="all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05908" indent="-285750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−"/>
              <a:defRPr sz="1400" kern="1200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828000" indent="-204673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ο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080000" indent="-204673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»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377077" indent="-285750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▪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1584000" indent="-204673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»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6pPr>
            <a:lvl7pPr marL="266075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01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44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1563"/>
            <a:r>
              <a:rPr lang="da-DK" sz="3467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Update of Danish Emergency Supply Plan</a:t>
            </a:r>
            <a:endParaRPr lang="da-DK" sz="3467" cap="none" dirty="0">
              <a:solidFill>
                <a:srgbClr val="FF0000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5639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586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U Security of Supply</a:t>
            </a:r>
            <a:endParaRPr lang="da-DK" sz="2667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a-DK" dirty="0"/>
              <a:t>Status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prstClr val="white"/>
                </a:solidFill>
              </a:rPr>
              <a:pPr defTabSz="1091563"/>
              <a:t>8. juni 2023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prstClr val="white"/>
                </a:solidFill>
              </a:rPr>
              <a:t>Side </a:t>
            </a:r>
            <a:fld id="{8E044AEF-F590-47CE-BE8F-5C241A59BA2A}" type="slidenum">
              <a:rPr lang="da-DK">
                <a:solidFill>
                  <a:prstClr val="white"/>
                </a:solidFill>
              </a:rPr>
              <a:pPr defTabSz="1091563"/>
              <a:t>18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61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8. juni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19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a-DK" dirty="0"/>
              <a:t>EU REGULATION on SECURITY of SUPPLY from 2022</a:t>
            </a:r>
          </a:p>
        </p:txBody>
      </p:sp>
      <p:sp>
        <p:nvSpPr>
          <p:cNvPr id="5" name="Højrepil 4"/>
          <p:cNvSpPr/>
          <p:nvPr/>
        </p:nvSpPr>
        <p:spPr>
          <a:xfrm>
            <a:off x="239349" y="3044957"/>
            <a:ext cx="11664096" cy="86409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2133" dirty="0">
                <a:solidFill>
                  <a:prstClr val="white"/>
                </a:solidFill>
                <a:latin typeface="Arial"/>
              </a:rPr>
              <a:t>2022</a:t>
            </a:r>
          </a:p>
        </p:txBody>
      </p:sp>
      <p:sp>
        <p:nvSpPr>
          <p:cNvPr id="6" name="Rektangel 5"/>
          <p:cNvSpPr/>
          <p:nvPr/>
        </p:nvSpPr>
        <p:spPr>
          <a:xfrm>
            <a:off x="527382" y="1700807"/>
            <a:ext cx="1632181" cy="11521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333" dirty="0">
                <a:solidFill>
                  <a:prstClr val="white"/>
                </a:solidFill>
                <a:latin typeface="Arial"/>
              </a:rPr>
              <a:t>23 MARCH</a:t>
            </a:r>
          </a:p>
          <a:p>
            <a:pPr algn="ctr" defTabSz="1091563"/>
            <a:r>
              <a:rPr lang="da-DK" sz="1333" dirty="0" err="1">
                <a:solidFill>
                  <a:prstClr val="white"/>
                </a:solidFill>
                <a:latin typeface="Arial"/>
              </a:rPr>
              <a:t>Proposal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for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amending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SoS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Regulation</a:t>
            </a:r>
            <a:endParaRPr lang="da-DK" sz="1333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" name="Rektangel 6"/>
          <p:cNvSpPr/>
          <p:nvPr/>
        </p:nvSpPr>
        <p:spPr>
          <a:xfrm>
            <a:off x="2457558" y="1700807"/>
            <a:ext cx="1632181" cy="11521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333" dirty="0">
                <a:solidFill>
                  <a:prstClr val="white"/>
                </a:solidFill>
                <a:latin typeface="Arial"/>
              </a:rPr>
              <a:t>20 JULY</a:t>
            </a:r>
          </a:p>
          <a:p>
            <a:pPr algn="ctr" defTabSz="1091563"/>
            <a:r>
              <a:rPr lang="da-DK" sz="1333" dirty="0" err="1">
                <a:solidFill>
                  <a:prstClr val="white"/>
                </a:solidFill>
                <a:latin typeface="Arial"/>
              </a:rPr>
              <a:t>Proposal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for Save Gas for a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Safe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Vinter</a:t>
            </a:r>
          </a:p>
        </p:txBody>
      </p:sp>
      <p:sp>
        <p:nvSpPr>
          <p:cNvPr id="8" name="Rektangel 7"/>
          <p:cNvSpPr/>
          <p:nvPr/>
        </p:nvSpPr>
        <p:spPr>
          <a:xfrm>
            <a:off x="3396767" y="4244830"/>
            <a:ext cx="1632181" cy="12572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333" dirty="0">
                <a:solidFill>
                  <a:prstClr val="white"/>
                </a:solidFill>
                <a:latin typeface="Arial"/>
              </a:rPr>
              <a:t>5 AUGUST</a:t>
            </a:r>
          </a:p>
          <a:p>
            <a:pPr algn="ctr" defTabSz="1091563"/>
            <a:r>
              <a:rPr lang="da-DK" sz="1333" dirty="0">
                <a:solidFill>
                  <a:prstClr val="white"/>
                </a:solidFill>
                <a:latin typeface="Arial"/>
              </a:rPr>
              <a:t>Adoption of Gas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Reduction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Regulation</a:t>
            </a:r>
            <a:endParaRPr lang="da-DK" sz="1333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Rektangel 8"/>
          <p:cNvSpPr/>
          <p:nvPr/>
        </p:nvSpPr>
        <p:spPr>
          <a:xfrm>
            <a:off x="1560098" y="4244830"/>
            <a:ext cx="1632181" cy="12572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333" dirty="0">
                <a:solidFill>
                  <a:prstClr val="white"/>
                </a:solidFill>
                <a:latin typeface="Arial"/>
              </a:rPr>
              <a:t>27 JUNE</a:t>
            </a:r>
          </a:p>
          <a:p>
            <a:pPr algn="ctr" defTabSz="1091563"/>
            <a:r>
              <a:rPr lang="da-DK" sz="1333" dirty="0">
                <a:solidFill>
                  <a:prstClr val="white"/>
                </a:solidFill>
                <a:latin typeface="Arial"/>
              </a:rPr>
              <a:t>Adoption of Gas Storage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Regulation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</a:t>
            </a:r>
          </a:p>
        </p:txBody>
      </p:sp>
      <p:sp>
        <p:nvSpPr>
          <p:cNvPr id="10" name="Rektangel 9"/>
          <p:cNvSpPr/>
          <p:nvPr/>
        </p:nvSpPr>
        <p:spPr>
          <a:xfrm>
            <a:off x="4281671" y="1708714"/>
            <a:ext cx="1632181" cy="11655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333" dirty="0">
                <a:solidFill>
                  <a:prstClr val="white"/>
                </a:solidFill>
                <a:latin typeface="Arial"/>
              </a:rPr>
              <a:t>14 SEPTEMBER</a:t>
            </a:r>
          </a:p>
          <a:p>
            <a:pPr algn="ctr" defTabSz="1091563"/>
            <a:r>
              <a:rPr lang="da-DK" sz="1333" dirty="0" err="1">
                <a:solidFill>
                  <a:prstClr val="white"/>
                </a:solidFill>
                <a:latin typeface="Arial"/>
              </a:rPr>
              <a:t>Proposal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for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emergency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intervention on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high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energy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prices</a:t>
            </a:r>
            <a:endParaRPr lang="da-DK" sz="1333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9859218" y="4283949"/>
            <a:ext cx="1632181" cy="12760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333" dirty="0">
                <a:solidFill>
                  <a:prstClr val="white"/>
                </a:solidFill>
                <a:latin typeface="Arial"/>
              </a:rPr>
              <a:t>19 DECEMBER</a:t>
            </a:r>
          </a:p>
          <a:p>
            <a:pPr algn="ctr" defTabSz="1091563"/>
            <a:r>
              <a:rPr lang="da-DK" sz="1333" dirty="0" err="1">
                <a:solidFill>
                  <a:prstClr val="white"/>
                </a:solidFill>
                <a:latin typeface="Arial"/>
              </a:rPr>
              <a:t>Political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agreement on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outstanding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emergency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measures</a:t>
            </a:r>
          </a:p>
        </p:txBody>
      </p:sp>
      <p:sp>
        <p:nvSpPr>
          <p:cNvPr id="12" name="Rektangel 11"/>
          <p:cNvSpPr/>
          <p:nvPr/>
        </p:nvSpPr>
        <p:spPr>
          <a:xfrm>
            <a:off x="5297804" y="4250478"/>
            <a:ext cx="1632181" cy="12572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333" dirty="0">
                <a:solidFill>
                  <a:prstClr val="white"/>
                </a:solidFill>
                <a:latin typeface="Arial"/>
              </a:rPr>
              <a:t>6 OCTOBER</a:t>
            </a:r>
          </a:p>
          <a:p>
            <a:pPr algn="ctr" defTabSz="1091563"/>
            <a:r>
              <a:rPr lang="da-DK" sz="1333" dirty="0">
                <a:solidFill>
                  <a:prstClr val="white"/>
                </a:solidFill>
                <a:latin typeface="Arial"/>
              </a:rPr>
              <a:t>Adoption of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emergency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regulation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on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high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energy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prices</a:t>
            </a:r>
            <a:endParaRPr lang="da-DK" sz="1333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3" name="Rektangel 12"/>
          <p:cNvSpPr/>
          <p:nvPr/>
        </p:nvSpPr>
        <p:spPr>
          <a:xfrm>
            <a:off x="9690884" y="1682098"/>
            <a:ext cx="1632181" cy="11655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333" dirty="0">
                <a:solidFill>
                  <a:prstClr val="white"/>
                </a:solidFill>
                <a:latin typeface="Arial"/>
              </a:rPr>
              <a:t>19 NOVEMBER</a:t>
            </a:r>
          </a:p>
          <a:p>
            <a:pPr algn="ctr" defTabSz="1091563"/>
            <a:r>
              <a:rPr lang="da-DK" sz="1333" dirty="0" err="1">
                <a:solidFill>
                  <a:prstClr val="white"/>
                </a:solidFill>
                <a:latin typeface="Arial"/>
              </a:rPr>
              <a:t>Proposal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for a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market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correction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mechanism</a:t>
            </a:r>
            <a:endParaRPr lang="da-DK" sz="1333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Rektangel 13"/>
          <p:cNvSpPr/>
          <p:nvPr/>
        </p:nvSpPr>
        <p:spPr>
          <a:xfrm>
            <a:off x="6071398" y="1705879"/>
            <a:ext cx="1632181" cy="11521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333" dirty="0">
                <a:solidFill>
                  <a:prstClr val="white"/>
                </a:solidFill>
                <a:latin typeface="Arial"/>
              </a:rPr>
              <a:t>18 OCTOBER</a:t>
            </a:r>
          </a:p>
          <a:p>
            <a:pPr algn="ctr" defTabSz="1091563"/>
            <a:r>
              <a:rPr lang="da-DK" sz="1333" dirty="0" err="1">
                <a:solidFill>
                  <a:prstClr val="white"/>
                </a:solidFill>
                <a:latin typeface="Arial"/>
              </a:rPr>
              <a:t>Additional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proposal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on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high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gas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prices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and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security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of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supply</a:t>
            </a:r>
            <a:endParaRPr lang="da-DK" sz="1333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5" name="Rektangel 14"/>
          <p:cNvSpPr/>
          <p:nvPr/>
        </p:nvSpPr>
        <p:spPr>
          <a:xfrm>
            <a:off x="7898334" y="1700806"/>
            <a:ext cx="1632181" cy="11468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333" dirty="0">
                <a:solidFill>
                  <a:prstClr val="white"/>
                </a:solidFill>
                <a:latin typeface="Arial"/>
              </a:rPr>
              <a:t>9 NOVEMBER</a:t>
            </a:r>
          </a:p>
          <a:p>
            <a:pPr algn="ctr" defTabSz="1091563"/>
            <a:r>
              <a:rPr lang="da-DK" sz="1333" dirty="0" err="1">
                <a:solidFill>
                  <a:prstClr val="white"/>
                </a:solidFill>
                <a:latin typeface="Arial"/>
              </a:rPr>
              <a:t>Proposal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to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accellerate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deployment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of </a:t>
            </a:r>
            <a:r>
              <a:rPr lang="da-DK" sz="1333" dirty="0" err="1">
                <a:solidFill>
                  <a:prstClr val="white"/>
                </a:solidFill>
                <a:latin typeface="Arial"/>
              </a:rPr>
              <a:t>renewables</a:t>
            </a:r>
            <a:r>
              <a:rPr lang="da-DK" sz="1333" dirty="0">
                <a:solidFill>
                  <a:prstClr val="white"/>
                </a:solidFill>
                <a:latin typeface="Arial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60481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DA380995-358E-41B2-B89B-F9B6A90AF78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pPr algn="ctr"/>
            <a:r>
              <a:rPr lang="da-DK" sz="2800" dirty="0"/>
              <a:t>MUTE YOUR MICROPHONE, WHEN YOU DON’T SPEAK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E5159768-2852-4768-AC89-C0A895A70A5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pPr algn="ctr"/>
            <a:r>
              <a:rPr lang="da-DK" sz="2800" dirty="0"/>
              <a:t>SWITCH ON YOUR CAMERA, ONLY WHEN YOU ARE GIVEN THE WORD TO SPEAK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4559119B-8A2B-4D38-895C-94613854DA4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pPr algn="ctr"/>
            <a:r>
              <a:rPr lang="da-DK" sz="2800" dirty="0"/>
              <a:t>…YOU CAN ALSO WRITE YOUR QUESTION USING THE CHAT - THE HOST WILL ASK THE QUESTION FOR YOU</a:t>
            </a:r>
          </a:p>
        </p:txBody>
      </p:sp>
      <p:sp>
        <p:nvSpPr>
          <p:cNvPr id="9" name="Pladsholder til tekst 8">
            <a:extLst>
              <a:ext uri="{FF2B5EF4-FFF2-40B4-BE49-F238E27FC236}">
                <a16:creationId xmlns:a16="http://schemas.microsoft.com/office/drawing/2014/main" id="{4A55168E-A32B-462C-A49C-57B05602610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pPr algn="ctr"/>
            <a:r>
              <a:rPr lang="da-DK" sz="2800" dirty="0"/>
              <a:t>USE THE ‘RAISE HAND’ FUNCTION IF YOU WISH TO COMMENT OR ASK A QUESTION…</a:t>
            </a:r>
          </a:p>
        </p:txBody>
      </p:sp>
      <p:pic>
        <p:nvPicPr>
          <p:cNvPr id="10" name="Pladsholder til billede 28">
            <a:extLst>
              <a:ext uri="{FF2B5EF4-FFF2-40B4-BE49-F238E27FC236}">
                <a16:creationId xmlns:a16="http://schemas.microsoft.com/office/drawing/2014/main" id="{574AB287-8E34-456A-8CB6-0D21B37A6024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8" r="1128"/>
          <a:stretch>
            <a:fillRect/>
          </a:stretch>
        </p:blipFill>
        <p:spPr>
          <a:xfrm>
            <a:off x="2436707" y="460840"/>
            <a:ext cx="1152000" cy="1152000"/>
          </a:xfrm>
          <a:prstGeom prst="rect">
            <a:avLst/>
          </a:prstGeom>
        </p:spPr>
      </p:pic>
      <p:pic>
        <p:nvPicPr>
          <p:cNvPr id="11" name="Pladsholder til billede 24">
            <a:extLst>
              <a:ext uri="{FF2B5EF4-FFF2-40B4-BE49-F238E27FC236}">
                <a16:creationId xmlns:a16="http://schemas.microsoft.com/office/drawing/2014/main" id="{3FE401F7-4F3F-475A-B0BB-46F41491F988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" r="69"/>
          <a:stretch>
            <a:fillRect/>
          </a:stretch>
        </p:blipFill>
        <p:spPr>
          <a:xfrm>
            <a:off x="8616790" y="460840"/>
            <a:ext cx="1152000" cy="1152000"/>
          </a:xfrm>
          <a:prstGeom prst="rect">
            <a:avLst/>
          </a:prstGeom>
        </p:spPr>
      </p:pic>
      <p:pic>
        <p:nvPicPr>
          <p:cNvPr id="12" name="Billede 11" descr="Et billede, der indeholder lys&#10;&#10;Automatisk genereret beskrivelse">
            <a:extLst>
              <a:ext uri="{FF2B5EF4-FFF2-40B4-BE49-F238E27FC236}">
                <a16:creationId xmlns:a16="http://schemas.microsoft.com/office/drawing/2014/main" id="{347E5651-6947-44B1-9177-F58EB985ED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1785" y="3672415"/>
            <a:ext cx="1261844" cy="1261844"/>
          </a:xfrm>
          <a:prstGeom prst="rect">
            <a:avLst/>
          </a:prstGeom>
        </p:spPr>
      </p:pic>
      <p:pic>
        <p:nvPicPr>
          <p:cNvPr id="13" name="Pladsholder til billede 14" descr="Et billede, der indeholder skilt&#10;&#10;Automatisk genereret beskrivelse">
            <a:extLst>
              <a:ext uri="{FF2B5EF4-FFF2-40B4-BE49-F238E27FC236}">
                <a16:creationId xmlns:a16="http://schemas.microsoft.com/office/drawing/2014/main" id="{6CBD7287-B6C2-4F99-A7A5-4A0D4B4E0C18}"/>
              </a:ext>
            </a:extLst>
          </p:cNvPr>
          <p:cNvPicPr>
            <a:picLocks noChangeAspect="1"/>
          </p:cNvPicPr>
          <p:nvPr/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616790" y="3831868"/>
            <a:ext cx="1152000" cy="1152000"/>
          </a:xfrm>
          <a:prstGeom prst="rect">
            <a:avLst/>
          </a:prstGeom>
        </p:spPr>
      </p:pic>
      <p:cxnSp>
        <p:nvCxnSpPr>
          <p:cNvPr id="14" name="Lige forbindelse 13">
            <a:extLst>
              <a:ext uri="{FF2B5EF4-FFF2-40B4-BE49-F238E27FC236}">
                <a16:creationId xmlns:a16="http://schemas.microsoft.com/office/drawing/2014/main" id="{B7AF61F7-1096-460E-9075-0EB0A143C109}"/>
              </a:ext>
            </a:extLst>
          </p:cNvPr>
          <p:cNvCxnSpPr>
            <a:cxnSpLocks/>
          </p:cNvCxnSpPr>
          <p:nvPr/>
        </p:nvCxnSpPr>
        <p:spPr>
          <a:xfrm>
            <a:off x="2527976" y="638031"/>
            <a:ext cx="969462" cy="79761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73080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3445" y="1205418"/>
            <a:ext cx="9555368" cy="5170149"/>
          </a:xfrm>
          <a:prstGeom prst="rect">
            <a:avLst/>
          </a:prstGeom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8. juni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20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Extended </a:t>
            </a:r>
            <a:r>
              <a:rPr lang="da-DK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regulation</a:t>
            </a:r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</a:t>
            </a:r>
            <a:r>
              <a:rPr lang="da-DK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hould</a:t>
            </a:r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</a:t>
            </a:r>
            <a:r>
              <a:rPr lang="da-DK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ensure</a:t>
            </a:r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</a:t>
            </a:r>
            <a:r>
              <a:rPr lang="da-DK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torag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41739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8. juni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21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EU </a:t>
            </a:r>
            <a:r>
              <a:rPr lang="da-DK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regulation</a:t>
            </a:r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has </a:t>
            </a:r>
            <a:r>
              <a:rPr lang="da-DK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proved</a:t>
            </a:r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</a:t>
            </a:r>
            <a:r>
              <a:rPr lang="da-DK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effective</a:t>
            </a:r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</a:t>
            </a:r>
            <a:endParaRPr lang="da-DK" dirty="0"/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3446" y="1188312"/>
            <a:ext cx="9094889" cy="509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51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8. juni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22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a-DK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Reductions</a:t>
            </a:r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in gas </a:t>
            </a:r>
            <a:r>
              <a:rPr lang="da-DK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use</a:t>
            </a:r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</a:t>
            </a:r>
            <a:r>
              <a:rPr lang="da-DK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remains</a:t>
            </a:r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</a:t>
            </a:r>
            <a:r>
              <a:rPr lang="da-DK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important</a:t>
            </a:r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for </a:t>
            </a:r>
            <a:r>
              <a:rPr lang="da-DK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oS</a:t>
            </a:r>
            <a:endParaRPr lang="da-DK" dirty="0"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pic>
        <p:nvPicPr>
          <p:cNvPr id="6" name="Billede 5"/>
          <p:cNvPicPr/>
          <p:nvPr/>
        </p:nvPicPr>
        <p:blipFill>
          <a:blip r:embed="rId2"/>
          <a:stretch>
            <a:fillRect/>
          </a:stretch>
        </p:blipFill>
        <p:spPr>
          <a:xfrm>
            <a:off x="1010995" y="1176511"/>
            <a:ext cx="10392808" cy="5271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558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586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U </a:t>
            </a:r>
            <a:r>
              <a:rPr lang="da-DK" sz="5867" dirty="0" err="1">
                <a:latin typeface="Segoe UI Semibold" panose="020B0702040204020203" pitchFamily="34" charset="0"/>
                <a:cs typeface="Segoe UI Semibold" panose="020B0702040204020203" pitchFamily="34" charset="0"/>
              </a:rPr>
              <a:t>Aggregated</a:t>
            </a:r>
            <a:r>
              <a:rPr lang="da-DK" sz="586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da-DK" sz="5867" dirty="0" err="1">
                <a:latin typeface="Segoe UI Semibold" panose="020B0702040204020203" pitchFamily="34" charset="0"/>
                <a:cs typeface="Segoe UI Semibold" panose="020B0702040204020203" pitchFamily="34" charset="0"/>
              </a:rPr>
              <a:t>Demand</a:t>
            </a:r>
            <a:endParaRPr lang="da-DK" sz="2667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a-DK" dirty="0"/>
              <a:t>Status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prstClr val="white"/>
                </a:solidFill>
              </a:rPr>
              <a:pPr defTabSz="1091563"/>
              <a:t>8. juni 2023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prstClr val="white"/>
                </a:solidFill>
              </a:rPr>
              <a:t>Side </a:t>
            </a:r>
            <a:fld id="{8E044AEF-F590-47CE-BE8F-5C241A59BA2A}" type="slidenum">
              <a:rPr lang="da-DK">
                <a:solidFill>
                  <a:prstClr val="white"/>
                </a:solidFill>
              </a:rPr>
              <a:pPr defTabSz="1091563"/>
              <a:t>23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7100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8. juni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24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b="1" dirty="0"/>
              <a:t>Purpose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dirty="0" err="1"/>
              <a:t>Demand</a:t>
            </a:r>
            <a:r>
              <a:rPr lang="da-DK" dirty="0"/>
              <a:t> </a:t>
            </a:r>
            <a:r>
              <a:rPr lang="da-DK" dirty="0" err="1"/>
              <a:t>aggregation</a:t>
            </a:r>
            <a:r>
              <a:rPr lang="da-DK" dirty="0"/>
              <a:t> and a joint tender of gas </a:t>
            </a:r>
            <a:r>
              <a:rPr lang="da-DK" dirty="0" err="1"/>
              <a:t>quantities</a:t>
            </a:r>
            <a:r>
              <a:rPr lang="da-DK" dirty="0"/>
              <a:t>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dirty="0"/>
              <a:t>To </a:t>
            </a:r>
            <a:r>
              <a:rPr lang="da-DK" dirty="0" err="1"/>
              <a:t>secure</a:t>
            </a:r>
            <a:r>
              <a:rPr lang="da-DK" dirty="0"/>
              <a:t> gas </a:t>
            </a:r>
            <a:r>
              <a:rPr lang="da-DK" dirty="0" err="1"/>
              <a:t>supply</a:t>
            </a:r>
            <a:r>
              <a:rPr lang="da-DK" dirty="0"/>
              <a:t> and to </a:t>
            </a:r>
            <a:r>
              <a:rPr lang="da-DK" dirty="0" err="1"/>
              <a:t>achieve</a:t>
            </a:r>
            <a:r>
              <a:rPr lang="da-DK" dirty="0"/>
              <a:t> fair </a:t>
            </a:r>
            <a:r>
              <a:rPr lang="da-DK" dirty="0" err="1"/>
              <a:t>prices</a:t>
            </a:r>
            <a:r>
              <a:rPr lang="da-DK" dirty="0"/>
              <a:t> on gas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dirty="0" err="1"/>
              <a:t>Both</a:t>
            </a:r>
            <a:r>
              <a:rPr lang="da-DK" dirty="0"/>
              <a:t> gas </a:t>
            </a:r>
            <a:r>
              <a:rPr lang="da-DK" dirty="0" err="1"/>
              <a:t>shippers</a:t>
            </a:r>
            <a:r>
              <a:rPr lang="da-DK" dirty="0"/>
              <a:t>, gas </a:t>
            </a:r>
            <a:r>
              <a:rPr lang="da-DK" dirty="0" err="1"/>
              <a:t>traders</a:t>
            </a:r>
            <a:r>
              <a:rPr lang="da-DK" dirty="0"/>
              <a:t>, gas </a:t>
            </a:r>
            <a:r>
              <a:rPr lang="da-DK" dirty="0" err="1"/>
              <a:t>suppliers</a:t>
            </a:r>
            <a:r>
              <a:rPr lang="da-DK" dirty="0"/>
              <a:t> and </a:t>
            </a:r>
            <a:r>
              <a:rPr lang="da-DK" dirty="0" err="1"/>
              <a:t>consumers</a:t>
            </a:r>
            <a:r>
              <a:rPr lang="da-DK" dirty="0"/>
              <a:t> </a:t>
            </a:r>
            <a:r>
              <a:rPr lang="da-DK" dirty="0" err="1"/>
              <a:t>can</a:t>
            </a:r>
            <a:r>
              <a:rPr lang="da-DK" dirty="0"/>
              <a:t> </a:t>
            </a:r>
            <a:r>
              <a:rPr lang="da-DK" dirty="0" err="1"/>
              <a:t>participate</a:t>
            </a:r>
            <a:r>
              <a:rPr lang="da-DK" dirty="0"/>
              <a:t>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dirty="0"/>
              <a:t>The EU </a:t>
            </a:r>
            <a:r>
              <a:rPr lang="da-DK" dirty="0" err="1"/>
              <a:t>Commission</a:t>
            </a:r>
            <a:r>
              <a:rPr lang="da-DK" dirty="0"/>
              <a:t> have </a:t>
            </a:r>
            <a:r>
              <a:rPr lang="da-DK" dirty="0" err="1"/>
              <a:t>agreed</a:t>
            </a:r>
            <a:r>
              <a:rPr lang="da-DK" dirty="0"/>
              <a:t> </a:t>
            </a:r>
            <a:r>
              <a:rPr lang="da-DK" dirty="0" err="1"/>
              <a:t>that</a:t>
            </a:r>
            <a:r>
              <a:rPr lang="da-DK" dirty="0"/>
              <a:t> </a:t>
            </a:r>
            <a:r>
              <a:rPr lang="da-DK" dirty="0" err="1"/>
              <a:t>Prisma</a:t>
            </a:r>
            <a:r>
              <a:rPr lang="da-DK" dirty="0"/>
              <a:t> </a:t>
            </a:r>
            <a:r>
              <a:rPr lang="da-DK" dirty="0" err="1"/>
              <a:t>will</a:t>
            </a:r>
            <a:r>
              <a:rPr lang="da-DK" dirty="0"/>
              <a:t> </a:t>
            </a:r>
            <a:r>
              <a:rPr lang="da-DK" dirty="0" err="1"/>
              <a:t>be</a:t>
            </a:r>
            <a:r>
              <a:rPr lang="da-DK" dirty="0"/>
              <a:t> the </a:t>
            </a:r>
            <a:r>
              <a:rPr lang="da-DK" dirty="0" err="1"/>
              <a:t>provider</a:t>
            </a:r>
            <a:r>
              <a:rPr lang="da-DK" dirty="0"/>
              <a:t> of the </a:t>
            </a:r>
            <a:r>
              <a:rPr lang="da-DK" dirty="0" err="1"/>
              <a:t>energy</a:t>
            </a:r>
            <a:r>
              <a:rPr lang="da-DK" dirty="0"/>
              <a:t> platform of joint </a:t>
            </a:r>
            <a:r>
              <a:rPr lang="da-DK" dirty="0" err="1"/>
              <a:t>purchases</a:t>
            </a:r>
            <a:r>
              <a:rPr lang="da-DK" dirty="0"/>
              <a:t> of gas , </a:t>
            </a:r>
            <a:r>
              <a:rPr lang="da-DK" dirty="0" err="1"/>
              <a:t>AggregateEU</a:t>
            </a:r>
            <a:r>
              <a:rPr lang="da-DK" dirty="0"/>
              <a:t> – </a:t>
            </a:r>
            <a:r>
              <a:rPr lang="da-DK" dirty="0" err="1"/>
              <a:t>both</a:t>
            </a:r>
            <a:r>
              <a:rPr lang="da-DK" dirty="0"/>
              <a:t> </a:t>
            </a:r>
            <a:r>
              <a:rPr lang="da-DK" dirty="0" err="1"/>
              <a:t>buyers</a:t>
            </a:r>
            <a:r>
              <a:rPr lang="da-DK" dirty="0"/>
              <a:t> and </a:t>
            </a:r>
            <a:r>
              <a:rPr lang="da-DK" dirty="0" err="1"/>
              <a:t>providers</a:t>
            </a:r>
            <a:r>
              <a:rPr lang="da-DK" dirty="0"/>
              <a:t> </a:t>
            </a:r>
            <a:r>
              <a:rPr lang="da-DK" dirty="0" err="1"/>
              <a:t>can</a:t>
            </a:r>
            <a:r>
              <a:rPr lang="da-DK" dirty="0"/>
              <a:t> register on the platform to </a:t>
            </a:r>
            <a:r>
              <a:rPr lang="da-DK" dirty="0" err="1"/>
              <a:t>participate</a:t>
            </a:r>
            <a:r>
              <a:rPr lang="da-DK" dirty="0"/>
              <a:t>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a-DK" dirty="0"/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dirty="0"/>
              <a:t>Denmark is </a:t>
            </a:r>
            <a:r>
              <a:rPr lang="da-DK" dirty="0" err="1"/>
              <a:t>obliged</a:t>
            </a:r>
            <a:r>
              <a:rPr lang="da-DK" dirty="0"/>
              <a:t> to have a </a:t>
            </a:r>
            <a:r>
              <a:rPr lang="da-DK" dirty="0" err="1"/>
              <a:t>demand</a:t>
            </a:r>
            <a:r>
              <a:rPr lang="da-DK" dirty="0"/>
              <a:t> </a:t>
            </a:r>
            <a:r>
              <a:rPr lang="da-DK" dirty="0" err="1"/>
              <a:t>aggregation</a:t>
            </a:r>
            <a:r>
              <a:rPr lang="da-DK" dirty="0"/>
              <a:t> on 15% of the </a:t>
            </a:r>
            <a:r>
              <a:rPr lang="da-DK" dirty="0" err="1"/>
              <a:t>stock</a:t>
            </a:r>
            <a:r>
              <a:rPr lang="da-DK" dirty="0"/>
              <a:t> </a:t>
            </a:r>
            <a:r>
              <a:rPr lang="da-DK" dirty="0" err="1"/>
              <a:t>filling</a:t>
            </a:r>
            <a:r>
              <a:rPr lang="da-DK" dirty="0"/>
              <a:t> </a:t>
            </a:r>
            <a:r>
              <a:rPr lang="da-DK" dirty="0" err="1"/>
              <a:t>requirement</a:t>
            </a:r>
            <a:r>
              <a:rPr lang="da-DK" dirty="0"/>
              <a:t> (1,33 </a:t>
            </a:r>
            <a:r>
              <a:rPr lang="da-DK" dirty="0" err="1"/>
              <a:t>TWh</a:t>
            </a:r>
            <a:r>
              <a:rPr lang="da-DK" dirty="0"/>
              <a:t>/</a:t>
            </a:r>
            <a:r>
              <a:rPr lang="da-DK" dirty="0" err="1"/>
              <a:t>year</a:t>
            </a:r>
            <a:r>
              <a:rPr lang="da-DK" dirty="0"/>
              <a:t>). The </a:t>
            </a:r>
            <a:r>
              <a:rPr lang="da-DK" dirty="0" err="1"/>
              <a:t>companies</a:t>
            </a:r>
            <a:r>
              <a:rPr lang="da-DK" dirty="0"/>
              <a:t> </a:t>
            </a:r>
            <a:r>
              <a:rPr lang="da-DK" dirty="0" err="1"/>
              <a:t>are</a:t>
            </a:r>
            <a:r>
              <a:rPr lang="da-DK" dirty="0"/>
              <a:t> not </a:t>
            </a:r>
            <a:r>
              <a:rPr lang="da-DK" dirty="0" err="1"/>
              <a:t>obliged</a:t>
            </a:r>
            <a:r>
              <a:rPr lang="da-DK" dirty="0"/>
              <a:t> to </a:t>
            </a:r>
            <a:r>
              <a:rPr lang="da-DK" dirty="0" err="1"/>
              <a:t>buy</a:t>
            </a:r>
            <a:r>
              <a:rPr lang="da-DK" dirty="0"/>
              <a:t> the </a:t>
            </a:r>
            <a:r>
              <a:rPr lang="da-DK" dirty="0" err="1"/>
              <a:t>tendered</a:t>
            </a:r>
            <a:r>
              <a:rPr lang="da-DK" dirty="0"/>
              <a:t> </a:t>
            </a:r>
            <a:r>
              <a:rPr lang="da-DK" dirty="0" err="1"/>
              <a:t>amounts</a:t>
            </a:r>
            <a:r>
              <a:rPr lang="da-DK" dirty="0"/>
              <a:t> of gas on the platform </a:t>
            </a:r>
            <a:r>
              <a:rPr lang="da-DK" dirty="0" err="1"/>
              <a:t>even</a:t>
            </a:r>
            <a:r>
              <a:rPr lang="da-DK" dirty="0"/>
              <a:t> </a:t>
            </a:r>
            <a:r>
              <a:rPr lang="da-DK" dirty="0" err="1"/>
              <a:t>though</a:t>
            </a:r>
            <a:r>
              <a:rPr lang="da-DK" dirty="0"/>
              <a:t> </a:t>
            </a:r>
            <a:r>
              <a:rPr lang="da-DK" dirty="0" err="1"/>
              <a:t>they</a:t>
            </a:r>
            <a:r>
              <a:rPr lang="da-DK" dirty="0"/>
              <a:t> have </a:t>
            </a:r>
            <a:r>
              <a:rPr lang="da-DK" dirty="0" err="1"/>
              <a:t>registered</a:t>
            </a:r>
            <a:r>
              <a:rPr lang="da-DK" dirty="0"/>
              <a:t> on the platform </a:t>
            </a:r>
          </a:p>
        </p:txBody>
      </p:sp>
      <p:sp>
        <p:nvSpPr>
          <p:cNvPr id="7" name="Rektangel 6"/>
          <p:cNvSpPr/>
          <p:nvPr/>
        </p:nvSpPr>
        <p:spPr>
          <a:xfrm>
            <a:off x="287446" y="452670"/>
            <a:ext cx="497443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91563"/>
            <a:r>
              <a:rPr lang="da-DK" sz="3200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Aggregated</a:t>
            </a:r>
            <a:r>
              <a:rPr lang="da-DK" sz="3200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EU </a:t>
            </a:r>
            <a:r>
              <a:rPr lang="da-DK" sz="3200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demand</a:t>
            </a:r>
            <a:endParaRPr lang="da-DK" sz="32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5465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8. juni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25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14"/>
          </p:nvPr>
        </p:nvSpPr>
        <p:spPr>
          <a:xfrm>
            <a:off x="287446" y="1566508"/>
            <a:ext cx="4464405" cy="4560000"/>
          </a:xfrm>
        </p:spPr>
        <p:txBody>
          <a:bodyPr/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dirty="0"/>
              <a:t>The 25th of April – 3th of May 2023, </a:t>
            </a:r>
            <a:r>
              <a:rPr lang="da-DK" dirty="0" err="1"/>
              <a:t>hereafter</a:t>
            </a:r>
            <a:r>
              <a:rPr lang="da-DK" dirty="0"/>
              <a:t> the </a:t>
            </a:r>
            <a:r>
              <a:rPr lang="da-DK" dirty="0" err="1"/>
              <a:t>following</a:t>
            </a:r>
            <a:r>
              <a:rPr lang="da-DK" dirty="0"/>
              <a:t> </a:t>
            </a:r>
            <a:r>
              <a:rPr lang="da-DK" dirty="0" err="1"/>
              <a:t>matching</a:t>
            </a:r>
            <a:r>
              <a:rPr lang="da-DK" dirty="0"/>
              <a:t> of </a:t>
            </a:r>
            <a:r>
              <a:rPr lang="da-DK" dirty="0" err="1"/>
              <a:t>buyers</a:t>
            </a:r>
            <a:r>
              <a:rPr lang="da-DK" dirty="0"/>
              <a:t> and </a:t>
            </a:r>
            <a:r>
              <a:rPr lang="da-DK" dirty="0" err="1"/>
              <a:t>suppliers</a:t>
            </a:r>
            <a:r>
              <a:rPr lang="da-DK" dirty="0"/>
              <a:t> </a:t>
            </a:r>
            <a:r>
              <a:rPr lang="da-DK" dirty="0" err="1"/>
              <a:t>took</a:t>
            </a:r>
            <a:r>
              <a:rPr lang="da-DK" dirty="0"/>
              <a:t> </a:t>
            </a:r>
            <a:r>
              <a:rPr lang="da-DK" dirty="0" err="1"/>
              <a:t>place</a:t>
            </a:r>
            <a:endParaRPr lang="da-DK" dirty="0"/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dirty="0" err="1"/>
              <a:t>Buyers</a:t>
            </a:r>
            <a:r>
              <a:rPr lang="da-DK" dirty="0"/>
              <a:t> and </a:t>
            </a:r>
            <a:r>
              <a:rPr lang="da-DK" dirty="0" err="1"/>
              <a:t>suppliers</a:t>
            </a:r>
            <a:r>
              <a:rPr lang="da-DK" dirty="0"/>
              <a:t> </a:t>
            </a:r>
            <a:r>
              <a:rPr lang="da-DK" dirty="0" err="1"/>
              <a:t>negotiate</a:t>
            </a:r>
            <a:r>
              <a:rPr lang="da-DK" dirty="0"/>
              <a:t> the </a:t>
            </a:r>
            <a:r>
              <a:rPr lang="da-DK" dirty="0" err="1"/>
              <a:t>contract</a:t>
            </a:r>
            <a:r>
              <a:rPr lang="da-DK" dirty="0"/>
              <a:t> </a:t>
            </a:r>
            <a:r>
              <a:rPr lang="da-DK" dirty="0" err="1"/>
              <a:t>outside</a:t>
            </a:r>
            <a:r>
              <a:rPr lang="da-DK" dirty="0"/>
              <a:t> the platform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dirty="0"/>
              <a:t>101 </a:t>
            </a:r>
            <a:r>
              <a:rPr lang="da-DK" dirty="0" err="1"/>
              <a:t>companies</a:t>
            </a:r>
            <a:r>
              <a:rPr lang="da-DK" dirty="0"/>
              <a:t> have </a:t>
            </a:r>
            <a:r>
              <a:rPr lang="da-DK" dirty="0" err="1"/>
              <a:t>registered</a:t>
            </a:r>
            <a:r>
              <a:rPr lang="da-DK" dirty="0"/>
              <a:t> on </a:t>
            </a:r>
            <a:r>
              <a:rPr lang="da-DK" dirty="0" err="1"/>
              <a:t>Aggregate</a:t>
            </a:r>
            <a:r>
              <a:rPr lang="da-DK" dirty="0"/>
              <a:t> EU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b="1" dirty="0" err="1"/>
              <a:t>Supplies</a:t>
            </a:r>
            <a:r>
              <a:rPr lang="da-DK" b="1" dirty="0"/>
              <a:t>: </a:t>
            </a:r>
            <a:r>
              <a:rPr lang="da-DK" dirty="0"/>
              <a:t>25 </a:t>
            </a:r>
            <a:r>
              <a:rPr lang="da-DK" dirty="0" err="1"/>
              <a:t>suppliers</a:t>
            </a:r>
            <a:r>
              <a:rPr lang="da-DK" dirty="0"/>
              <a:t>, 13,4 </a:t>
            </a:r>
            <a:r>
              <a:rPr lang="da-DK" dirty="0" err="1"/>
              <a:t>bcm</a:t>
            </a:r>
            <a:r>
              <a:rPr lang="da-DK" dirty="0"/>
              <a:t>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b="1" dirty="0" err="1"/>
              <a:t>Matched</a:t>
            </a:r>
            <a:r>
              <a:rPr lang="da-DK" b="1" dirty="0"/>
              <a:t>: </a:t>
            </a:r>
            <a:r>
              <a:rPr lang="da-DK" dirty="0"/>
              <a:t>10,9 </a:t>
            </a:r>
            <a:r>
              <a:rPr lang="da-DK" dirty="0" err="1"/>
              <a:t>bcm</a:t>
            </a:r>
            <a:r>
              <a:rPr lang="da-DK" dirty="0"/>
              <a:t>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dirty="0"/>
              <a:t>The tender </a:t>
            </a:r>
            <a:r>
              <a:rPr lang="da-DK" dirty="0" err="1"/>
              <a:t>rounds</a:t>
            </a:r>
            <a:r>
              <a:rPr lang="da-DK" dirty="0"/>
              <a:t> </a:t>
            </a:r>
            <a:r>
              <a:rPr lang="da-DK" dirty="0" err="1"/>
              <a:t>will</a:t>
            </a:r>
            <a:r>
              <a:rPr lang="da-DK" dirty="0"/>
              <a:t> </a:t>
            </a:r>
            <a:r>
              <a:rPr lang="da-DK" dirty="0" err="1"/>
              <a:t>be</a:t>
            </a:r>
            <a:r>
              <a:rPr lang="da-DK" dirty="0"/>
              <a:t> </a:t>
            </a:r>
            <a:r>
              <a:rPr lang="da-DK" dirty="0" err="1"/>
              <a:t>repeated</a:t>
            </a:r>
            <a:r>
              <a:rPr lang="da-DK" dirty="0"/>
              <a:t> </a:t>
            </a:r>
            <a:r>
              <a:rPr lang="da-DK" dirty="0" err="1"/>
              <a:t>every</a:t>
            </a:r>
            <a:r>
              <a:rPr lang="da-DK" dirty="0"/>
              <a:t> </a:t>
            </a:r>
            <a:r>
              <a:rPr lang="da-DK" dirty="0" err="1"/>
              <a:t>second</a:t>
            </a:r>
            <a:r>
              <a:rPr lang="da-DK" dirty="0"/>
              <a:t> </a:t>
            </a:r>
            <a:r>
              <a:rPr lang="da-DK" dirty="0" err="1"/>
              <a:t>month</a:t>
            </a:r>
            <a:r>
              <a:rPr lang="da-DK" dirty="0"/>
              <a:t> – </a:t>
            </a:r>
            <a:r>
              <a:rPr lang="da-DK" dirty="0" err="1"/>
              <a:t>next</a:t>
            </a:r>
            <a:r>
              <a:rPr lang="da-DK" dirty="0"/>
              <a:t> </a:t>
            </a:r>
            <a:r>
              <a:rPr lang="da-DK" dirty="0" err="1"/>
              <a:t>round</a:t>
            </a:r>
            <a:r>
              <a:rPr lang="da-DK" dirty="0"/>
              <a:t> </a:t>
            </a:r>
            <a:r>
              <a:rPr lang="da-DK" dirty="0" err="1"/>
              <a:t>will</a:t>
            </a:r>
            <a:r>
              <a:rPr lang="da-DK" dirty="0"/>
              <a:t> </a:t>
            </a:r>
            <a:r>
              <a:rPr lang="da-DK" dirty="0" err="1"/>
              <a:t>be</a:t>
            </a:r>
            <a:r>
              <a:rPr lang="da-DK" dirty="0"/>
              <a:t> in the end of June 2023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a-DK" dirty="0"/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3873" y="2180861"/>
            <a:ext cx="6810735" cy="2592288"/>
          </a:xfrm>
          <a:prstGeom prst="rect">
            <a:avLst/>
          </a:prstGeom>
        </p:spPr>
      </p:pic>
      <p:sp>
        <p:nvSpPr>
          <p:cNvPr id="8" name="Rektangel 7"/>
          <p:cNvSpPr/>
          <p:nvPr/>
        </p:nvSpPr>
        <p:spPr>
          <a:xfrm>
            <a:off x="287445" y="452670"/>
            <a:ext cx="681789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91563"/>
            <a:r>
              <a:rPr lang="da-DK" sz="3200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The </a:t>
            </a:r>
            <a:r>
              <a:rPr lang="da-DK" sz="3200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first</a:t>
            </a:r>
            <a:r>
              <a:rPr lang="da-DK" sz="3200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tender </a:t>
            </a:r>
            <a:r>
              <a:rPr lang="da-DK" sz="3200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round</a:t>
            </a:r>
            <a:r>
              <a:rPr lang="da-DK" sz="3200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has </a:t>
            </a:r>
            <a:r>
              <a:rPr lang="da-DK" sz="3200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ended</a:t>
            </a:r>
            <a:endParaRPr lang="da-DK" sz="32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98448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8. juni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26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14"/>
          </p:nvPr>
        </p:nvSpPr>
        <p:spPr>
          <a:xfrm>
            <a:off x="277269" y="1193947"/>
            <a:ext cx="4858625" cy="4560000"/>
          </a:xfrm>
        </p:spPr>
        <p:txBody>
          <a:bodyPr/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dirty="0"/>
              <a:t>For the </a:t>
            </a:r>
            <a:r>
              <a:rPr lang="da-DK" dirty="0" err="1"/>
              <a:t>second</a:t>
            </a:r>
            <a:r>
              <a:rPr lang="da-DK" dirty="0"/>
              <a:t> tender </a:t>
            </a:r>
            <a:r>
              <a:rPr lang="da-DK" dirty="0" err="1"/>
              <a:t>round</a:t>
            </a:r>
            <a:r>
              <a:rPr lang="da-DK" dirty="0"/>
              <a:t>, </a:t>
            </a:r>
            <a:r>
              <a:rPr lang="da-DK" dirty="0" err="1"/>
              <a:t>there</a:t>
            </a:r>
            <a:r>
              <a:rPr lang="da-DK" dirty="0"/>
              <a:t> </a:t>
            </a:r>
            <a:r>
              <a:rPr lang="da-DK" dirty="0" err="1"/>
              <a:t>will</a:t>
            </a:r>
            <a:r>
              <a:rPr lang="da-DK" dirty="0"/>
              <a:t> </a:t>
            </a:r>
            <a:r>
              <a:rPr lang="da-DK" dirty="0" err="1"/>
              <a:t>be</a:t>
            </a:r>
            <a:r>
              <a:rPr lang="da-DK" dirty="0"/>
              <a:t> </a:t>
            </a:r>
            <a:r>
              <a:rPr lang="da-DK" dirty="0" err="1"/>
              <a:t>some</a:t>
            </a:r>
            <a:r>
              <a:rPr lang="da-DK" dirty="0"/>
              <a:t> </a:t>
            </a:r>
            <a:r>
              <a:rPr lang="da-DK" dirty="0" err="1"/>
              <a:t>adjustments</a:t>
            </a:r>
            <a:r>
              <a:rPr lang="da-DK" dirty="0"/>
              <a:t> of the products </a:t>
            </a:r>
            <a:r>
              <a:rPr lang="da-DK" dirty="0" err="1"/>
              <a:t>that</a:t>
            </a:r>
            <a:r>
              <a:rPr lang="da-DK" dirty="0"/>
              <a:t> </a:t>
            </a:r>
            <a:r>
              <a:rPr lang="da-DK" dirty="0" err="1"/>
              <a:t>are</a:t>
            </a:r>
            <a:r>
              <a:rPr lang="da-DK" dirty="0"/>
              <a:t> </a:t>
            </a:r>
            <a:r>
              <a:rPr lang="da-DK" dirty="0" err="1"/>
              <a:t>avaible</a:t>
            </a:r>
            <a:r>
              <a:rPr lang="da-DK" dirty="0"/>
              <a:t> on the platform </a:t>
            </a:r>
            <a:r>
              <a:rPr lang="da-DK" dirty="0" err="1"/>
              <a:t>based</a:t>
            </a:r>
            <a:r>
              <a:rPr lang="da-DK" dirty="0"/>
              <a:t> on </a:t>
            </a:r>
            <a:r>
              <a:rPr lang="da-DK" dirty="0" err="1"/>
              <a:t>experiences</a:t>
            </a:r>
            <a:r>
              <a:rPr lang="da-DK" dirty="0"/>
              <a:t> from the </a:t>
            </a:r>
            <a:r>
              <a:rPr lang="da-DK" dirty="0" err="1"/>
              <a:t>first</a:t>
            </a:r>
            <a:r>
              <a:rPr lang="da-DK" dirty="0"/>
              <a:t> tender </a:t>
            </a:r>
            <a:r>
              <a:rPr lang="da-DK" dirty="0" err="1"/>
              <a:t>round</a:t>
            </a:r>
            <a:r>
              <a:rPr lang="da-DK" dirty="0"/>
              <a:t> </a:t>
            </a:r>
          </a:p>
          <a:p>
            <a:endParaRPr lang="da-DK" dirty="0"/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dirty="0" err="1"/>
              <a:t>We</a:t>
            </a:r>
            <a:r>
              <a:rPr lang="da-DK" dirty="0"/>
              <a:t> </a:t>
            </a:r>
            <a:r>
              <a:rPr lang="da-DK" dirty="0" err="1"/>
              <a:t>will</a:t>
            </a:r>
            <a:r>
              <a:rPr lang="da-DK" dirty="0"/>
              <a:t> </a:t>
            </a:r>
            <a:r>
              <a:rPr lang="da-DK" dirty="0" err="1"/>
              <a:t>continue</a:t>
            </a:r>
            <a:r>
              <a:rPr lang="da-DK" dirty="0"/>
              <a:t> the </a:t>
            </a:r>
            <a:r>
              <a:rPr lang="da-DK" dirty="0" err="1"/>
              <a:t>dialogue</a:t>
            </a:r>
            <a:r>
              <a:rPr lang="da-DK" dirty="0"/>
              <a:t> with </a:t>
            </a:r>
            <a:r>
              <a:rPr lang="da-DK" dirty="0" err="1"/>
              <a:t>companies</a:t>
            </a:r>
            <a:r>
              <a:rPr lang="da-DK" dirty="0"/>
              <a:t> and </a:t>
            </a:r>
            <a:r>
              <a:rPr lang="da-DK" dirty="0" err="1"/>
              <a:t>learn</a:t>
            </a:r>
            <a:r>
              <a:rPr lang="da-DK" dirty="0"/>
              <a:t> from </a:t>
            </a:r>
            <a:r>
              <a:rPr lang="da-DK" dirty="0" err="1"/>
              <a:t>their</a:t>
            </a:r>
            <a:r>
              <a:rPr lang="da-DK" dirty="0"/>
              <a:t> </a:t>
            </a:r>
            <a:r>
              <a:rPr lang="da-DK" dirty="0" err="1"/>
              <a:t>experiences</a:t>
            </a:r>
            <a:r>
              <a:rPr lang="da-DK" dirty="0"/>
              <a:t> and inputs, </a:t>
            </a:r>
            <a:r>
              <a:rPr lang="da-DK" dirty="0" err="1"/>
              <a:t>where</a:t>
            </a:r>
            <a:r>
              <a:rPr lang="da-DK" dirty="0"/>
              <a:t> </a:t>
            </a:r>
            <a:r>
              <a:rPr lang="da-DK" dirty="0" err="1"/>
              <a:t>we</a:t>
            </a:r>
            <a:r>
              <a:rPr lang="da-DK" dirty="0"/>
              <a:t> </a:t>
            </a:r>
            <a:r>
              <a:rPr lang="da-DK" dirty="0" err="1"/>
              <a:t>will</a:t>
            </a:r>
            <a:r>
              <a:rPr lang="da-DK" dirty="0"/>
              <a:t> </a:t>
            </a:r>
            <a:r>
              <a:rPr lang="da-DK" dirty="0" err="1"/>
              <a:t>accommondate</a:t>
            </a:r>
            <a:r>
              <a:rPr lang="da-DK" dirty="0"/>
              <a:t> </a:t>
            </a:r>
            <a:r>
              <a:rPr lang="da-DK" dirty="0" err="1"/>
              <a:t>their</a:t>
            </a:r>
            <a:r>
              <a:rPr lang="da-DK" dirty="0"/>
              <a:t> </a:t>
            </a:r>
            <a:r>
              <a:rPr lang="da-DK" dirty="0" err="1"/>
              <a:t>needs</a:t>
            </a:r>
            <a:endParaRPr lang="da-DK" dirty="0"/>
          </a:p>
          <a:p>
            <a:endParaRPr lang="da-DK" dirty="0"/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dirty="0"/>
              <a:t>Information </a:t>
            </a:r>
            <a:r>
              <a:rPr lang="da-DK" dirty="0" err="1"/>
              <a:t>about</a:t>
            </a:r>
            <a:r>
              <a:rPr lang="da-DK" dirty="0"/>
              <a:t> </a:t>
            </a:r>
            <a:r>
              <a:rPr lang="da-DK" dirty="0" err="1"/>
              <a:t>cooperation</a:t>
            </a:r>
            <a:r>
              <a:rPr lang="da-DK" dirty="0"/>
              <a:t> </a:t>
            </a:r>
            <a:r>
              <a:rPr lang="da-DK" dirty="0" err="1"/>
              <a:t>between</a:t>
            </a:r>
            <a:r>
              <a:rPr lang="da-DK" dirty="0"/>
              <a:t> </a:t>
            </a:r>
            <a:r>
              <a:rPr lang="da-DK" dirty="0" err="1"/>
              <a:t>companies</a:t>
            </a:r>
            <a:r>
              <a:rPr lang="da-DK" dirty="0"/>
              <a:t> </a:t>
            </a:r>
            <a:r>
              <a:rPr lang="da-DK" dirty="0" err="1"/>
              <a:t>through</a:t>
            </a:r>
            <a:r>
              <a:rPr lang="da-DK" dirty="0"/>
              <a:t> a central </a:t>
            </a:r>
            <a:r>
              <a:rPr lang="da-DK" dirty="0" err="1"/>
              <a:t>buyer</a:t>
            </a:r>
            <a:r>
              <a:rPr lang="da-DK" dirty="0"/>
              <a:t> or an agent on </a:t>
            </a:r>
            <a:r>
              <a:rPr lang="da-DK" dirty="0" err="1"/>
              <a:t>behalf</a:t>
            </a:r>
            <a:r>
              <a:rPr lang="da-DK" dirty="0"/>
              <a:t> </a:t>
            </a:r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4552" y="1988840"/>
            <a:ext cx="7017448" cy="2671320"/>
          </a:xfrm>
          <a:prstGeom prst="rect">
            <a:avLst/>
          </a:prstGeom>
        </p:spPr>
      </p:pic>
      <p:sp>
        <p:nvSpPr>
          <p:cNvPr id="8" name="Rektangel 7"/>
          <p:cNvSpPr/>
          <p:nvPr/>
        </p:nvSpPr>
        <p:spPr>
          <a:xfrm>
            <a:off x="287445" y="452670"/>
            <a:ext cx="681308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91563"/>
            <a:r>
              <a:rPr lang="da-DK" sz="3200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The </a:t>
            </a:r>
            <a:r>
              <a:rPr lang="da-DK" sz="3200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econd</a:t>
            </a:r>
            <a:r>
              <a:rPr lang="da-DK" sz="3200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tender is end of June</a:t>
            </a:r>
            <a:endParaRPr lang="da-DK" sz="32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12304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prstClr val="white"/>
                </a:solidFill>
              </a:rPr>
              <a:pPr defTabSz="1091563"/>
              <a:t>8. juni 2023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prstClr val="white"/>
                </a:solidFill>
              </a:rPr>
              <a:t>Side </a:t>
            </a:r>
            <a:fld id="{8E044AEF-F590-47CE-BE8F-5C241A59BA2A}" type="slidenum">
              <a:rPr lang="da-DK">
                <a:solidFill>
                  <a:prstClr val="white"/>
                </a:solidFill>
              </a:rPr>
              <a:pPr defTabSz="1091563"/>
              <a:t>27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859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1B5A0E82-E3AF-AE4C-869C-4FB0BA8945B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endParaRPr lang="en-US" dirty="0">
              <a:latin typeface="+mn-lt"/>
            </a:endParaRPr>
          </a:p>
          <a:p>
            <a:pPr marL="0" indent="0">
              <a:buNone/>
            </a:pPr>
            <a:endParaRPr lang="en-US" dirty="0">
              <a:latin typeface="+mn-lt"/>
            </a:endParaRPr>
          </a:p>
          <a:p>
            <a:pPr marL="0" indent="0">
              <a:buNone/>
            </a:pPr>
            <a:r>
              <a:rPr lang="en-US" sz="2133" b="1" dirty="0">
                <a:latin typeface="+mn-lt"/>
              </a:rPr>
              <a:t>AGENDA</a:t>
            </a:r>
            <a:endParaRPr lang="en-US" sz="1867" b="1" dirty="0">
              <a:latin typeface="+mn-lt"/>
            </a:endParaRPr>
          </a:p>
          <a:p>
            <a:pPr marL="0" indent="0">
              <a:buNone/>
            </a:pPr>
            <a:endParaRPr lang="en-US" sz="267" dirty="0">
              <a:latin typeface="+mn-lt"/>
            </a:endParaRPr>
          </a:p>
          <a:p>
            <a:pPr marL="304792" indent="-304792">
              <a:buFont typeface="+mj-lt"/>
              <a:buAutoNum type="arabicPeriod"/>
            </a:pPr>
            <a:r>
              <a:rPr lang="en-US" sz="1867" dirty="0">
                <a:latin typeface="+mn-lt"/>
              </a:rPr>
              <a:t>Available Storage Capacity &amp; Upcoming Auction</a:t>
            </a:r>
          </a:p>
          <a:p>
            <a:pPr marL="304792" indent="-304792">
              <a:buFont typeface="+mj-lt"/>
              <a:buAutoNum type="arabicPeriod"/>
            </a:pPr>
            <a:r>
              <a:rPr lang="en-US" sz="1867" dirty="0">
                <a:latin typeface="+mn-lt"/>
              </a:rPr>
              <a:t>Adjustment of:</a:t>
            </a:r>
          </a:p>
          <a:p>
            <a:pPr marL="474121" indent="484705"/>
            <a:r>
              <a:rPr lang="en-US" sz="1867" dirty="0">
                <a:latin typeface="+mn-lt"/>
              </a:rPr>
              <a:t>Reservation Price</a:t>
            </a:r>
          </a:p>
          <a:p>
            <a:pPr marL="474121" indent="484705"/>
            <a:r>
              <a:rPr lang="en-US" sz="1867" dirty="0">
                <a:latin typeface="+mn-lt"/>
              </a:rPr>
              <a:t>Variable Injection Tariff</a:t>
            </a:r>
          </a:p>
          <a:p>
            <a:pPr marL="304792" indent="-304792">
              <a:buFont typeface="+mj-lt"/>
              <a:buAutoNum type="arabicPeriod"/>
            </a:pPr>
            <a:endParaRPr lang="en-US" dirty="0">
              <a:latin typeface="+mn-lt"/>
            </a:endParaRP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D1322CD-7670-0545-9679-047F85ED36E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3733" dirty="0"/>
              <a:t>gas storage Denmark</a:t>
            </a:r>
          </a:p>
          <a:p>
            <a:r>
              <a:rPr lang="en-US" dirty="0"/>
              <a:t>marni jacobsen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2639366A-8E30-2445-B7F5-F91699CCFF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</p:txBody>
      </p:sp>
      <p:pic>
        <p:nvPicPr>
          <p:cNvPr id="11" name="Pladsholder til indhold 7" descr="Et billede, der indeholder himmel, udendørs&#10;&#10;Automatisk genereret beskrivelse">
            <a:extLst>
              <a:ext uri="{FF2B5EF4-FFF2-40B4-BE49-F238E27FC236}">
                <a16:creationId xmlns:a16="http://schemas.microsoft.com/office/drawing/2014/main" id="{366D8D43-E408-CB43-881C-FD2CC41E1E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56968" y="1"/>
            <a:ext cx="4735032" cy="6889012"/>
          </a:xfrm>
          <a:prstGeom prst="rect">
            <a:avLst/>
          </a:prstGeom>
        </p:spPr>
      </p:pic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26AC4C91-8365-D946-A689-9258918998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09585"/>
            <a:fld id="{94BFF388-B944-D942-957B-07F88FBC34F8}" type="slidenum">
              <a:rPr lang="en-US">
                <a:solidFill>
                  <a:srgbClr val="FFFFFF"/>
                </a:solidFill>
                <a:latin typeface="Trebuchet MS"/>
              </a:rPr>
              <a:pPr defTabSz="609585"/>
              <a:t>28</a:t>
            </a:fld>
            <a:endParaRPr lang="en-US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401B99C2-1CB1-BD4E-816E-8861A67AD0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609585"/>
            <a:endParaRPr lang="da-DK" dirty="0">
              <a:solidFill>
                <a:srgbClr val="FFFFFF"/>
              </a:solidFill>
              <a:latin typeface="Trebuchet MS"/>
            </a:endParaRPr>
          </a:p>
        </p:txBody>
      </p:sp>
      <p:pic>
        <p:nvPicPr>
          <p:cNvPr id="12" name="Picture 7">
            <a:extLst>
              <a:ext uri="{FF2B5EF4-FFF2-40B4-BE49-F238E27FC236}">
                <a16:creationId xmlns:a16="http://schemas.microsoft.com/office/drawing/2014/main" id="{33135F17-A6C6-A24C-A016-75DB0A74A55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85574" r="18" b="87328"/>
          <a:stretch/>
        </p:blipFill>
        <p:spPr>
          <a:xfrm rot="10800000" flipH="1" flipV="1">
            <a:off x="10084525" y="492195"/>
            <a:ext cx="1615043" cy="74442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95454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8254065-0688-73A4-D1A5-978A7F66DF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584669" y="1"/>
            <a:ext cx="7957021" cy="6858001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09585"/>
            <a:fld id="{94BFF388-B944-D942-957B-07F88FBC34F8}" type="slidenum">
              <a:rPr lang="en-US">
                <a:solidFill>
                  <a:srgbClr val="415171"/>
                </a:solidFill>
                <a:latin typeface="Trebuchet MS"/>
              </a:rPr>
              <a:pPr defTabSz="609585"/>
              <a:t>29</a:t>
            </a:fld>
            <a:endParaRPr lang="en-US" dirty="0">
              <a:solidFill>
                <a:srgbClr val="415171"/>
              </a:solidFill>
              <a:latin typeface="Trebuchet M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B78A77E-FA90-7279-6859-8517051F560B}"/>
              </a:ext>
            </a:extLst>
          </p:cNvPr>
          <p:cNvSpPr/>
          <p:nvPr/>
        </p:nvSpPr>
        <p:spPr>
          <a:xfrm>
            <a:off x="281725" y="1139005"/>
            <a:ext cx="5605463" cy="657231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r>
              <a:rPr lang="da-DK" sz="3067" dirty="0">
                <a:solidFill>
                  <a:srgbClr val="FFFFFF"/>
                </a:solidFill>
                <a:latin typeface="Trebuchet MS"/>
              </a:rPr>
              <a:t>AVAILABLE STORAGE CAPACITY</a:t>
            </a:r>
          </a:p>
          <a:p>
            <a:pPr algn="ctr" defTabSz="609585"/>
            <a:endParaRPr lang="da-DK" sz="933" dirty="0">
              <a:solidFill>
                <a:srgbClr val="FFFFFF"/>
              </a:solidFill>
              <a:latin typeface="Trebuchet M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23881BE-D012-B295-372F-A2FCC89F33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1159" y="2299131"/>
            <a:ext cx="5145099" cy="140630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2F093DD-A453-5527-B08D-1122651316E9}"/>
              </a:ext>
            </a:extLst>
          </p:cNvPr>
          <p:cNvSpPr txBox="1"/>
          <p:nvPr/>
        </p:nvSpPr>
        <p:spPr>
          <a:xfrm>
            <a:off x="6565901" y="3873437"/>
            <a:ext cx="5569203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/>
            <a:r>
              <a:rPr lang="en-US" sz="1600" b="1" dirty="0">
                <a:solidFill>
                  <a:srgbClr val="415171"/>
                </a:solidFill>
                <a:latin typeface="Trebuchet MS"/>
              </a:rPr>
              <a:t>1,200 GWh SY24 Capacity on Auction 13 June 2023</a:t>
            </a:r>
          </a:p>
          <a:p>
            <a:pPr defTabSz="609585"/>
            <a:endParaRPr lang="en-US" sz="1600" b="1" dirty="0">
              <a:solidFill>
                <a:srgbClr val="415171"/>
              </a:solidFill>
              <a:latin typeface="Trebuchet MS"/>
            </a:endParaRPr>
          </a:p>
          <a:p>
            <a:pPr marL="228594" indent="-228594" defTabSz="609585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415171"/>
                </a:solidFill>
                <a:latin typeface="Trebuchet MS"/>
              </a:rPr>
              <a:t>Pay-as-bid</a:t>
            </a:r>
          </a:p>
          <a:p>
            <a:pPr marL="228594" indent="-228594" defTabSz="609585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415171"/>
                </a:solidFill>
                <a:latin typeface="Trebuchet MS"/>
              </a:rPr>
              <a:t>Product 90/90</a:t>
            </a:r>
          </a:p>
          <a:p>
            <a:pPr marL="228594" indent="-228594" defTabSz="609585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415171"/>
                </a:solidFill>
                <a:latin typeface="Trebuchet MS"/>
              </a:rPr>
              <a:t>Delivery 1</a:t>
            </a:r>
            <a:r>
              <a:rPr lang="en-US" sz="1600" baseline="30000" dirty="0">
                <a:solidFill>
                  <a:srgbClr val="415171"/>
                </a:solidFill>
                <a:latin typeface="Trebuchet MS"/>
              </a:rPr>
              <a:t>st</a:t>
            </a:r>
            <a:r>
              <a:rPr lang="en-US" sz="1600" dirty="0">
                <a:solidFill>
                  <a:srgbClr val="415171"/>
                </a:solidFill>
                <a:latin typeface="Trebuchet MS"/>
              </a:rPr>
              <a:t> April 2024 – 1</a:t>
            </a:r>
            <a:r>
              <a:rPr lang="en-US" sz="1600" baseline="30000" dirty="0">
                <a:solidFill>
                  <a:srgbClr val="415171"/>
                </a:solidFill>
                <a:latin typeface="Trebuchet MS"/>
              </a:rPr>
              <a:t>st</a:t>
            </a:r>
            <a:r>
              <a:rPr lang="en-US" sz="1600" dirty="0">
                <a:solidFill>
                  <a:srgbClr val="415171"/>
                </a:solidFill>
                <a:latin typeface="Trebuchet MS"/>
              </a:rPr>
              <a:t> April 2025</a:t>
            </a:r>
          </a:p>
          <a:p>
            <a:pPr marL="228594" indent="-228594" defTabSz="609585"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415171"/>
                </a:solidFill>
                <a:latin typeface="Trebuchet MS"/>
              </a:rPr>
              <a:t>Read more: </a:t>
            </a:r>
            <a:r>
              <a:rPr lang="en-US" sz="1600" dirty="0">
                <a:solidFill>
                  <a:srgbClr val="69A7B7"/>
                </a:solidFill>
                <a:latin typeface="Trebuchet M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endParaRPr lang="en-US" sz="1467" dirty="0">
              <a:solidFill>
                <a:srgbClr val="69A7B7"/>
              </a:solidFill>
              <a:latin typeface="Trebuchet M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B1EFDA-28C7-992E-DB63-F52B902450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1725" y="2301925"/>
            <a:ext cx="5704751" cy="3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808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A73EB6-DEB7-138C-1A3F-2FE15C0356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PROGRAM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3F11AC7-F7F4-3431-51C4-3C71B4A9F1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2664" y="2520231"/>
            <a:ext cx="10226674" cy="4005585"/>
          </a:xfrm>
        </p:spPr>
        <p:txBody>
          <a:bodyPr/>
          <a:lstStyle/>
          <a:p>
            <a:r>
              <a:rPr lang="en-US" sz="1600" b="1" dirty="0"/>
              <a:t>13:00	Welcome </a:t>
            </a:r>
            <a:r>
              <a:rPr lang="en-US" sz="1600" dirty="0"/>
              <a:t>– </a:t>
            </a:r>
            <a:r>
              <a:rPr lang="en-US" sz="1400" i="1" dirty="0"/>
              <a:t>Clement Johan Ulrichsen, Energinet</a:t>
            </a:r>
            <a:endParaRPr lang="en-US" sz="1600" i="1" dirty="0"/>
          </a:p>
          <a:p>
            <a:r>
              <a:rPr lang="en-US" sz="1600" b="1" dirty="0"/>
              <a:t>13:05	Danish Energy Agency </a:t>
            </a:r>
            <a:r>
              <a:rPr lang="en-US" sz="1600" dirty="0"/>
              <a:t>– </a:t>
            </a:r>
            <a:r>
              <a:rPr lang="en-US" sz="1400" i="1" dirty="0"/>
              <a:t>Jane Glindvad Kristensen, Danish Energy Agency</a:t>
            </a:r>
            <a:endParaRPr lang="en-US" sz="1600" i="1" dirty="0"/>
          </a:p>
          <a:p>
            <a:r>
              <a:rPr lang="en-US" sz="1600" b="1" dirty="0"/>
              <a:t>13:25	Gas Storage Denmark </a:t>
            </a:r>
            <a:r>
              <a:rPr lang="en-US" sz="1600" dirty="0"/>
              <a:t>– </a:t>
            </a:r>
            <a:r>
              <a:rPr lang="en-US" sz="1400" i="1" dirty="0"/>
              <a:t>Marni Jacobsen, Gas Storage Denmark</a:t>
            </a:r>
          </a:p>
          <a:p>
            <a:r>
              <a:rPr lang="en-US" sz="1600" b="1" dirty="0"/>
              <a:t>13:40	Market report </a:t>
            </a:r>
            <a:r>
              <a:rPr lang="en-US" sz="1800" dirty="0"/>
              <a:t>–</a:t>
            </a:r>
            <a:r>
              <a:rPr lang="en-US" sz="1600" i="1" dirty="0"/>
              <a:t> Peter </a:t>
            </a:r>
            <a:r>
              <a:rPr lang="en-US" sz="1600" i="1" dirty="0" err="1"/>
              <a:t>Lyk</a:t>
            </a:r>
            <a:r>
              <a:rPr lang="en-US" sz="1600" i="1"/>
              <a:t>-Jensen </a:t>
            </a:r>
            <a:r>
              <a:rPr lang="en-US" sz="1600" i="1" dirty="0"/>
              <a:t>&amp; </a:t>
            </a:r>
            <a:r>
              <a:rPr lang="en-US" sz="1400" i="1" dirty="0"/>
              <a:t>Frederik </a:t>
            </a:r>
            <a:r>
              <a:rPr lang="en-US" sz="1400" i="1" dirty="0" err="1"/>
              <a:t>Nilausen</a:t>
            </a:r>
            <a:r>
              <a:rPr lang="en-US" sz="1400" i="1" dirty="0"/>
              <a:t> Dam, Danish Utility Regulator</a:t>
            </a:r>
            <a:endParaRPr lang="en-US" sz="1400" b="1" dirty="0"/>
          </a:p>
          <a:p>
            <a:r>
              <a:rPr lang="en-US" sz="1600" b="1" dirty="0"/>
              <a:t>14:00 	REMIT obligations </a:t>
            </a:r>
            <a:r>
              <a:rPr lang="en-US" sz="1600" dirty="0"/>
              <a:t>–</a:t>
            </a:r>
            <a:r>
              <a:rPr lang="en-US" sz="1400" i="1" dirty="0"/>
              <a:t> Søren Søndergaard, Danish Utility Regulator</a:t>
            </a:r>
          </a:p>
          <a:p>
            <a:endParaRPr lang="en-US" sz="1600" i="1" dirty="0"/>
          </a:p>
          <a:p>
            <a:r>
              <a:rPr lang="en-US" sz="1600" b="1" dirty="0">
                <a:solidFill>
                  <a:schemeClr val="accent1"/>
                </a:solidFill>
              </a:rPr>
              <a:t>14:15	BREAK</a:t>
            </a:r>
          </a:p>
          <a:p>
            <a:endParaRPr lang="en-US" sz="1600" b="1" dirty="0">
              <a:solidFill>
                <a:schemeClr val="accent1"/>
              </a:solidFill>
            </a:endParaRPr>
          </a:p>
          <a:p>
            <a:r>
              <a:rPr lang="en-US" sz="1600" b="1" dirty="0"/>
              <a:t>14:30	Tariffs </a:t>
            </a:r>
            <a:r>
              <a:rPr lang="en-US" sz="1600" dirty="0"/>
              <a:t>– </a:t>
            </a:r>
            <a:r>
              <a:rPr lang="en-US" sz="1400" i="1" dirty="0"/>
              <a:t>Jeppe Danø, Energinet</a:t>
            </a:r>
          </a:p>
          <a:p>
            <a:r>
              <a:rPr lang="en-US" sz="1600" b="1" dirty="0"/>
              <a:t>14:45	Data and Balancing</a:t>
            </a:r>
            <a:r>
              <a:rPr lang="en-US" sz="1800" b="1" dirty="0"/>
              <a:t> </a:t>
            </a:r>
            <a:r>
              <a:rPr lang="en-US" sz="1600" dirty="0"/>
              <a:t>– </a:t>
            </a:r>
            <a:r>
              <a:rPr lang="en-US" sz="1400" i="1" dirty="0"/>
              <a:t>Christian Rutherford, Energinet</a:t>
            </a:r>
            <a:endParaRPr lang="en-US" sz="1800" i="1" dirty="0"/>
          </a:p>
          <a:p>
            <a:r>
              <a:rPr lang="en-US" sz="1600" b="1" dirty="0"/>
              <a:t>15:00	Capacity</a:t>
            </a:r>
            <a:r>
              <a:rPr lang="en-US" sz="1600" dirty="0"/>
              <a:t> – </a:t>
            </a:r>
            <a:r>
              <a:rPr lang="en-US" sz="1400" i="1" dirty="0"/>
              <a:t>Christian Rutherford, Energinet</a:t>
            </a:r>
            <a:endParaRPr lang="en-US" sz="1800" i="1" dirty="0"/>
          </a:p>
          <a:p>
            <a:r>
              <a:rPr lang="en-US" sz="1600" b="1" dirty="0"/>
              <a:t>15:15	Final Remarks </a:t>
            </a:r>
            <a:r>
              <a:rPr lang="en-US" sz="1600" dirty="0"/>
              <a:t>– </a:t>
            </a:r>
            <a:r>
              <a:rPr lang="en-US" sz="1400" i="1" dirty="0"/>
              <a:t>Clement Johan Ulrichsen, Energinet</a:t>
            </a:r>
            <a:endParaRPr lang="en-US" sz="1600" i="1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108BBE5D-66B0-FF91-B7C3-AE27938E36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450328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7BC4258-3644-0949-B98D-254D2A7CDD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1067" y="1919999"/>
            <a:ext cx="5604933" cy="4080752"/>
          </a:xfrm>
        </p:spPr>
        <p:txBody>
          <a:bodyPr/>
          <a:lstStyle/>
          <a:p>
            <a:r>
              <a:rPr lang="en-US" b="1" u="sng" dirty="0">
                <a:solidFill>
                  <a:schemeClr val="accent5"/>
                </a:solidFill>
                <a:latin typeface="+mn-lt"/>
              </a:rPr>
              <a:t>Reservation Prices increase by 0.60 €/MWh</a:t>
            </a:r>
            <a:r>
              <a:rPr lang="en-US" b="1" dirty="0">
                <a:solidFill>
                  <a:schemeClr val="accent5"/>
                </a:solidFill>
                <a:latin typeface="+mn-lt"/>
              </a:rPr>
              <a:t>:</a:t>
            </a:r>
          </a:p>
          <a:p>
            <a:pPr marL="380990" indent="-380990">
              <a:buFont typeface="Wingdings" panose="05000000000000000000" pitchFamily="2" charset="2"/>
              <a:buChar char="Ø"/>
              <a:tabLst>
                <a:tab pos="1435064" algn="l"/>
              </a:tabLst>
            </a:pPr>
            <a:r>
              <a:rPr lang="en-US" dirty="0">
                <a:solidFill>
                  <a:schemeClr val="accent5"/>
                </a:solidFill>
                <a:latin typeface="+mn-lt"/>
              </a:rPr>
              <a:t>170/170:	from </a:t>
            </a:r>
            <a:r>
              <a:rPr lang="en-US" b="1" dirty="0">
                <a:solidFill>
                  <a:schemeClr val="accent5"/>
                </a:solidFill>
                <a:latin typeface="+mn-lt"/>
              </a:rPr>
              <a:t>3.00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 to </a:t>
            </a:r>
            <a:r>
              <a:rPr lang="en-US" b="1" dirty="0">
                <a:solidFill>
                  <a:schemeClr val="accent5"/>
                </a:solidFill>
                <a:latin typeface="+mn-lt"/>
              </a:rPr>
              <a:t>3.60 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€/MWh/year</a:t>
            </a:r>
          </a:p>
          <a:p>
            <a:pPr marL="380990" indent="-380990">
              <a:buFont typeface="Wingdings" panose="05000000000000000000" pitchFamily="2" charset="2"/>
              <a:buChar char="Ø"/>
              <a:tabLst>
                <a:tab pos="1435064" algn="l"/>
              </a:tabLst>
            </a:pPr>
            <a:r>
              <a:rPr lang="en-US" dirty="0">
                <a:solidFill>
                  <a:schemeClr val="accent5"/>
                </a:solidFill>
                <a:latin typeface="+mn-lt"/>
              </a:rPr>
              <a:t>170/85: 	from </a:t>
            </a:r>
            <a:r>
              <a:rPr lang="en-US" b="1" dirty="0">
                <a:solidFill>
                  <a:schemeClr val="accent5"/>
                </a:solidFill>
                <a:latin typeface="+mn-lt"/>
              </a:rPr>
              <a:t>3.50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 to </a:t>
            </a:r>
            <a:r>
              <a:rPr lang="en-US" b="1" dirty="0">
                <a:solidFill>
                  <a:schemeClr val="accent5"/>
                </a:solidFill>
                <a:latin typeface="+mn-lt"/>
              </a:rPr>
              <a:t>4.10 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€/MWh/year</a:t>
            </a:r>
          </a:p>
          <a:p>
            <a:pPr marL="380990" indent="-380990">
              <a:buFont typeface="Wingdings" panose="05000000000000000000" pitchFamily="2" charset="2"/>
              <a:buChar char="Ø"/>
              <a:tabLst>
                <a:tab pos="1435064" algn="l"/>
              </a:tabLst>
            </a:pPr>
            <a:r>
              <a:rPr lang="en-US" dirty="0">
                <a:solidFill>
                  <a:schemeClr val="accent5"/>
                </a:solidFill>
                <a:latin typeface="+mn-lt"/>
              </a:rPr>
              <a:t>  90/90: 	from </a:t>
            </a:r>
            <a:r>
              <a:rPr lang="en-US" b="1" dirty="0">
                <a:solidFill>
                  <a:schemeClr val="accent5"/>
                </a:solidFill>
                <a:latin typeface="+mn-lt"/>
              </a:rPr>
              <a:t>3.62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 to </a:t>
            </a:r>
            <a:r>
              <a:rPr lang="en-US" b="1" dirty="0">
                <a:solidFill>
                  <a:schemeClr val="accent5"/>
                </a:solidFill>
                <a:latin typeface="+mn-lt"/>
              </a:rPr>
              <a:t>4.22 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€/MWh/year</a:t>
            </a:r>
          </a:p>
          <a:p>
            <a:pPr marL="380990" indent="-380990">
              <a:buFont typeface="Wingdings" panose="05000000000000000000" pitchFamily="2" charset="2"/>
              <a:buChar char="Ø"/>
              <a:tabLst>
                <a:tab pos="1435064" algn="l"/>
              </a:tabLst>
            </a:pPr>
            <a:r>
              <a:rPr lang="en-US" dirty="0">
                <a:solidFill>
                  <a:schemeClr val="accent5"/>
                </a:solidFill>
                <a:latin typeface="+mn-lt"/>
              </a:rPr>
              <a:t>120/60: 	from </a:t>
            </a:r>
            <a:r>
              <a:rPr lang="en-US" b="1" dirty="0">
                <a:solidFill>
                  <a:schemeClr val="accent5"/>
                </a:solidFill>
                <a:latin typeface="+mn-lt"/>
              </a:rPr>
              <a:t>4.00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 to </a:t>
            </a:r>
            <a:r>
              <a:rPr lang="en-US" b="1" dirty="0">
                <a:solidFill>
                  <a:schemeClr val="accent5"/>
                </a:solidFill>
                <a:latin typeface="+mn-lt"/>
              </a:rPr>
              <a:t>4.60 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€/MWh/year</a:t>
            </a:r>
          </a:p>
          <a:p>
            <a:r>
              <a:rPr lang="en-US" sz="1400" i="1" dirty="0">
                <a:solidFill>
                  <a:schemeClr val="accent5"/>
                </a:solidFill>
                <a:latin typeface="+mn-lt"/>
              </a:rPr>
              <a:t>Link to the announcement: </a:t>
            </a:r>
            <a:r>
              <a:rPr lang="en-US" sz="1400" i="1" dirty="0">
                <a:solidFill>
                  <a:schemeClr val="accent1"/>
                </a:solidFill>
                <a:latin typeface="+mn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endParaRPr lang="en-US" sz="1400" i="1" dirty="0">
              <a:solidFill>
                <a:schemeClr val="accent1"/>
              </a:solidFill>
              <a:latin typeface="+mn-lt"/>
            </a:endParaRPr>
          </a:p>
          <a:p>
            <a:endParaRPr lang="en-US" sz="1333" dirty="0">
              <a:solidFill>
                <a:schemeClr val="accent5"/>
              </a:solidFill>
              <a:latin typeface="+mn-lt"/>
            </a:endParaRPr>
          </a:p>
          <a:p>
            <a:r>
              <a:rPr lang="en-US" b="1" u="sng" dirty="0">
                <a:solidFill>
                  <a:schemeClr val="accent5"/>
                </a:solidFill>
                <a:latin typeface="+mn-lt"/>
              </a:rPr>
              <a:t>Pricing of Additional Flexibility</a:t>
            </a:r>
            <a:r>
              <a:rPr lang="en-US" b="1" dirty="0">
                <a:solidFill>
                  <a:schemeClr val="accent5"/>
                </a:solidFill>
                <a:latin typeface="+mn-lt"/>
              </a:rPr>
              <a:t>:</a:t>
            </a:r>
          </a:p>
          <a:p>
            <a:pPr marL="380990" indent="-38099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accent5"/>
                </a:solidFill>
                <a:latin typeface="+mn-lt"/>
              </a:rPr>
              <a:t>Injection:           </a:t>
            </a:r>
            <a:r>
              <a:rPr lang="en-US" b="1" dirty="0">
                <a:solidFill>
                  <a:schemeClr val="accent5"/>
                </a:solidFill>
                <a:latin typeface="+mn-lt"/>
              </a:rPr>
              <a:t>750 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€/MW/year</a:t>
            </a:r>
          </a:p>
          <a:p>
            <a:pPr marL="380990" indent="-38099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accent5"/>
                </a:solidFill>
                <a:latin typeface="+mn-lt"/>
              </a:rPr>
              <a:t>Withdrawal:	</a:t>
            </a:r>
            <a:r>
              <a:rPr lang="en-US" b="1" dirty="0">
                <a:solidFill>
                  <a:schemeClr val="accent5"/>
                </a:solidFill>
                <a:latin typeface="+mn-lt"/>
              </a:rPr>
              <a:t>2,100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 €/MW/year</a:t>
            </a:r>
          </a:p>
          <a:p>
            <a:endParaRPr lang="en-US" sz="667" dirty="0">
              <a:solidFill>
                <a:schemeClr val="accent5"/>
              </a:solidFill>
              <a:latin typeface="+mn-lt"/>
            </a:endParaRPr>
          </a:p>
          <a:p>
            <a:endParaRPr lang="en-US" sz="1067" dirty="0">
              <a:solidFill>
                <a:schemeClr val="accent5"/>
              </a:solidFill>
              <a:latin typeface="+mn-lt"/>
            </a:endParaRPr>
          </a:p>
          <a:p>
            <a:r>
              <a:rPr lang="en-US" sz="1467" b="1" u="sng" dirty="0">
                <a:solidFill>
                  <a:schemeClr val="accent5"/>
                </a:solidFill>
                <a:latin typeface="+mn-lt"/>
              </a:rPr>
              <a:t>Variable Injection Tariff</a:t>
            </a:r>
            <a:r>
              <a:rPr lang="en-US" sz="1467" b="1" dirty="0">
                <a:solidFill>
                  <a:schemeClr val="accent5"/>
                </a:solidFill>
                <a:latin typeface="+mn-lt"/>
              </a:rPr>
              <a:t>:</a:t>
            </a:r>
          </a:p>
          <a:p>
            <a:pPr marL="380990" indent="-380990">
              <a:buFont typeface="Wingdings" panose="05000000000000000000" pitchFamily="2" charset="2"/>
              <a:buChar char="Ø"/>
            </a:pPr>
            <a:r>
              <a:rPr lang="en-US" sz="1467" dirty="0">
                <a:solidFill>
                  <a:schemeClr val="accent5"/>
                </a:solidFill>
                <a:latin typeface="+mn-lt"/>
              </a:rPr>
              <a:t>Adjusted from 0.36 €/MWh to 0.59 €/MWh</a:t>
            </a:r>
          </a:p>
          <a:p>
            <a:r>
              <a:rPr lang="en-US" sz="1400" i="1" dirty="0">
                <a:solidFill>
                  <a:schemeClr val="accent5"/>
                </a:solidFill>
                <a:latin typeface="+mn-lt"/>
              </a:rPr>
              <a:t>Link to the announcement: </a:t>
            </a:r>
            <a:r>
              <a:rPr lang="en-US" sz="1400" i="1" dirty="0">
                <a:solidFill>
                  <a:schemeClr val="accent1"/>
                </a:solidFill>
                <a:latin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</a:t>
            </a:r>
            <a:endParaRPr lang="en-US" sz="1400" i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F60EEB-AAA5-6C43-A9C8-1C55D3711A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djustment of reservation price </a:t>
            </a:r>
            <a:br>
              <a:rPr lang="en-US" dirty="0"/>
            </a:br>
            <a:r>
              <a:rPr lang="en-US" dirty="0"/>
              <a:t>&amp; variable injection tariff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7E773EE7-44AC-2D40-A3E9-304957BD8F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09585"/>
            <a:fld id="{94BFF388-B944-D942-957B-07F88FBC34F8}" type="slidenum">
              <a:rPr lang="en-US">
                <a:solidFill>
                  <a:srgbClr val="415171"/>
                </a:solidFill>
                <a:latin typeface="Trebuchet MS"/>
              </a:rPr>
              <a:pPr defTabSz="609585"/>
              <a:t>30</a:t>
            </a:fld>
            <a:endParaRPr lang="en-US" dirty="0">
              <a:solidFill>
                <a:srgbClr val="415171"/>
              </a:solidFill>
              <a:latin typeface="Trebuchet MS"/>
            </a:endParaRPr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75FF549F-C920-1E43-8C0D-7FFDD0A96A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609585"/>
            <a:endParaRPr lang="da-DK" dirty="0">
              <a:solidFill>
                <a:srgbClr val="415171"/>
              </a:solidFill>
              <a:latin typeface="Trebuchet MS"/>
            </a:endParaRP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7BCE7D41-74BD-6647-9990-BF8F2E392F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16" name="Pladsholder til indhold 17" descr="Et billede, der indeholder fabrik, himmel, udendørs, bygning&#10;&#10;Automatisk genereret beskrivelse">
            <a:extLst>
              <a:ext uri="{FF2B5EF4-FFF2-40B4-BE49-F238E27FC236}">
                <a16:creationId xmlns:a16="http://schemas.microsoft.com/office/drawing/2014/main" id="{C6661DCE-E061-5546-BB36-5A58142B7B2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prstClr val="black"/>
              <a:schemeClr val="accent6">
                <a:tint val="45000"/>
                <a:satMod val="400000"/>
              </a:schemeClr>
            </a:duotone>
          </a:blip>
          <a:srcRect l="5183" r="5066"/>
          <a:stretch/>
        </p:blipFill>
        <p:spPr>
          <a:xfrm>
            <a:off x="6250155" y="1919999"/>
            <a:ext cx="5466424" cy="4080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013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C01899D4-FD87-0F4D-8C48-466C3FAC658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dirty="0"/>
              <a:t>Marni Jacobs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45445BC-D782-0C47-BC69-AB01C5B88D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a-DK" dirty="0"/>
              <a:t>gas </a:t>
            </a:r>
            <a:r>
              <a:rPr lang="da-DK" dirty="0" err="1"/>
              <a:t>storage</a:t>
            </a:r>
            <a:r>
              <a:rPr lang="da-DK" dirty="0"/>
              <a:t> </a:t>
            </a:r>
            <a:r>
              <a:rPr lang="da-DK" dirty="0" err="1"/>
              <a:t>denmark</a:t>
            </a:r>
            <a:endParaRPr lang="da-DK" dirty="0"/>
          </a:p>
        </p:txBody>
      </p:sp>
      <p:sp>
        <p:nvSpPr>
          <p:cNvPr id="17" name="Pladsholder til slidenummer 16">
            <a:extLst>
              <a:ext uri="{FF2B5EF4-FFF2-40B4-BE49-F238E27FC236}">
                <a16:creationId xmlns:a16="http://schemas.microsoft.com/office/drawing/2014/main" id="{36DD0008-2620-6047-9444-71CBAECE5A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09585"/>
            <a:fld id="{94BFF388-B944-D942-957B-07F88FBC34F8}" type="slidenum">
              <a:rPr lang="en-US">
                <a:solidFill>
                  <a:srgbClr val="FFFFFF"/>
                </a:solidFill>
                <a:latin typeface="Trebuchet MS"/>
              </a:rPr>
              <a:pPr defTabSz="609585"/>
              <a:t>31</a:t>
            </a:fld>
            <a:endParaRPr lang="en-US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8" name="Pladsholder til sidefod 17">
            <a:extLst>
              <a:ext uri="{FF2B5EF4-FFF2-40B4-BE49-F238E27FC236}">
                <a16:creationId xmlns:a16="http://schemas.microsoft.com/office/drawing/2014/main" id="{EEBC6A5B-266A-C94B-91C3-C950305E28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609585"/>
            <a:endParaRPr lang="da-DK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D039610D-6F0E-5047-A403-FCC4E5533DB7}"/>
              </a:ext>
            </a:extLst>
          </p:cNvPr>
          <p:cNvSpPr txBox="1"/>
          <p:nvPr/>
        </p:nvSpPr>
        <p:spPr>
          <a:xfrm>
            <a:off x="748938" y="574766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/>
            <a:endParaRPr lang="da-DK" sz="240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5046A8DA-D316-604C-98BC-A260C3174D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14" name="Pladsholder til indhold 5">
            <a:extLst>
              <a:ext uri="{FF2B5EF4-FFF2-40B4-BE49-F238E27FC236}">
                <a16:creationId xmlns:a16="http://schemas.microsoft.com/office/drawing/2014/main" id="{00C54090-BA74-C04C-A42B-BAA3A1CC9DC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  <a14:imgEffect>
                      <a14:saturation sat="66000"/>
                    </a14:imgEffect>
                  </a14:imgLayer>
                </a14:imgProps>
              </a:ext>
            </a:extLst>
          </a:blip>
          <a:srcRect l="17123" t="220" r="8837" b="-220"/>
          <a:stretch/>
        </p:blipFill>
        <p:spPr>
          <a:xfrm>
            <a:off x="4361045" y="0"/>
            <a:ext cx="7830193" cy="6882389"/>
          </a:xfrm>
          <a:prstGeom prst="rect">
            <a:avLst/>
          </a:prstGeom>
        </p:spPr>
      </p:pic>
      <p:pic>
        <p:nvPicPr>
          <p:cNvPr id="15" name="Picture 7">
            <a:extLst>
              <a:ext uri="{FF2B5EF4-FFF2-40B4-BE49-F238E27FC236}">
                <a16:creationId xmlns:a16="http://schemas.microsoft.com/office/drawing/2014/main" id="{FC87D601-3F02-9C4C-B3CC-7204B167F20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85574" r="18" b="87328"/>
          <a:stretch/>
        </p:blipFill>
        <p:spPr>
          <a:xfrm rot="10800000" flipH="1" flipV="1">
            <a:off x="10084525" y="492195"/>
            <a:ext cx="1615043" cy="744423"/>
          </a:xfrm>
          <a:prstGeom prst="rect">
            <a:avLst/>
          </a:prstGeom>
          <a:noFill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D71D1D0-EFE0-5429-7A59-66BCAE4A748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1607" y="256528"/>
            <a:ext cx="3296612" cy="6301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266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>
            <a:extLst>
              <a:ext uri="{FF2B5EF4-FFF2-40B4-BE49-F238E27FC236}">
                <a16:creationId xmlns:a16="http://schemas.microsoft.com/office/drawing/2014/main" id="{621ACDDA-9E85-F740-819B-C313FC12A0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826" y="808730"/>
            <a:ext cx="7476265" cy="2905133"/>
          </a:xfrm>
        </p:spPr>
        <p:txBody>
          <a:bodyPr/>
          <a:lstStyle/>
          <a:p>
            <a:r>
              <a:rPr lang="da-DK" dirty="0"/>
              <a:t>Danish Utility</a:t>
            </a:r>
            <a:br>
              <a:rPr lang="da-DK" dirty="0"/>
            </a:br>
            <a:r>
              <a:rPr lang="da-DK" dirty="0"/>
              <a:t>Regulator</a:t>
            </a:r>
            <a:br>
              <a:rPr lang="da-DK" dirty="0"/>
            </a:br>
            <a:br>
              <a:rPr lang="da-DK" dirty="0"/>
            </a:br>
            <a:r>
              <a:rPr lang="da-DK" sz="3691" dirty="0" err="1"/>
              <a:t>Current</a:t>
            </a:r>
            <a:r>
              <a:rPr lang="da-DK" sz="3691" dirty="0"/>
              <a:t> cases</a:t>
            </a:r>
          </a:p>
        </p:txBody>
      </p:sp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48DA1D4C-F9C8-2D4D-8ABD-B91A768BD6A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Energinet, </a:t>
            </a:r>
            <a:r>
              <a:rPr lang="da-DK" dirty="0" err="1"/>
              <a:t>Shippers</a:t>
            </a:r>
            <a:r>
              <a:rPr lang="da-DK" dirty="0"/>
              <a:t>’ Forum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0B3FEBF-FE42-4D4A-8A65-D6C4178A87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Peter Lyk-Jens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21CCAC3-8BDF-5347-8845-A722E85882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8 June, 2023</a:t>
            </a:r>
          </a:p>
        </p:txBody>
      </p:sp>
      <p:grpSp>
        <p:nvGrpSpPr>
          <p:cNvPr id="7" name="Gruppe 6"/>
          <p:cNvGrpSpPr/>
          <p:nvPr/>
        </p:nvGrpSpPr>
        <p:grpSpPr>
          <a:xfrm>
            <a:off x="493956" y="6182586"/>
            <a:ext cx="2468713" cy="525503"/>
            <a:chOff x="323528" y="4659982"/>
            <a:chExt cx="1872208" cy="398527"/>
          </a:xfrm>
        </p:grpSpPr>
        <p:sp>
          <p:nvSpPr>
            <p:cNvPr id="6" name="Rektangel 5"/>
            <p:cNvSpPr/>
            <p:nvPr/>
          </p:nvSpPr>
          <p:spPr>
            <a:xfrm>
              <a:off x="323528" y="4659982"/>
              <a:ext cx="1872208" cy="39852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940" tIns="94940" rIns="94940" bIns="94940" rtlCol="0" anchor="ctr"/>
            <a:lstStyle/>
            <a:p>
              <a:pPr algn="ctr" defTabSz="914460"/>
              <a:endParaRPr lang="da-DK" sz="1779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5" name="Billede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789" y="4659982"/>
              <a:ext cx="1322864" cy="3985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7213676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4">
            <a:extLst>
              <a:ext uri="{FF2B5EF4-FFF2-40B4-BE49-F238E27FC236}">
                <a16:creationId xmlns:a16="http://schemas.microsoft.com/office/drawing/2014/main" id="{02994972-4DCD-BF46-BD71-5F1096160020}"/>
              </a:ext>
            </a:extLst>
          </p:cNvPr>
          <p:cNvSpPr txBox="1">
            <a:spLocks/>
          </p:cNvSpPr>
          <p:nvPr/>
        </p:nvSpPr>
        <p:spPr>
          <a:xfrm>
            <a:off x="649469" y="452677"/>
            <a:ext cx="6022604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54"/>
            <a:r>
              <a:rPr lang="en-GB" sz="3200" dirty="0">
                <a:solidFill>
                  <a:srgbClr val="003856"/>
                </a:solidFill>
                <a:latin typeface="Arial"/>
              </a:rPr>
              <a:t>Current Cases and Pipeline</a:t>
            </a:r>
          </a:p>
        </p:txBody>
      </p:sp>
      <p:sp>
        <p:nvSpPr>
          <p:cNvPr id="17" name="Pladsholder til tekst 1">
            <a:extLst>
              <a:ext uri="{FF2B5EF4-FFF2-40B4-BE49-F238E27FC236}">
                <a16:creationId xmlns:a16="http://schemas.microsoft.com/office/drawing/2014/main" id="{7982B411-0903-794D-8F67-135AC4B610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9" y="1220756"/>
            <a:ext cx="5348219" cy="4524376"/>
          </a:xfrm>
          <a:noFill/>
        </p:spPr>
        <p:txBody>
          <a:bodyPr anchor="t" anchorCtr="0"/>
          <a:lstStyle/>
          <a:p>
            <a:pPr algn="l"/>
            <a:r>
              <a:rPr lang="en-GB" sz="2133" b="1" u="sng" dirty="0"/>
              <a:t>Decisions:</a:t>
            </a:r>
          </a:p>
          <a:p>
            <a:pPr lvl="2" indent="0" algn="l">
              <a:buNone/>
            </a:pPr>
            <a:endParaRPr lang="en-GB" sz="1867" dirty="0"/>
          </a:p>
          <a:p>
            <a:pPr marL="457183" indent="-457183" algn="l">
              <a:buFont typeface="+mj-lt"/>
              <a:buAutoNum type="arabicPeriod"/>
            </a:pPr>
            <a:r>
              <a:rPr lang="en-US" sz="1867" b="1" dirty="0"/>
              <a:t>Long and short term capacity quotas, Faxe and </a:t>
            </a:r>
            <a:r>
              <a:rPr lang="en-US" sz="1867" b="1" dirty="0" err="1"/>
              <a:t>Ellund</a:t>
            </a:r>
            <a:endParaRPr lang="en-GB" sz="1867" b="1" dirty="0"/>
          </a:p>
          <a:p>
            <a:pPr marL="812958" lvl="2" indent="-380985" algn="l"/>
            <a:r>
              <a:rPr lang="en-GB" sz="1867" dirty="0"/>
              <a:t>Approvals April 11</a:t>
            </a:r>
            <a:r>
              <a:rPr lang="en-GB" sz="1867" baseline="30000" dirty="0"/>
              <a:t>th</a:t>
            </a:r>
            <a:r>
              <a:rPr lang="en-GB" sz="1867" dirty="0"/>
              <a:t> 2023</a:t>
            </a:r>
          </a:p>
          <a:p>
            <a:pPr marL="812958" lvl="2" indent="-380985" algn="l"/>
            <a:endParaRPr lang="en-GB" sz="1867" dirty="0"/>
          </a:p>
          <a:p>
            <a:pPr lvl="2" indent="0" algn="l">
              <a:buNone/>
            </a:pPr>
            <a:endParaRPr lang="en-GB" sz="2133" dirty="0"/>
          </a:p>
          <a:p>
            <a:pPr algn="l">
              <a:buNone/>
            </a:pPr>
            <a:r>
              <a:rPr lang="en-GB" sz="2133" b="1" u="sng" dirty="0"/>
              <a:t>Other:</a:t>
            </a:r>
          </a:p>
          <a:p>
            <a:pPr algn="l">
              <a:buNone/>
            </a:pPr>
            <a:endParaRPr lang="en-GB" sz="1867" b="1" dirty="0"/>
          </a:p>
          <a:p>
            <a:pPr marL="457183" indent="-457183" algn="l">
              <a:buFont typeface="+mj-lt"/>
              <a:buAutoNum type="arabicPeriod"/>
            </a:pPr>
            <a:r>
              <a:rPr lang="en-GB" sz="1867" b="1" dirty="0"/>
              <a:t>Congestion management at IPs</a:t>
            </a:r>
          </a:p>
          <a:p>
            <a:pPr marL="811172" lvl="2" indent="-379188" algn="l"/>
            <a:r>
              <a:rPr lang="en-GB" sz="1867" dirty="0"/>
              <a:t>New regulation 2022/2576 (“Enhancing solidarity …”): TSO must offer underutilised capacity on MA, DA and WD basis</a:t>
            </a:r>
          </a:p>
          <a:p>
            <a:pPr marL="811172" lvl="2" indent="-379188" algn="l"/>
            <a:r>
              <a:rPr lang="en-GB" sz="1867" dirty="0" err="1"/>
              <a:t>Energinet’s</a:t>
            </a:r>
            <a:r>
              <a:rPr lang="en-GB" sz="1867" dirty="0"/>
              <a:t> existing congestion mechanisms are in accordance with article14.7(c)</a:t>
            </a:r>
          </a:p>
          <a:p>
            <a:pPr lvl="2" indent="0" algn="l">
              <a:buNone/>
            </a:pPr>
            <a:endParaRPr lang="en-GB" dirty="0"/>
          </a:p>
          <a:p>
            <a:pPr lvl="2" indent="0" algn="l">
              <a:buNone/>
            </a:pPr>
            <a:endParaRPr lang="en-GB" dirty="0"/>
          </a:p>
          <a:p>
            <a:pPr lvl="2" indent="0" algn="l">
              <a:buNone/>
            </a:pPr>
            <a:endParaRPr lang="en-GB" dirty="0"/>
          </a:p>
        </p:txBody>
      </p:sp>
      <p:sp>
        <p:nvSpPr>
          <p:cNvPr id="18" name="Pladsholder til tekst 4">
            <a:extLst>
              <a:ext uri="{FF2B5EF4-FFF2-40B4-BE49-F238E27FC236}">
                <a16:creationId xmlns:a16="http://schemas.microsoft.com/office/drawing/2014/main" id="{1FAADA8A-CB1E-544D-81C2-C67D1367E9F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768087" y="1220756"/>
            <a:ext cx="5088565" cy="4524376"/>
          </a:xfrm>
          <a:prstGeom prst="rect">
            <a:avLst/>
          </a:prstGeom>
        </p:spPr>
        <p:txBody>
          <a:bodyPr anchor="t" anchorCtr="0"/>
          <a:lstStyle/>
          <a:p>
            <a:pPr>
              <a:buNone/>
            </a:pPr>
            <a:r>
              <a:rPr lang="en-GB" b="1" u="sng" dirty="0"/>
              <a:t>Ongoing:</a:t>
            </a:r>
          </a:p>
          <a:p>
            <a:pPr>
              <a:buNone/>
            </a:pPr>
            <a:endParaRPr lang="en-GB" dirty="0"/>
          </a:p>
          <a:p>
            <a:pPr marL="457183" indent="-457183">
              <a:buFont typeface="+mj-lt"/>
              <a:buAutoNum type="arabicPeriod"/>
            </a:pPr>
            <a:r>
              <a:rPr lang="en-GB" sz="1867" b="1" dirty="0"/>
              <a:t>Offshore tariff</a:t>
            </a:r>
            <a:r>
              <a:rPr lang="en-GB" sz="1867" dirty="0"/>
              <a:t> complaints 2011-2021</a:t>
            </a:r>
          </a:p>
          <a:p>
            <a:pPr marL="812958" lvl="2" indent="-380985"/>
            <a:r>
              <a:rPr lang="en-GB" dirty="0"/>
              <a:t>Expect consultation on decisions </a:t>
            </a:r>
            <a:br>
              <a:rPr lang="en-GB" dirty="0"/>
            </a:br>
            <a:r>
              <a:rPr lang="en-GB" dirty="0"/>
              <a:t>2</a:t>
            </a:r>
            <a:r>
              <a:rPr lang="en-GB" baseline="30000" dirty="0"/>
              <a:t>nd</a:t>
            </a:r>
            <a:r>
              <a:rPr lang="en-GB" dirty="0"/>
              <a:t>  half of 2023</a:t>
            </a:r>
          </a:p>
          <a:p>
            <a:pPr marL="812958" lvl="2" indent="-380985"/>
            <a:r>
              <a:rPr lang="en-GB" dirty="0"/>
              <a:t>Comparison to market practice ongoing</a:t>
            </a:r>
          </a:p>
          <a:p>
            <a:pPr marL="812958" lvl="2" indent="-380985"/>
            <a:r>
              <a:rPr lang="en-GB" dirty="0"/>
              <a:t>Expect consultation to start end of June</a:t>
            </a:r>
          </a:p>
          <a:p>
            <a:pPr marL="431984" lvl="2" indent="0">
              <a:buNone/>
            </a:pPr>
            <a:endParaRPr lang="en-GB" sz="1600" dirty="0"/>
          </a:p>
          <a:p>
            <a:pPr marL="431984" lvl="2" indent="0">
              <a:buNone/>
            </a:pPr>
            <a:endParaRPr lang="en-GB" dirty="0"/>
          </a:p>
          <a:p>
            <a:pPr marL="431984" lvl="2" indent="0">
              <a:buNone/>
            </a:pPr>
            <a:endParaRPr lang="en-GB" dirty="0"/>
          </a:p>
          <a:p>
            <a:pPr marL="457183" indent="-457183">
              <a:buFont typeface="+mj-lt"/>
              <a:buAutoNum type="arabicPeriod" startAt="2"/>
            </a:pPr>
            <a:r>
              <a:rPr lang="en-GB" sz="1867" b="1" dirty="0">
                <a:solidFill>
                  <a:srgbClr val="003856"/>
                </a:solidFill>
              </a:rPr>
              <a:t>Balancing model issues</a:t>
            </a:r>
          </a:p>
          <a:p>
            <a:pPr marL="811172" lvl="2" indent="-379188"/>
            <a:r>
              <a:rPr lang="en-GB" dirty="0"/>
              <a:t>DUR is following the situation</a:t>
            </a:r>
          </a:p>
          <a:p>
            <a:pPr marL="811172" lvl="2" indent="-379188"/>
            <a:r>
              <a:rPr lang="en-GB" dirty="0"/>
              <a:t>Ongoing dialogue with </a:t>
            </a:r>
            <a:r>
              <a:rPr lang="en-GB" dirty="0" err="1"/>
              <a:t>Energinet</a:t>
            </a:r>
            <a:endParaRPr lang="en-GB" dirty="0"/>
          </a:p>
        </p:txBody>
      </p:sp>
      <p:grpSp>
        <p:nvGrpSpPr>
          <p:cNvPr id="5" name="Gruppe 4"/>
          <p:cNvGrpSpPr/>
          <p:nvPr/>
        </p:nvGrpSpPr>
        <p:grpSpPr>
          <a:xfrm>
            <a:off x="493956" y="6182586"/>
            <a:ext cx="2468713" cy="525503"/>
            <a:chOff x="323528" y="4659982"/>
            <a:chExt cx="1872208" cy="398527"/>
          </a:xfrm>
        </p:grpSpPr>
        <p:sp>
          <p:nvSpPr>
            <p:cNvPr id="6" name="Rektangel 5"/>
            <p:cNvSpPr/>
            <p:nvPr/>
          </p:nvSpPr>
          <p:spPr>
            <a:xfrm>
              <a:off x="323528" y="4659982"/>
              <a:ext cx="1872208" cy="39852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940" tIns="94940" rIns="94940" bIns="94940" rtlCol="0" anchor="ctr"/>
            <a:lstStyle/>
            <a:p>
              <a:pPr algn="ctr" defTabSz="914460"/>
              <a:endParaRPr lang="da-DK" sz="1779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7" name="Billede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789" y="4659982"/>
              <a:ext cx="1322864" cy="3985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12307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uiExpand="1" build="p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>
            <a:extLst>
              <a:ext uri="{FF2B5EF4-FFF2-40B4-BE49-F238E27FC236}">
                <a16:creationId xmlns:a16="http://schemas.microsoft.com/office/drawing/2014/main" id="{621ACDDA-9E85-F740-819B-C313FC12A0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826" y="808730"/>
            <a:ext cx="7476265" cy="2905133"/>
          </a:xfrm>
        </p:spPr>
        <p:txBody>
          <a:bodyPr/>
          <a:lstStyle/>
          <a:p>
            <a:r>
              <a:rPr lang="da-DK" dirty="0" err="1"/>
              <a:t>Monitoring</a:t>
            </a:r>
            <a:r>
              <a:rPr lang="da-DK" dirty="0"/>
              <a:t> the Danish Wholesale Gas Market</a:t>
            </a:r>
            <a:br>
              <a:rPr lang="da-DK" dirty="0"/>
            </a:br>
            <a:br>
              <a:rPr lang="da-DK" dirty="0"/>
            </a:br>
            <a:r>
              <a:rPr lang="da-DK" sz="3691" dirty="0" err="1"/>
              <a:t>Market</a:t>
            </a:r>
            <a:r>
              <a:rPr lang="da-DK" sz="3691" dirty="0"/>
              <a:t> Report 2022</a:t>
            </a:r>
          </a:p>
        </p:txBody>
      </p:sp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48DA1D4C-F9C8-2D4D-8ABD-B91A768BD6A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Energinet, </a:t>
            </a:r>
            <a:r>
              <a:rPr lang="da-DK" dirty="0" err="1"/>
              <a:t>Shippers</a:t>
            </a:r>
            <a:r>
              <a:rPr lang="da-DK" dirty="0"/>
              <a:t>’ Forum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0B3FEBF-FE42-4D4A-8A65-D6C4178A87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Frederik Nilausen Dam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21CCAC3-8BDF-5347-8845-A722E85882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8 June, 2023</a:t>
            </a:r>
          </a:p>
        </p:txBody>
      </p:sp>
      <p:grpSp>
        <p:nvGrpSpPr>
          <p:cNvPr id="7" name="Gruppe 6"/>
          <p:cNvGrpSpPr/>
          <p:nvPr/>
        </p:nvGrpSpPr>
        <p:grpSpPr>
          <a:xfrm>
            <a:off x="493956" y="6182586"/>
            <a:ext cx="2468713" cy="525503"/>
            <a:chOff x="323528" y="4659982"/>
            <a:chExt cx="1872208" cy="398527"/>
          </a:xfrm>
        </p:grpSpPr>
        <p:sp>
          <p:nvSpPr>
            <p:cNvPr id="6" name="Rektangel 5"/>
            <p:cNvSpPr/>
            <p:nvPr/>
          </p:nvSpPr>
          <p:spPr>
            <a:xfrm>
              <a:off x="323528" y="4659982"/>
              <a:ext cx="1872208" cy="39852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940" tIns="94940" rIns="94940" bIns="94940" rtlCol="0" anchor="ctr"/>
            <a:lstStyle/>
            <a:p>
              <a:pPr algn="ctr" defTabSz="914460"/>
              <a:endParaRPr lang="da-DK" sz="1779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5" name="Billede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789" y="4659982"/>
              <a:ext cx="1322864" cy="3985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4074555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14460"/>
            <a:fld id="{68DD57B5-5C95-E346-A5F3-A709BF139F44}" type="datetime3">
              <a:rPr lang="da-DK">
                <a:solidFill>
                  <a:srgbClr val="FFFFFF">
                    <a:lumMod val="75000"/>
                  </a:srgbClr>
                </a:solidFill>
                <a:latin typeface="Arial"/>
              </a:rPr>
              <a:pPr defTabSz="914460"/>
              <a:t>08.06.2023</a:t>
            </a:fld>
            <a:endParaRPr lang="da-DK" dirty="0">
              <a:solidFill>
                <a:srgbClr val="FFFFFF">
                  <a:lumMod val="75000"/>
                </a:srgbClr>
              </a:solidFill>
              <a:latin typeface="Arial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635" dirty="0"/>
              <a:t>The Danish Wholesale Gas Market 2022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18"/>
          </p:nvPr>
        </p:nvSpPr>
        <p:spPr>
          <a:xfrm>
            <a:off x="651775" y="1557341"/>
            <a:ext cx="5083773" cy="3010555"/>
          </a:xfrm>
        </p:spPr>
        <p:txBody>
          <a:bodyPr/>
          <a:lstStyle/>
          <a:p>
            <a:r>
              <a:rPr lang="en-US" dirty="0"/>
              <a:t>Market Monitoring Report 2022 will be published 9 June 2023</a:t>
            </a:r>
          </a:p>
          <a:p>
            <a:endParaRPr lang="en-US" dirty="0"/>
          </a:p>
          <a:p>
            <a:pPr>
              <a:spcAft>
                <a:spcPts val="400"/>
              </a:spcAft>
            </a:pPr>
            <a:r>
              <a:rPr lang="en-US" dirty="0"/>
              <a:t>The Danish Utility Regulator has obligations to:</a:t>
            </a:r>
          </a:p>
          <a:p>
            <a:pPr marL="590319" lvl="1" indent="-376739">
              <a:spcAft>
                <a:spcPts val="400"/>
              </a:spcAft>
            </a:pPr>
            <a:r>
              <a:rPr lang="en-US" dirty="0"/>
              <a:t>Monitor the Danish wholesale </a:t>
            </a:r>
            <a:br>
              <a:rPr lang="en-US" dirty="0"/>
            </a:br>
            <a:r>
              <a:rPr lang="en-US" dirty="0"/>
              <a:t>gas market</a:t>
            </a:r>
          </a:p>
          <a:p>
            <a:pPr marL="590319" lvl="1" indent="-376739">
              <a:spcAft>
                <a:spcPts val="400"/>
              </a:spcAft>
            </a:pPr>
            <a:r>
              <a:rPr lang="en-US" dirty="0"/>
              <a:t>Enforce REMIT</a:t>
            </a:r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9"/>
          </p:nvPr>
        </p:nvSpPr>
        <p:spPr>
          <a:xfrm>
            <a:off x="6452321" y="1578035"/>
            <a:ext cx="5150816" cy="2989879"/>
          </a:xfrm>
        </p:spPr>
        <p:txBody>
          <a:bodyPr/>
          <a:lstStyle/>
          <a:p>
            <a:r>
              <a:rPr lang="en-US" u="sng" dirty="0"/>
              <a:t>Focus on:</a:t>
            </a:r>
          </a:p>
          <a:p>
            <a:endParaRPr lang="en-US" u="sng" dirty="0"/>
          </a:p>
          <a:p>
            <a:pPr marL="590319" lvl="1" indent="-376739">
              <a:spcAft>
                <a:spcPts val="400"/>
              </a:spcAft>
            </a:pPr>
            <a:r>
              <a:rPr lang="en-US" dirty="0"/>
              <a:t>Price developments</a:t>
            </a:r>
          </a:p>
          <a:p>
            <a:pPr marL="590319" lvl="1" indent="-376739">
              <a:spcAft>
                <a:spcPts val="400"/>
              </a:spcAft>
            </a:pPr>
            <a:r>
              <a:rPr lang="en-US" dirty="0"/>
              <a:t>Import and export</a:t>
            </a:r>
          </a:p>
          <a:p>
            <a:pPr marL="590319" lvl="1" indent="-376739">
              <a:spcAft>
                <a:spcPts val="400"/>
              </a:spcAft>
            </a:pPr>
            <a:r>
              <a:rPr lang="en-US" dirty="0"/>
              <a:t>Storage utilisation</a:t>
            </a:r>
          </a:p>
          <a:p>
            <a:pPr marL="590319" lvl="1" indent="-376739">
              <a:spcAft>
                <a:spcPts val="400"/>
              </a:spcAft>
            </a:pPr>
            <a:r>
              <a:rPr lang="en-US" dirty="0"/>
              <a:t>Market behavior</a:t>
            </a:r>
          </a:p>
          <a:p>
            <a:pPr marL="376739" indent="-376739">
              <a:buFont typeface="Arial" panose="020B0604020202020204" pitchFamily="34" charset="0"/>
              <a:buChar char="•"/>
            </a:pPr>
            <a:endParaRPr lang="en-US" dirty="0"/>
          </a:p>
        </p:txBody>
      </p:sp>
      <p:grpSp>
        <p:nvGrpSpPr>
          <p:cNvPr id="7" name="Gruppe 6"/>
          <p:cNvGrpSpPr/>
          <p:nvPr/>
        </p:nvGrpSpPr>
        <p:grpSpPr>
          <a:xfrm>
            <a:off x="493956" y="6182586"/>
            <a:ext cx="2468713" cy="525503"/>
            <a:chOff x="323528" y="4659982"/>
            <a:chExt cx="1872208" cy="398527"/>
          </a:xfrm>
        </p:grpSpPr>
        <p:sp>
          <p:nvSpPr>
            <p:cNvPr id="8" name="Rektangel 7"/>
            <p:cNvSpPr/>
            <p:nvPr/>
          </p:nvSpPr>
          <p:spPr>
            <a:xfrm>
              <a:off x="323528" y="4659982"/>
              <a:ext cx="1872208" cy="39852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940" tIns="94940" rIns="94940" bIns="94940" rtlCol="0" anchor="ctr"/>
            <a:lstStyle/>
            <a:p>
              <a:pPr algn="ctr" defTabSz="914460"/>
              <a:endParaRPr lang="da-DK" sz="1779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9" name="Billede 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789" y="4659982"/>
              <a:ext cx="1322864" cy="398527"/>
            </a:xfrm>
            <a:prstGeom prst="rect">
              <a:avLst/>
            </a:prstGeom>
          </p:spPr>
        </p:pic>
      </p:grpSp>
      <p:sp>
        <p:nvSpPr>
          <p:cNvPr id="10" name="Pladsholder til tekst 5"/>
          <p:cNvSpPr>
            <a:spLocks noGrp="1"/>
          </p:cNvSpPr>
          <p:nvPr>
            <p:ph type="body" sz="quarter" idx="19"/>
          </p:nvPr>
        </p:nvSpPr>
        <p:spPr>
          <a:xfrm>
            <a:off x="584731" y="4793065"/>
            <a:ext cx="5150816" cy="1228224"/>
          </a:xfrm>
          <a:solidFill>
            <a:srgbClr val="D9D9D9"/>
          </a:solidFill>
        </p:spPr>
        <p:txBody>
          <a:bodyPr/>
          <a:lstStyle/>
          <a:p>
            <a:pPr marL="0" lvl="1" indent="0">
              <a:spcAft>
                <a:spcPts val="400"/>
              </a:spcAft>
              <a:buNone/>
            </a:pPr>
            <a:r>
              <a:rPr lang="en-US" dirty="0"/>
              <a:t>Price signals and </a:t>
            </a:r>
            <a:r>
              <a:rPr lang="en-US" dirty="0" err="1"/>
              <a:t>utilisation</a:t>
            </a:r>
            <a:r>
              <a:rPr lang="en-US" dirty="0"/>
              <a:t> of Ellund missing due to data being delivered just before publication. </a:t>
            </a:r>
          </a:p>
          <a:p>
            <a:pPr marL="0" lvl="1" indent="0">
              <a:spcAft>
                <a:spcPts val="400"/>
              </a:spcAft>
              <a:buNone/>
            </a:pPr>
            <a:endParaRPr lang="en-US" dirty="0"/>
          </a:p>
        </p:txBody>
      </p:sp>
      <p:sp>
        <p:nvSpPr>
          <p:cNvPr id="4" name="Højrepil 3"/>
          <p:cNvSpPr/>
          <p:nvPr/>
        </p:nvSpPr>
        <p:spPr>
          <a:xfrm>
            <a:off x="5999884" y="5343807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 defTabSz="914460"/>
            <a:endParaRPr lang="da-DK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Pladsholder til tekst 5"/>
          <p:cNvSpPr>
            <a:spLocks noGrp="1"/>
          </p:cNvSpPr>
          <p:nvPr>
            <p:ph type="body" sz="quarter" idx="19"/>
          </p:nvPr>
        </p:nvSpPr>
        <p:spPr>
          <a:xfrm>
            <a:off x="6452321" y="4793085"/>
            <a:ext cx="5150816" cy="1228225"/>
          </a:xfrm>
          <a:solidFill>
            <a:srgbClr val="D9D9D9"/>
          </a:solidFill>
        </p:spPr>
        <p:txBody>
          <a:bodyPr/>
          <a:lstStyle/>
          <a:p>
            <a:pPr marL="0" lvl="1" indent="0">
              <a:spcAft>
                <a:spcPts val="400"/>
              </a:spcAft>
              <a:buNone/>
            </a:pPr>
            <a:r>
              <a:rPr lang="en-US" dirty="0"/>
              <a:t>Independent analysis on this topic expected Q3/Q4 2023</a:t>
            </a:r>
          </a:p>
          <a:p>
            <a:pPr marL="0" lvl="1" indent="0">
              <a:spcAft>
                <a:spcPts val="400"/>
              </a:spcAft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06412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14460"/>
            <a:fld id="{BC25E9A2-3CD6-B841-BB4B-7865D9175DAE}" type="datetime3">
              <a:rPr lang="da-DK">
                <a:solidFill>
                  <a:srgbClr val="FFFFFF">
                    <a:lumMod val="75000"/>
                  </a:srgbClr>
                </a:solidFill>
                <a:latin typeface="Arial"/>
              </a:rPr>
              <a:pPr defTabSz="914460"/>
              <a:t>08.06.2023</a:t>
            </a:fld>
            <a:endParaRPr lang="da-DK" dirty="0">
              <a:solidFill>
                <a:srgbClr val="FFFFFF">
                  <a:lumMod val="75000"/>
                </a:srgbClr>
              </a:solidFill>
              <a:latin typeface="Arial"/>
            </a:endParaRP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Offshore production</a:t>
            </a:r>
          </a:p>
          <a:p>
            <a:pPr marL="590319" lvl="1" indent="-376739"/>
            <a:r>
              <a:rPr lang="en-US" sz="1845" dirty="0"/>
              <a:t>Decreased by 3 pct. compared to 2021</a:t>
            </a:r>
          </a:p>
          <a:p>
            <a:pPr>
              <a:buNone/>
            </a:pPr>
            <a:endParaRPr lang="en-US" sz="1845" dirty="0"/>
          </a:p>
          <a:p>
            <a:pPr>
              <a:buNone/>
            </a:pPr>
            <a:r>
              <a:rPr lang="en-US" b="1" dirty="0" err="1"/>
              <a:t>Biomethane</a:t>
            </a:r>
            <a:r>
              <a:rPr lang="en-US" b="1" dirty="0"/>
              <a:t> production</a:t>
            </a:r>
          </a:p>
          <a:p>
            <a:pPr marL="590319" lvl="1" indent="-376739"/>
            <a:r>
              <a:rPr lang="en-US" sz="1845" dirty="0"/>
              <a:t>Production increase to 0.57bcm in 2022</a:t>
            </a:r>
          </a:p>
          <a:p>
            <a:pPr marL="590319" lvl="1" indent="-376739"/>
            <a:r>
              <a:rPr lang="en-US" sz="1845" dirty="0"/>
              <a:t>Increased by 15 pct. compared to 2021</a:t>
            </a:r>
          </a:p>
          <a:p>
            <a:pPr marL="590319" lvl="1" indent="-376739"/>
            <a:r>
              <a:rPr lang="en-US" sz="1845" dirty="0"/>
              <a:t>31 pct. of consumption</a:t>
            </a:r>
          </a:p>
          <a:p>
            <a:pPr marL="376739" indent="-376739">
              <a:buFont typeface="Arial" panose="020B0604020202020204" pitchFamily="34" charset="0"/>
              <a:buChar char="•"/>
            </a:pPr>
            <a:endParaRPr lang="en-US" sz="1845" dirty="0"/>
          </a:p>
          <a:p>
            <a:pPr>
              <a:buNone/>
            </a:pPr>
            <a:r>
              <a:rPr lang="en-US" b="1" dirty="0"/>
              <a:t>Consumption</a:t>
            </a:r>
          </a:p>
          <a:p>
            <a:pPr marL="590319" lvl="1" indent="-376739"/>
            <a:r>
              <a:rPr lang="en-US" sz="1845" dirty="0"/>
              <a:t>DK consumption record low</a:t>
            </a:r>
          </a:p>
          <a:p>
            <a:pPr marL="590319" lvl="1" indent="-376739"/>
            <a:r>
              <a:rPr lang="en-US" sz="1845" dirty="0"/>
              <a:t>1.8bcm in 2022</a:t>
            </a:r>
            <a:endParaRPr lang="en-US" dirty="0"/>
          </a:p>
          <a:p>
            <a:pPr lvl="1" indent="0">
              <a:buNone/>
            </a:pPr>
            <a:endParaRPr lang="en-US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635" dirty="0" err="1"/>
              <a:t>Production</a:t>
            </a:r>
            <a:r>
              <a:rPr lang="da-DK" sz="2635" dirty="0"/>
              <a:t> and </a:t>
            </a:r>
            <a:r>
              <a:rPr lang="da-DK" sz="2635" dirty="0" err="1"/>
              <a:t>Consumption</a:t>
            </a:r>
            <a:endParaRPr lang="da-DK" sz="2635" dirty="0"/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5"/>
          </p:nvPr>
        </p:nvSpPr>
        <p:spPr>
          <a:xfrm>
            <a:off x="6425736" y="5789548"/>
            <a:ext cx="5028093" cy="462617"/>
          </a:xfrm>
        </p:spPr>
        <p:txBody>
          <a:bodyPr/>
          <a:lstStyle/>
          <a:p>
            <a:r>
              <a:rPr lang="da-DK" sz="923" dirty="0"/>
              <a:t>Source: The Danish Utility Regulator </a:t>
            </a:r>
            <a:r>
              <a:rPr lang="da-DK" sz="923" dirty="0" err="1"/>
              <a:t>based</a:t>
            </a:r>
            <a:r>
              <a:rPr lang="da-DK" sz="923" dirty="0"/>
              <a:t> on data from the Danish Energy Agency</a:t>
            </a:r>
          </a:p>
        </p:txBody>
      </p:sp>
      <p:sp>
        <p:nvSpPr>
          <p:cNvPr id="9" name="Titel 4"/>
          <p:cNvSpPr txBox="1">
            <a:spLocks/>
          </p:cNvSpPr>
          <p:nvPr/>
        </p:nvSpPr>
        <p:spPr>
          <a:xfrm>
            <a:off x="6451882" y="1055257"/>
            <a:ext cx="5006013" cy="259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54"/>
            <a:r>
              <a:rPr lang="da-DK" sz="1445" dirty="0" err="1">
                <a:solidFill>
                  <a:srgbClr val="003856"/>
                </a:solidFill>
                <a:latin typeface="Arial"/>
              </a:rPr>
              <a:t>Annual</a:t>
            </a:r>
            <a:r>
              <a:rPr lang="da-DK" sz="1445" dirty="0">
                <a:solidFill>
                  <a:srgbClr val="003856"/>
                </a:solidFill>
                <a:latin typeface="Arial"/>
              </a:rPr>
              <a:t> </a:t>
            </a:r>
            <a:r>
              <a:rPr lang="da-DK" sz="1445" dirty="0" err="1">
                <a:solidFill>
                  <a:srgbClr val="003856"/>
                </a:solidFill>
                <a:latin typeface="Arial"/>
              </a:rPr>
              <a:t>production</a:t>
            </a:r>
            <a:r>
              <a:rPr lang="da-DK" sz="1445" dirty="0">
                <a:solidFill>
                  <a:srgbClr val="003856"/>
                </a:solidFill>
                <a:latin typeface="Arial"/>
              </a:rPr>
              <a:t> and </a:t>
            </a:r>
            <a:r>
              <a:rPr lang="da-DK" sz="1445" dirty="0" err="1">
                <a:solidFill>
                  <a:srgbClr val="003856"/>
                </a:solidFill>
                <a:latin typeface="Arial"/>
              </a:rPr>
              <a:t>consumption</a:t>
            </a:r>
            <a:r>
              <a:rPr lang="da-DK" sz="1445" dirty="0">
                <a:solidFill>
                  <a:srgbClr val="003856"/>
                </a:solidFill>
                <a:latin typeface="Arial"/>
              </a:rPr>
              <a:t>, 2015-2022</a:t>
            </a:r>
          </a:p>
        </p:txBody>
      </p:sp>
      <p:cxnSp>
        <p:nvCxnSpPr>
          <p:cNvPr id="10" name="Lige forbindelse 9"/>
          <p:cNvCxnSpPr/>
          <p:nvPr/>
        </p:nvCxnSpPr>
        <p:spPr>
          <a:xfrm>
            <a:off x="6451895" y="1330108"/>
            <a:ext cx="3703071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uppe 10"/>
          <p:cNvGrpSpPr/>
          <p:nvPr/>
        </p:nvGrpSpPr>
        <p:grpSpPr>
          <a:xfrm>
            <a:off x="493956" y="6182586"/>
            <a:ext cx="2468713" cy="525503"/>
            <a:chOff x="323528" y="4659982"/>
            <a:chExt cx="1872208" cy="398527"/>
          </a:xfrm>
        </p:grpSpPr>
        <p:sp>
          <p:nvSpPr>
            <p:cNvPr id="12" name="Rektangel 11"/>
            <p:cNvSpPr/>
            <p:nvPr/>
          </p:nvSpPr>
          <p:spPr>
            <a:xfrm>
              <a:off x="323528" y="4659982"/>
              <a:ext cx="1872208" cy="39852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940" tIns="94940" rIns="94940" bIns="94940" rtlCol="0" anchor="ctr"/>
            <a:lstStyle/>
            <a:p>
              <a:pPr algn="ctr" defTabSz="914460"/>
              <a:endParaRPr lang="da-DK" sz="1779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13" name="Billede 1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789" y="4659982"/>
              <a:ext cx="1322864" cy="398527"/>
            </a:xfrm>
            <a:prstGeom prst="rect">
              <a:avLst/>
            </a:prstGeom>
          </p:spPr>
        </p:pic>
      </p:grpSp>
      <p:graphicFrame>
        <p:nvGraphicFramePr>
          <p:cNvPr id="14" name="Pladsholder til diagram 13"/>
          <p:cNvGraphicFramePr>
            <a:graphicFrameLocks noGrp="1"/>
          </p:cNvGraphicFramePr>
          <p:nvPr>
            <p:ph type="chart" sz="quarter" idx="14"/>
          </p:nvPr>
        </p:nvGraphicFramePr>
        <p:xfrm>
          <a:off x="6455846" y="1508795"/>
          <a:ext cx="5084233" cy="4265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82237937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3"/>
          </p:nvPr>
        </p:nvSpPr>
        <p:spPr>
          <a:xfrm>
            <a:off x="711906" y="1578011"/>
            <a:ext cx="5099263" cy="4474419"/>
          </a:xfrm>
        </p:spPr>
        <p:txBody>
          <a:bodyPr/>
          <a:lstStyle/>
          <a:p>
            <a:r>
              <a:rPr lang="en-GB" b="1" dirty="0"/>
              <a:t>Import</a:t>
            </a:r>
          </a:p>
          <a:p>
            <a:pPr marL="590319" lvl="1" indent="-376739"/>
            <a:r>
              <a:rPr lang="en-GB" sz="1845" dirty="0"/>
              <a:t>Denmark was net importer in 2022 – but with few months of net export</a:t>
            </a:r>
          </a:p>
          <a:p>
            <a:pPr marL="590319" lvl="1" indent="-376739"/>
            <a:r>
              <a:rPr lang="en-GB" sz="1845" dirty="0"/>
              <a:t>Increase in imports in 2022 – especially in Q4 due to Baltic Pipe</a:t>
            </a:r>
          </a:p>
          <a:p>
            <a:pPr marL="838171" lvl="1" indent="-243407">
              <a:buFontTx/>
              <a:buChar char="-"/>
              <a:tabLst>
                <a:tab pos="838171" algn="l"/>
              </a:tabLst>
            </a:pPr>
            <a:r>
              <a:rPr lang="en-GB" sz="1573" dirty="0"/>
              <a:t>72 pct. import from Germany</a:t>
            </a:r>
          </a:p>
          <a:p>
            <a:pPr marL="838171" lvl="1" indent="-243407">
              <a:buFontTx/>
              <a:buChar char="-"/>
              <a:tabLst>
                <a:tab pos="838171" algn="l"/>
              </a:tabLst>
            </a:pPr>
            <a:r>
              <a:rPr lang="en-GB" sz="1573" dirty="0"/>
              <a:t>28 pct. import from Norway</a:t>
            </a:r>
          </a:p>
          <a:p>
            <a:pPr>
              <a:buNone/>
            </a:pPr>
            <a:endParaRPr lang="en-GB" dirty="0"/>
          </a:p>
          <a:p>
            <a:pPr>
              <a:buNone/>
            </a:pPr>
            <a:r>
              <a:rPr lang="en-GB" b="1" dirty="0"/>
              <a:t>Export</a:t>
            </a:r>
          </a:p>
          <a:p>
            <a:pPr marL="590319" lvl="1" indent="-376739"/>
            <a:r>
              <a:rPr lang="en-GB" sz="1845" dirty="0"/>
              <a:t>Due to Baltic Pipe, new export to Poland</a:t>
            </a:r>
          </a:p>
          <a:p>
            <a:pPr marL="838171" lvl="2" indent="-243407"/>
            <a:r>
              <a:rPr lang="en-GB" sz="1579" dirty="0"/>
              <a:t>44 pct. export to Netherlands</a:t>
            </a:r>
          </a:p>
          <a:p>
            <a:pPr marL="838171" lvl="2" indent="-243407"/>
            <a:r>
              <a:rPr lang="en-GB" sz="1579" dirty="0"/>
              <a:t>26 pct. export to Sweden</a:t>
            </a:r>
          </a:p>
          <a:p>
            <a:pPr marL="838171" lvl="2" indent="-243407"/>
            <a:r>
              <a:rPr lang="en-GB" sz="1579" dirty="0"/>
              <a:t>30 pct. export to Poland</a:t>
            </a:r>
          </a:p>
          <a:p>
            <a:pPr>
              <a:buNone/>
            </a:pP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14460"/>
            <a:fld id="{918D264B-0937-A140-ABAC-40D682193E49}" type="datetime3">
              <a:rPr lang="da-DK">
                <a:solidFill>
                  <a:srgbClr val="FFFFFF">
                    <a:lumMod val="75000"/>
                  </a:srgbClr>
                </a:solidFill>
                <a:latin typeface="Arial"/>
              </a:rPr>
              <a:pPr defTabSz="914460"/>
              <a:t>08.06.2023</a:t>
            </a:fld>
            <a:endParaRPr lang="da-DK" dirty="0">
              <a:solidFill>
                <a:srgbClr val="FFFFFF">
                  <a:lumMod val="75000"/>
                </a:srgbClr>
              </a:solidFill>
              <a:latin typeface="Arial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635" dirty="0"/>
              <a:t>Import and Export</a:t>
            </a:r>
          </a:p>
        </p:txBody>
      </p:sp>
      <p:grpSp>
        <p:nvGrpSpPr>
          <p:cNvPr id="10" name="Gruppe 9"/>
          <p:cNvGrpSpPr/>
          <p:nvPr/>
        </p:nvGrpSpPr>
        <p:grpSpPr>
          <a:xfrm>
            <a:off x="493956" y="6182586"/>
            <a:ext cx="2468713" cy="525503"/>
            <a:chOff x="323528" y="4659982"/>
            <a:chExt cx="1872208" cy="398527"/>
          </a:xfrm>
        </p:grpSpPr>
        <p:sp>
          <p:nvSpPr>
            <p:cNvPr id="11" name="Rektangel 10"/>
            <p:cNvSpPr/>
            <p:nvPr/>
          </p:nvSpPr>
          <p:spPr>
            <a:xfrm>
              <a:off x="323528" y="4659982"/>
              <a:ext cx="1872208" cy="39852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940" tIns="94940" rIns="94940" bIns="94940" rtlCol="0" anchor="ctr"/>
            <a:lstStyle/>
            <a:p>
              <a:pPr algn="ctr" defTabSz="914460"/>
              <a:endParaRPr lang="da-DK" sz="1779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12" name="Billede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789" y="4659982"/>
              <a:ext cx="1322864" cy="398527"/>
            </a:xfrm>
            <a:prstGeom prst="rect">
              <a:avLst/>
            </a:prstGeom>
          </p:spPr>
        </p:pic>
      </p:grpSp>
      <p:sp>
        <p:nvSpPr>
          <p:cNvPr id="13" name="Pladsholder til tekst 5"/>
          <p:cNvSpPr txBox="1">
            <a:spLocks/>
          </p:cNvSpPr>
          <p:nvPr/>
        </p:nvSpPr>
        <p:spPr>
          <a:xfrm>
            <a:off x="6425736" y="5789548"/>
            <a:ext cx="5028093" cy="4626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 defTabSz="685783" rtl="0" eaLnBrk="1" latinLnBrk="0" hangingPunct="1">
              <a:lnSpc>
                <a:spcPct val="91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61996" indent="-161996" algn="r" defTabSz="685783" rtl="0" eaLnBrk="1" latinLnBrk="0" hangingPunct="1">
              <a:lnSpc>
                <a:spcPct val="91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323992" indent="-161996" algn="r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485988" indent="-161996" algn="r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647984" indent="-161996" algn="r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647984" indent="-161996" algn="l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647984" indent="-161996" algn="l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647984" indent="-161996" algn="l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647984" indent="-161996" algn="l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/>
            <a:r>
              <a:rPr lang="da-DK" sz="923">
                <a:solidFill>
                  <a:srgbClr val="003856"/>
                </a:solidFill>
                <a:latin typeface="Arial"/>
              </a:rPr>
              <a:t>Source: The Danish Utility Regulator based on data from the Danish Energy Agency</a:t>
            </a:r>
            <a:endParaRPr lang="da-DK" sz="923" dirty="0">
              <a:solidFill>
                <a:srgbClr val="003856"/>
              </a:solidFill>
              <a:latin typeface="Arial"/>
            </a:endParaRPr>
          </a:p>
        </p:txBody>
      </p:sp>
      <p:sp>
        <p:nvSpPr>
          <p:cNvPr id="14" name="Titel 4"/>
          <p:cNvSpPr txBox="1">
            <a:spLocks/>
          </p:cNvSpPr>
          <p:nvPr/>
        </p:nvSpPr>
        <p:spPr>
          <a:xfrm>
            <a:off x="6451882" y="1055257"/>
            <a:ext cx="5006013" cy="259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54"/>
            <a:r>
              <a:rPr lang="da-DK" sz="1445" dirty="0">
                <a:solidFill>
                  <a:srgbClr val="003856"/>
                </a:solidFill>
                <a:latin typeface="Arial"/>
              </a:rPr>
              <a:t>Import and export per country, 2022</a:t>
            </a:r>
          </a:p>
        </p:txBody>
      </p:sp>
      <p:cxnSp>
        <p:nvCxnSpPr>
          <p:cNvPr id="15" name="Lige forbindelse 14"/>
          <p:cNvCxnSpPr/>
          <p:nvPr/>
        </p:nvCxnSpPr>
        <p:spPr>
          <a:xfrm>
            <a:off x="6451895" y="1330108"/>
            <a:ext cx="3703071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Pladsholder til diagram 18"/>
          <p:cNvGraphicFramePr>
            <a:graphicFrameLocks noGrp="1"/>
          </p:cNvGraphicFramePr>
          <p:nvPr>
            <p:ph type="chart" sz="quarter" idx="14"/>
          </p:nvPr>
        </p:nvGraphicFramePr>
        <p:xfrm>
          <a:off x="6455846" y="1557867"/>
          <a:ext cx="5084233" cy="4176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2688168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14460"/>
            <a:fld id="{BC25E9A2-3CD6-B841-BB4B-7865D9175DAE}" type="datetime3">
              <a:rPr lang="da-DK">
                <a:solidFill>
                  <a:srgbClr val="FFFFFF">
                    <a:lumMod val="75000"/>
                  </a:srgbClr>
                </a:solidFill>
                <a:latin typeface="Arial"/>
              </a:rPr>
              <a:pPr defTabSz="914460"/>
              <a:t>08.06.2023</a:t>
            </a:fld>
            <a:endParaRPr lang="da-DK" dirty="0">
              <a:solidFill>
                <a:srgbClr val="FFFFFF">
                  <a:lumMod val="75000"/>
                </a:srgbClr>
              </a:solidFill>
              <a:latin typeface="Arial"/>
            </a:endParaRP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711905" y="1578011"/>
            <a:ext cx="5027640" cy="4474419"/>
          </a:xfrm>
        </p:spPr>
        <p:txBody>
          <a:bodyPr/>
          <a:lstStyle/>
          <a:p>
            <a:r>
              <a:rPr lang="en-US" b="1" dirty="0"/>
              <a:t>Storage capacity 2021: 9.9 TWh </a:t>
            </a:r>
          </a:p>
          <a:p>
            <a:pPr marL="590319" lvl="1" indent="-376739"/>
            <a:r>
              <a:rPr lang="en-US" sz="1845" dirty="0"/>
              <a:t>Average price in 2022: </a:t>
            </a:r>
          </a:p>
          <a:p>
            <a:pPr lvl="1" indent="0">
              <a:buNone/>
            </a:pPr>
            <a:r>
              <a:rPr lang="en-US" sz="1845" dirty="0"/>
              <a:t>	6.47 EUR/MWh (up 24 pct.)</a:t>
            </a:r>
          </a:p>
          <a:p>
            <a:pPr marL="590319" lvl="1" indent="-376739"/>
            <a:r>
              <a:rPr lang="en-US" sz="1845" dirty="0"/>
              <a:t>Average price in 2022: (170/120 product)</a:t>
            </a:r>
          </a:p>
          <a:p>
            <a:pPr lvl="1" indent="0">
              <a:buNone/>
            </a:pPr>
            <a:r>
              <a:rPr lang="en-US" sz="1845" dirty="0"/>
              <a:t>	5.48 EUR/MWh</a:t>
            </a:r>
          </a:p>
          <a:p>
            <a:pPr>
              <a:buNone/>
            </a:pPr>
            <a:endParaRPr lang="en-US" sz="1579" dirty="0"/>
          </a:p>
          <a:p>
            <a:pPr>
              <a:buNone/>
            </a:pPr>
            <a:r>
              <a:rPr lang="en-US" b="1" dirty="0"/>
              <a:t>High filling level during the year</a:t>
            </a:r>
          </a:p>
          <a:p>
            <a:pPr marL="590319" lvl="1" indent="-376739"/>
            <a:r>
              <a:rPr lang="en-US" sz="1845" dirty="0"/>
              <a:t>EU storage regulation</a:t>
            </a:r>
            <a:endParaRPr lang="en-US" b="1" dirty="0"/>
          </a:p>
          <a:p>
            <a:pPr>
              <a:buNone/>
            </a:pPr>
            <a:endParaRPr lang="en-US" dirty="0"/>
          </a:p>
          <a:p>
            <a:r>
              <a:rPr lang="en-US" b="1" dirty="0"/>
              <a:t>Status as of June 2023</a:t>
            </a:r>
          </a:p>
          <a:p>
            <a:pPr marL="590319" lvl="1" indent="-376739"/>
            <a:r>
              <a:rPr lang="en-US" sz="1845" dirty="0"/>
              <a:t>Storage sold out, high filling level</a:t>
            </a:r>
          </a:p>
          <a:p>
            <a:pPr marL="590319" lvl="1" indent="-376739"/>
            <a:r>
              <a:rPr lang="en-US" sz="1845" dirty="0"/>
              <a:t>Seasonal spread positive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635" dirty="0"/>
              <a:t>Storage</a:t>
            </a:r>
            <a:endParaRPr lang="da-DK" sz="2372" dirty="0"/>
          </a:p>
        </p:txBody>
      </p:sp>
      <p:grpSp>
        <p:nvGrpSpPr>
          <p:cNvPr id="10" name="Gruppe 9"/>
          <p:cNvGrpSpPr/>
          <p:nvPr/>
        </p:nvGrpSpPr>
        <p:grpSpPr>
          <a:xfrm>
            <a:off x="493956" y="6182586"/>
            <a:ext cx="2468713" cy="525503"/>
            <a:chOff x="323528" y="4659982"/>
            <a:chExt cx="1872208" cy="398527"/>
          </a:xfrm>
        </p:grpSpPr>
        <p:sp>
          <p:nvSpPr>
            <p:cNvPr id="11" name="Rektangel 10"/>
            <p:cNvSpPr/>
            <p:nvPr/>
          </p:nvSpPr>
          <p:spPr>
            <a:xfrm>
              <a:off x="323528" y="4659982"/>
              <a:ext cx="1872208" cy="39852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940" tIns="94940" rIns="94940" bIns="94940" rtlCol="0" anchor="ctr"/>
            <a:lstStyle/>
            <a:p>
              <a:pPr algn="ctr" defTabSz="914460"/>
              <a:endParaRPr lang="da-DK" sz="1779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12" name="Billede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789" y="4659982"/>
              <a:ext cx="1322864" cy="398527"/>
            </a:xfrm>
            <a:prstGeom prst="rect">
              <a:avLst/>
            </a:prstGeom>
          </p:spPr>
        </p:pic>
      </p:grpSp>
      <p:sp>
        <p:nvSpPr>
          <p:cNvPr id="13" name="Pladsholder til tekst 5"/>
          <p:cNvSpPr txBox="1">
            <a:spLocks/>
          </p:cNvSpPr>
          <p:nvPr/>
        </p:nvSpPr>
        <p:spPr>
          <a:xfrm>
            <a:off x="6425736" y="5789548"/>
            <a:ext cx="5028093" cy="4626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 defTabSz="685783" rtl="0" eaLnBrk="1" latinLnBrk="0" hangingPunct="1">
              <a:lnSpc>
                <a:spcPct val="91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61996" indent="-161996" algn="r" defTabSz="685783" rtl="0" eaLnBrk="1" latinLnBrk="0" hangingPunct="1">
              <a:lnSpc>
                <a:spcPct val="91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323992" indent="-161996" algn="r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485988" indent="-161996" algn="r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647984" indent="-161996" algn="r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647984" indent="-161996" algn="l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647984" indent="-161996" algn="l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647984" indent="-161996" algn="l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647984" indent="-161996" algn="l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/>
            <a:r>
              <a:rPr lang="da-DK" sz="923" dirty="0">
                <a:solidFill>
                  <a:srgbClr val="003856"/>
                </a:solidFill>
                <a:latin typeface="Arial"/>
              </a:rPr>
              <a:t>Source: The Danish Utility Regulator </a:t>
            </a:r>
            <a:r>
              <a:rPr lang="da-DK" sz="923" dirty="0" err="1">
                <a:solidFill>
                  <a:srgbClr val="003856"/>
                </a:solidFill>
                <a:latin typeface="Arial"/>
              </a:rPr>
              <a:t>based</a:t>
            </a:r>
            <a:r>
              <a:rPr lang="da-DK" sz="923" dirty="0">
                <a:solidFill>
                  <a:srgbClr val="003856"/>
                </a:solidFill>
                <a:latin typeface="Arial"/>
              </a:rPr>
              <a:t> on data from Energi Data Service</a:t>
            </a:r>
          </a:p>
        </p:txBody>
      </p:sp>
      <p:sp>
        <p:nvSpPr>
          <p:cNvPr id="14" name="Titel 4"/>
          <p:cNvSpPr txBox="1">
            <a:spLocks/>
          </p:cNvSpPr>
          <p:nvPr/>
        </p:nvSpPr>
        <p:spPr>
          <a:xfrm>
            <a:off x="6451882" y="1055257"/>
            <a:ext cx="5006013" cy="259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54"/>
            <a:r>
              <a:rPr lang="da-DK" sz="1445" dirty="0">
                <a:solidFill>
                  <a:srgbClr val="003856"/>
                </a:solidFill>
                <a:latin typeface="Arial"/>
              </a:rPr>
              <a:t>Storage Utilisation, </a:t>
            </a:r>
            <a:r>
              <a:rPr lang="da-DK" sz="1445" dirty="0" err="1">
                <a:solidFill>
                  <a:srgbClr val="003856"/>
                </a:solidFill>
                <a:latin typeface="Arial"/>
              </a:rPr>
              <a:t>Injection</a:t>
            </a:r>
            <a:r>
              <a:rPr lang="da-DK" sz="1445" dirty="0">
                <a:solidFill>
                  <a:srgbClr val="003856"/>
                </a:solidFill>
                <a:latin typeface="Arial"/>
              </a:rPr>
              <a:t>, </a:t>
            </a:r>
            <a:r>
              <a:rPr lang="da-DK" sz="1445" dirty="0" err="1">
                <a:solidFill>
                  <a:srgbClr val="003856"/>
                </a:solidFill>
                <a:latin typeface="Arial"/>
              </a:rPr>
              <a:t>Withdrawal</a:t>
            </a:r>
            <a:r>
              <a:rPr lang="da-DK" sz="1445" dirty="0">
                <a:solidFill>
                  <a:srgbClr val="003856"/>
                </a:solidFill>
                <a:latin typeface="Arial"/>
              </a:rPr>
              <a:t>, 2022-2023</a:t>
            </a:r>
          </a:p>
        </p:txBody>
      </p:sp>
      <p:cxnSp>
        <p:nvCxnSpPr>
          <p:cNvPr id="15" name="Lige forbindelse 14"/>
          <p:cNvCxnSpPr/>
          <p:nvPr/>
        </p:nvCxnSpPr>
        <p:spPr>
          <a:xfrm>
            <a:off x="6451895" y="1330108"/>
            <a:ext cx="3703071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Pladsholder til diagram 16"/>
          <p:cNvGraphicFramePr>
            <a:graphicFrameLocks noGrp="1"/>
          </p:cNvGraphicFramePr>
          <p:nvPr>
            <p:ph type="chart" sz="quarter" idx="14"/>
          </p:nvPr>
        </p:nvGraphicFramePr>
        <p:xfrm>
          <a:off x="6455846" y="1557867"/>
          <a:ext cx="5084233" cy="42316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167742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Total traded/delivered volume</a:t>
            </a:r>
          </a:p>
          <a:p>
            <a:pPr marL="590319" lvl="1" indent="-376739"/>
            <a:r>
              <a:rPr lang="en-US" sz="1845" dirty="0"/>
              <a:t>Exchange (ETF): 	12 TWh</a:t>
            </a:r>
          </a:p>
          <a:p>
            <a:pPr marL="590319" lvl="1" indent="-376739"/>
            <a:r>
              <a:rPr lang="en-US" sz="1845" dirty="0"/>
              <a:t>Bilateral (GTF):	18 TWh</a:t>
            </a:r>
          </a:p>
          <a:p>
            <a:pPr marL="376739" indent="-376739">
              <a:buFont typeface="Arial" panose="020B0604020202020204" pitchFamily="34" charset="0"/>
              <a:buChar char="•"/>
            </a:pPr>
            <a:endParaRPr lang="en-US" sz="1845" dirty="0"/>
          </a:p>
          <a:p>
            <a:pPr>
              <a:buNone/>
            </a:pPr>
            <a:r>
              <a:rPr lang="en-US" b="1" dirty="0"/>
              <a:t>GTF is primary delivery point</a:t>
            </a:r>
          </a:p>
          <a:p>
            <a:pPr marL="590319" lvl="1" indent="-376739"/>
            <a:r>
              <a:rPr lang="en-US" sz="1845" dirty="0"/>
              <a:t>Baltic Pipe impact</a:t>
            </a:r>
          </a:p>
          <a:p>
            <a:pPr marL="590319" lvl="1" indent="-376739"/>
            <a:r>
              <a:rPr lang="en-US" sz="1845" dirty="0"/>
              <a:t>Share of volume:</a:t>
            </a:r>
          </a:p>
          <a:p>
            <a:pPr marL="803899" lvl="2" indent="-376739"/>
            <a:r>
              <a:rPr lang="en-US" sz="1579" dirty="0"/>
              <a:t>ETF: 	40 pct.</a:t>
            </a:r>
          </a:p>
          <a:p>
            <a:pPr marL="803899" lvl="2" indent="-376739"/>
            <a:r>
              <a:rPr lang="en-US" sz="1579" dirty="0"/>
              <a:t>GTF:	60 pct.</a:t>
            </a:r>
          </a:p>
          <a:p>
            <a:pPr>
              <a:buNone/>
            </a:pPr>
            <a:endParaRPr lang="en-US" sz="1845" dirty="0"/>
          </a:p>
          <a:p>
            <a:pPr>
              <a:buNone/>
            </a:pPr>
            <a:r>
              <a:rPr lang="en-US" b="1" dirty="0"/>
              <a:t>Day-ahead and weekend products </a:t>
            </a:r>
          </a:p>
          <a:p>
            <a:pPr>
              <a:buNone/>
            </a:pPr>
            <a:r>
              <a:rPr lang="en-US" b="1" dirty="0">
                <a:sym typeface="Wingdings" panose="05000000000000000000" pitchFamily="2" charset="2"/>
              </a:rPr>
              <a:t></a:t>
            </a:r>
            <a:r>
              <a:rPr lang="en-US" b="1" dirty="0"/>
              <a:t> 90 pct. of traded volume</a:t>
            </a:r>
          </a:p>
          <a:p>
            <a:pPr>
              <a:buNone/>
            </a:pPr>
            <a:endParaRPr lang="en-US" b="1" dirty="0"/>
          </a:p>
          <a:p>
            <a:pPr>
              <a:buNone/>
            </a:pPr>
            <a:r>
              <a:rPr lang="en-US" b="1" dirty="0"/>
              <a:t>Market concentration is moderate</a:t>
            </a:r>
          </a:p>
          <a:p>
            <a:pPr marL="590319" lvl="1" indent="-376739"/>
            <a:r>
              <a:rPr lang="en-US" sz="1845" dirty="0"/>
              <a:t>GTF is increasing</a:t>
            </a:r>
          </a:p>
          <a:p>
            <a:pPr marL="590319" lvl="1" indent="-376739"/>
            <a:r>
              <a:rPr lang="en-US" sz="1845" dirty="0"/>
              <a:t>DUR is monitoring development to ensure well functioning markets</a:t>
            </a:r>
          </a:p>
          <a:p>
            <a:pPr>
              <a:buNone/>
            </a:pPr>
            <a:endParaRPr lang="en-US" b="1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14460"/>
            <a:fld id="{3C89AC91-4FCC-EF49-BA41-9CB46A9F1DD9}" type="datetime3">
              <a:rPr lang="da-DK">
                <a:solidFill>
                  <a:srgbClr val="FFFFFF">
                    <a:lumMod val="75000"/>
                  </a:srgbClr>
                </a:solidFill>
                <a:latin typeface="Arial"/>
              </a:rPr>
              <a:pPr defTabSz="914460"/>
              <a:t>08.06.2023</a:t>
            </a:fld>
            <a:endParaRPr lang="da-DK" dirty="0">
              <a:solidFill>
                <a:srgbClr val="FFFFFF">
                  <a:lumMod val="75000"/>
                </a:srgbClr>
              </a:solidFill>
              <a:latin typeface="Arial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635" dirty="0"/>
              <a:t>Trading and Market</a:t>
            </a:r>
          </a:p>
        </p:txBody>
      </p:sp>
      <p:grpSp>
        <p:nvGrpSpPr>
          <p:cNvPr id="11" name="Gruppe 10"/>
          <p:cNvGrpSpPr/>
          <p:nvPr/>
        </p:nvGrpSpPr>
        <p:grpSpPr>
          <a:xfrm>
            <a:off x="493956" y="6182586"/>
            <a:ext cx="2468713" cy="525503"/>
            <a:chOff x="323528" y="4659982"/>
            <a:chExt cx="1872208" cy="398527"/>
          </a:xfrm>
        </p:grpSpPr>
        <p:sp>
          <p:nvSpPr>
            <p:cNvPr id="12" name="Rektangel 11"/>
            <p:cNvSpPr/>
            <p:nvPr/>
          </p:nvSpPr>
          <p:spPr>
            <a:xfrm>
              <a:off x="323528" y="4659982"/>
              <a:ext cx="1872208" cy="39852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940" tIns="94940" rIns="94940" bIns="94940" rtlCol="0" anchor="ctr"/>
            <a:lstStyle/>
            <a:p>
              <a:pPr algn="ctr" defTabSz="914460"/>
              <a:endParaRPr lang="da-DK" sz="1779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13" name="Billede 1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789" y="4659982"/>
              <a:ext cx="1322864" cy="398527"/>
            </a:xfrm>
            <a:prstGeom prst="rect">
              <a:avLst/>
            </a:prstGeom>
          </p:spPr>
        </p:pic>
      </p:grpSp>
      <p:sp>
        <p:nvSpPr>
          <p:cNvPr id="14" name="Pladsholder til tekst 5"/>
          <p:cNvSpPr txBox="1">
            <a:spLocks/>
          </p:cNvSpPr>
          <p:nvPr/>
        </p:nvSpPr>
        <p:spPr>
          <a:xfrm>
            <a:off x="6425736" y="5789548"/>
            <a:ext cx="5028093" cy="4626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 defTabSz="685783" rtl="0" eaLnBrk="1" latinLnBrk="0" hangingPunct="1">
              <a:lnSpc>
                <a:spcPct val="91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61996" indent="-161996" algn="r" defTabSz="685783" rtl="0" eaLnBrk="1" latinLnBrk="0" hangingPunct="1">
              <a:lnSpc>
                <a:spcPct val="91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323992" indent="-161996" algn="r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485988" indent="-161996" algn="r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647984" indent="-161996" algn="r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647984" indent="-161996" algn="l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647984" indent="-161996" algn="l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647984" indent="-161996" algn="l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647984" indent="-161996" algn="l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/>
            <a:r>
              <a:rPr lang="da-DK" sz="923" dirty="0">
                <a:solidFill>
                  <a:srgbClr val="003856"/>
                </a:solidFill>
                <a:latin typeface="Arial"/>
              </a:rPr>
              <a:t>Source: The Danish Utility Regulator </a:t>
            </a:r>
            <a:r>
              <a:rPr lang="da-DK" sz="923" dirty="0" err="1">
                <a:solidFill>
                  <a:srgbClr val="003856"/>
                </a:solidFill>
                <a:latin typeface="Arial"/>
              </a:rPr>
              <a:t>based</a:t>
            </a:r>
            <a:r>
              <a:rPr lang="da-DK" sz="923" dirty="0">
                <a:solidFill>
                  <a:srgbClr val="003856"/>
                </a:solidFill>
                <a:latin typeface="Arial"/>
              </a:rPr>
              <a:t> on data from Energinet</a:t>
            </a:r>
          </a:p>
        </p:txBody>
      </p:sp>
      <p:sp>
        <p:nvSpPr>
          <p:cNvPr id="15" name="Titel 4"/>
          <p:cNvSpPr txBox="1">
            <a:spLocks/>
          </p:cNvSpPr>
          <p:nvPr/>
        </p:nvSpPr>
        <p:spPr>
          <a:xfrm>
            <a:off x="6451882" y="1055257"/>
            <a:ext cx="5006013" cy="2591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54"/>
            <a:r>
              <a:rPr lang="da-DK" sz="1445" dirty="0" err="1">
                <a:solidFill>
                  <a:srgbClr val="003856"/>
                </a:solidFill>
                <a:latin typeface="Arial"/>
              </a:rPr>
              <a:t>Traded</a:t>
            </a:r>
            <a:r>
              <a:rPr lang="da-DK" sz="1445" dirty="0">
                <a:solidFill>
                  <a:srgbClr val="003856"/>
                </a:solidFill>
                <a:latin typeface="Arial"/>
              </a:rPr>
              <a:t> Volume at ETF and GTF, 2018-2022</a:t>
            </a:r>
          </a:p>
        </p:txBody>
      </p:sp>
      <p:cxnSp>
        <p:nvCxnSpPr>
          <p:cNvPr id="16" name="Lige forbindelse 15"/>
          <p:cNvCxnSpPr/>
          <p:nvPr/>
        </p:nvCxnSpPr>
        <p:spPr>
          <a:xfrm>
            <a:off x="6451895" y="1330108"/>
            <a:ext cx="3703071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Pladsholder til diagram 16"/>
          <p:cNvGraphicFramePr>
            <a:graphicFrameLocks noGrp="1" noChangeAspect="1"/>
          </p:cNvGraphicFramePr>
          <p:nvPr>
            <p:ph type="chart" sz="quarter" idx="14"/>
          </p:nvPr>
        </p:nvGraphicFramePr>
        <p:xfrm>
          <a:off x="6455846" y="1412781"/>
          <a:ext cx="5084233" cy="4321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9697039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6"/>
          </p:nvPr>
        </p:nvSpPr>
        <p:spPr>
          <a:xfrm>
            <a:off x="2979910" y="3780149"/>
            <a:ext cx="6232180" cy="1470041"/>
          </a:xfrm>
        </p:spPr>
        <p:txBody>
          <a:bodyPr/>
          <a:lstStyle/>
          <a:p>
            <a:r>
              <a:rPr lang="en-GB" dirty="0"/>
              <a:t>Welcome</a:t>
            </a:r>
          </a:p>
        </p:txBody>
      </p:sp>
      <p:pic>
        <p:nvPicPr>
          <p:cNvPr id="6" name="Pladsholder til billede 5"/>
          <p:cNvPicPr>
            <a:picLocks noGrp="1" noChangeAspect="1"/>
          </p:cNvPicPr>
          <p:nvPr>
            <p:ph type="pic" sz="quarter" idx="2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Pladsholder til tekst 3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a-DK" dirty="0"/>
              <a:t>Clement Johan Ulrichsen, Energin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99980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14460"/>
            <a:fld id="{3C89AC91-4FCC-EF49-BA41-9CB46A9F1DD9}" type="datetime3">
              <a:rPr lang="da-DK">
                <a:solidFill>
                  <a:srgbClr val="FFFFFF">
                    <a:lumMod val="75000"/>
                  </a:srgbClr>
                </a:solidFill>
                <a:latin typeface="Arial"/>
              </a:rPr>
              <a:pPr defTabSz="914460"/>
              <a:t>08.06.2023</a:t>
            </a:fld>
            <a:endParaRPr lang="da-DK" dirty="0">
              <a:solidFill>
                <a:srgbClr val="FFFFFF">
                  <a:lumMod val="75000"/>
                </a:srgbClr>
              </a:solidFill>
              <a:latin typeface="Arial"/>
            </a:endParaRPr>
          </a:p>
        </p:txBody>
      </p:sp>
      <p:sp>
        <p:nvSpPr>
          <p:cNvPr id="2" name="Pladsholder til tekst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None/>
            </a:pPr>
            <a:endParaRPr lang="en-US" dirty="0"/>
          </a:p>
          <a:p>
            <a:pPr>
              <a:buNone/>
            </a:pPr>
            <a:r>
              <a:rPr lang="en-US" b="1" dirty="0"/>
              <a:t>Spot prices at ETF record high</a:t>
            </a:r>
          </a:p>
          <a:p>
            <a:pPr marL="590319" lvl="1" indent="-376739"/>
            <a:r>
              <a:rPr lang="en-US" sz="1845" dirty="0"/>
              <a:t>30 August: 		320.4 EUR/MWh</a:t>
            </a:r>
          </a:p>
          <a:p>
            <a:pPr marL="590319" lvl="1" indent="-376739"/>
            <a:r>
              <a:rPr lang="en-US" sz="1845" dirty="0"/>
              <a:t>Avg. price 2022: 	125.1 EUR/MWh</a:t>
            </a:r>
          </a:p>
          <a:p>
            <a:pPr marL="803899" lvl="2" indent="-376739"/>
            <a:endParaRPr lang="en-US" dirty="0"/>
          </a:p>
          <a:p>
            <a:pPr>
              <a:buNone/>
            </a:pPr>
            <a:r>
              <a:rPr lang="en-US" b="1" dirty="0"/>
              <a:t>Avg. price 12 times higher than in 2020</a:t>
            </a:r>
          </a:p>
          <a:p>
            <a:pPr marL="594566" lvl="1" indent="-380985"/>
            <a:r>
              <a:rPr lang="en-US" sz="1845" dirty="0"/>
              <a:t>High volatility in 2022</a:t>
            </a:r>
          </a:p>
          <a:p>
            <a:pPr>
              <a:buNone/>
            </a:pPr>
            <a:endParaRPr lang="en-US" dirty="0"/>
          </a:p>
          <a:p>
            <a:pPr>
              <a:buNone/>
            </a:pPr>
            <a:r>
              <a:rPr lang="en-US" b="1" dirty="0"/>
              <a:t>Avg. price in 2022</a:t>
            </a:r>
          </a:p>
          <a:p>
            <a:pPr marL="590319" lvl="1" indent="-376739"/>
            <a:r>
              <a:rPr lang="en-US" sz="1845" dirty="0"/>
              <a:t>Q1: 	  99.3 EUR/MWh (431 pct. ↑)</a:t>
            </a:r>
          </a:p>
          <a:p>
            <a:pPr marL="590319" lvl="1" indent="-376739"/>
            <a:r>
              <a:rPr lang="en-US" sz="1845" dirty="0"/>
              <a:t>Q2: 	100.7 EUR/MWh (304 pct. ↑)</a:t>
            </a:r>
          </a:p>
          <a:p>
            <a:pPr marL="590319" lvl="1" indent="-376739"/>
            <a:r>
              <a:rPr lang="en-US" sz="1845" dirty="0"/>
              <a:t>Q3: 	198.8 EUR/MWh (320 pct. ↑)</a:t>
            </a:r>
          </a:p>
          <a:p>
            <a:pPr marL="590319" lvl="1" indent="-376739"/>
            <a:r>
              <a:rPr lang="en-US" sz="1845" dirty="0"/>
              <a:t>Q4: 	100.1 EUR/MWh (4 pct. ↑)</a:t>
            </a:r>
          </a:p>
          <a:p>
            <a:pPr>
              <a:buNone/>
            </a:pPr>
            <a:endParaRPr lang="en-US" sz="1845" dirty="0"/>
          </a:p>
          <a:p>
            <a:pPr>
              <a:buNone/>
            </a:pPr>
            <a:r>
              <a:rPr lang="en-US" b="1" dirty="0"/>
              <a:t>Status as of June 2023</a:t>
            </a:r>
          </a:p>
          <a:p>
            <a:pPr marL="590319" lvl="1" indent="-376739"/>
            <a:r>
              <a:rPr lang="en-US" sz="1845" dirty="0"/>
              <a:t>Price level has “</a:t>
            </a:r>
            <a:r>
              <a:rPr lang="en-US" sz="1845" dirty="0" err="1"/>
              <a:t>normalised</a:t>
            </a:r>
            <a:r>
              <a:rPr lang="en-US" sz="1845" dirty="0"/>
              <a:t>”</a:t>
            </a:r>
          </a:p>
          <a:p>
            <a:pPr marL="590319" lvl="1" indent="-376739"/>
            <a:r>
              <a:rPr lang="en-US" sz="1845" dirty="0"/>
              <a:t>TTF July 23: below 25 EUR/MWh</a:t>
            </a:r>
          </a:p>
          <a:p>
            <a:pPr marL="590319" lvl="1" indent="-376739"/>
            <a:endParaRPr lang="en-US" sz="1579" dirty="0"/>
          </a:p>
          <a:p>
            <a:pPr marL="590319" lvl="1" indent="-376739"/>
            <a:endParaRPr lang="en-US" sz="1579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635" dirty="0"/>
              <a:t>Trading and Market</a:t>
            </a:r>
          </a:p>
        </p:txBody>
      </p:sp>
      <p:grpSp>
        <p:nvGrpSpPr>
          <p:cNvPr id="10" name="Gruppe 9"/>
          <p:cNvGrpSpPr/>
          <p:nvPr/>
        </p:nvGrpSpPr>
        <p:grpSpPr>
          <a:xfrm>
            <a:off x="493956" y="6182586"/>
            <a:ext cx="2468713" cy="525503"/>
            <a:chOff x="323528" y="4659982"/>
            <a:chExt cx="1872208" cy="398527"/>
          </a:xfrm>
        </p:grpSpPr>
        <p:sp>
          <p:nvSpPr>
            <p:cNvPr id="11" name="Rektangel 10"/>
            <p:cNvSpPr/>
            <p:nvPr/>
          </p:nvSpPr>
          <p:spPr>
            <a:xfrm>
              <a:off x="323528" y="4659982"/>
              <a:ext cx="1872208" cy="39852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940" tIns="94940" rIns="94940" bIns="94940" rtlCol="0" anchor="ctr"/>
            <a:lstStyle/>
            <a:p>
              <a:pPr algn="ctr" defTabSz="914460"/>
              <a:endParaRPr lang="da-DK" sz="1779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12" name="Billede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789" y="4659982"/>
              <a:ext cx="1322864" cy="398527"/>
            </a:xfrm>
            <a:prstGeom prst="rect">
              <a:avLst/>
            </a:prstGeom>
          </p:spPr>
        </p:pic>
      </p:grpSp>
      <p:sp>
        <p:nvSpPr>
          <p:cNvPr id="13" name="Pladsholder til tekst 5"/>
          <p:cNvSpPr txBox="1">
            <a:spLocks/>
          </p:cNvSpPr>
          <p:nvPr/>
        </p:nvSpPr>
        <p:spPr>
          <a:xfrm>
            <a:off x="6425736" y="5789548"/>
            <a:ext cx="5028093" cy="4626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r" defTabSz="685783" rtl="0" eaLnBrk="1" latinLnBrk="0" hangingPunct="1">
              <a:lnSpc>
                <a:spcPct val="91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61996" indent="-161996" algn="r" defTabSz="685783" rtl="0" eaLnBrk="1" latinLnBrk="0" hangingPunct="1">
              <a:lnSpc>
                <a:spcPct val="91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323992" indent="-161996" algn="r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485988" indent="-161996" algn="r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647984" indent="-161996" algn="r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0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647984" indent="-161996" algn="l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647984" indent="-161996" algn="l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647984" indent="-161996" algn="l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647984" indent="-161996" algn="l" defTabSz="685783" rtl="0" eaLnBrk="1" latinLnBrk="0" hangingPunct="1">
              <a:lnSpc>
                <a:spcPct val="92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4"/>
            <a:r>
              <a:rPr lang="da-DK" sz="923" dirty="0">
                <a:solidFill>
                  <a:srgbClr val="003856"/>
                </a:solidFill>
                <a:latin typeface="Arial"/>
              </a:rPr>
              <a:t>Source: The Danish Utility Regulator </a:t>
            </a:r>
            <a:r>
              <a:rPr lang="da-DK" sz="923" dirty="0" err="1">
                <a:solidFill>
                  <a:srgbClr val="003856"/>
                </a:solidFill>
                <a:latin typeface="Arial"/>
              </a:rPr>
              <a:t>based</a:t>
            </a:r>
            <a:r>
              <a:rPr lang="da-DK" sz="923" dirty="0">
                <a:solidFill>
                  <a:srgbClr val="003856"/>
                </a:solidFill>
                <a:latin typeface="Arial"/>
              </a:rPr>
              <a:t> on data from EEX</a:t>
            </a:r>
          </a:p>
        </p:txBody>
      </p:sp>
      <p:sp>
        <p:nvSpPr>
          <p:cNvPr id="14" name="Titel 4"/>
          <p:cNvSpPr txBox="1">
            <a:spLocks/>
          </p:cNvSpPr>
          <p:nvPr/>
        </p:nvSpPr>
        <p:spPr>
          <a:xfrm>
            <a:off x="6451870" y="1033000"/>
            <a:ext cx="5436124" cy="281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54"/>
            <a:r>
              <a:rPr lang="da-DK" sz="1445" dirty="0">
                <a:solidFill>
                  <a:srgbClr val="003856"/>
                </a:solidFill>
                <a:latin typeface="Arial"/>
              </a:rPr>
              <a:t>Price Development for D-A in DK, NL, and DE, 2022</a:t>
            </a:r>
          </a:p>
        </p:txBody>
      </p:sp>
      <p:cxnSp>
        <p:nvCxnSpPr>
          <p:cNvPr id="15" name="Lige forbindelse 14"/>
          <p:cNvCxnSpPr/>
          <p:nvPr/>
        </p:nvCxnSpPr>
        <p:spPr>
          <a:xfrm>
            <a:off x="6451895" y="1330108"/>
            <a:ext cx="3703071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Pladsholder til diagram 16"/>
          <p:cNvGraphicFramePr>
            <a:graphicFrameLocks noGrp="1"/>
          </p:cNvGraphicFramePr>
          <p:nvPr>
            <p:ph type="chart" sz="quarter" idx="14"/>
          </p:nvPr>
        </p:nvGraphicFramePr>
        <p:xfrm>
          <a:off x="6455846" y="1557867"/>
          <a:ext cx="5084233" cy="42316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595338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14460"/>
            <a:fld id="{918D264B-0937-A140-ABAC-40D682193E49}" type="datetime3">
              <a:rPr lang="da-DK">
                <a:solidFill>
                  <a:srgbClr val="FFFFFF">
                    <a:lumMod val="75000"/>
                  </a:srgbClr>
                </a:solidFill>
                <a:latin typeface="Arial"/>
              </a:rPr>
              <a:pPr defTabSz="914460"/>
              <a:t>08.06.2023</a:t>
            </a:fld>
            <a:endParaRPr lang="da-DK" dirty="0">
              <a:solidFill>
                <a:srgbClr val="FFFFFF">
                  <a:lumMod val="75000"/>
                </a:srgbClr>
              </a:solidFill>
              <a:latin typeface="Arial"/>
            </a:endParaRPr>
          </a:p>
        </p:txBody>
      </p:sp>
      <p:sp>
        <p:nvSpPr>
          <p:cNvPr id="2" name="Pladsholder til tekst 1"/>
          <p:cNvSpPr>
            <a:spLocks noGrp="1"/>
          </p:cNvSpPr>
          <p:nvPr>
            <p:ph type="body" sz="quarter" idx="13"/>
          </p:nvPr>
        </p:nvSpPr>
        <p:spPr>
          <a:xfrm>
            <a:off x="651775" y="1400903"/>
            <a:ext cx="5083773" cy="4524376"/>
          </a:xfrm>
        </p:spPr>
        <p:txBody>
          <a:bodyPr/>
          <a:lstStyle/>
          <a:p>
            <a:pPr marL="452086" indent="-452086">
              <a:buFont typeface="+mj-lt"/>
              <a:buAutoNum type="arabicPeriod"/>
            </a:pPr>
            <a:r>
              <a:rPr lang="en-GB" sz="1845" dirty="0"/>
              <a:t>REMIT obligations</a:t>
            </a:r>
          </a:p>
          <a:p>
            <a:pPr marL="452086" indent="-452086">
              <a:buFont typeface="+mj-lt"/>
              <a:buAutoNum type="arabicPeriod"/>
            </a:pPr>
            <a:endParaRPr lang="en-GB" sz="1845" dirty="0"/>
          </a:p>
          <a:p>
            <a:pPr marL="452086" indent="-452086">
              <a:buFont typeface="+mj-lt"/>
              <a:buAutoNum type="arabicPeriod"/>
            </a:pPr>
            <a:r>
              <a:rPr lang="en-GB" sz="1845" dirty="0"/>
              <a:t>Impact of Baltic Pipe</a:t>
            </a:r>
          </a:p>
          <a:p>
            <a:pPr marL="452086" indent="-452086">
              <a:buFont typeface="+mj-lt"/>
              <a:buAutoNum type="arabicPeriod"/>
            </a:pPr>
            <a:endParaRPr lang="en-GB" sz="1845" dirty="0"/>
          </a:p>
          <a:p>
            <a:pPr marL="452086" indent="-452086">
              <a:buFont typeface="+mj-lt"/>
              <a:buAutoNum type="arabicPeriod"/>
            </a:pPr>
            <a:r>
              <a:rPr lang="en-GB" sz="1845" dirty="0"/>
              <a:t>Price developments and supply of gas, especially due to the war in Ukraine</a:t>
            </a:r>
          </a:p>
          <a:p>
            <a:pPr marL="452086" indent="-452086">
              <a:buFont typeface="+mj-lt"/>
              <a:buAutoNum type="arabicPeriod"/>
            </a:pPr>
            <a:endParaRPr lang="en-GB" sz="1845" dirty="0"/>
          </a:p>
          <a:p>
            <a:pPr marL="452086" indent="-452086">
              <a:buFont typeface="+mj-lt"/>
              <a:buAutoNum type="arabicPeriod"/>
            </a:pPr>
            <a:r>
              <a:rPr lang="en-GB" sz="1845" dirty="0"/>
              <a:t>Ellund: Capacity utilisation, </a:t>
            </a:r>
            <a:br>
              <a:rPr lang="en-GB" sz="1845" dirty="0"/>
            </a:br>
            <a:r>
              <a:rPr lang="en-GB" sz="1845" dirty="0"/>
              <a:t>gas flows vs. price signals</a:t>
            </a:r>
          </a:p>
          <a:p>
            <a:pPr marL="452086" indent="-452086">
              <a:buFont typeface="+mj-lt"/>
              <a:buAutoNum type="arabicPeriod"/>
            </a:pPr>
            <a:endParaRPr lang="en-GB" sz="1845" dirty="0"/>
          </a:p>
          <a:p>
            <a:pPr marL="452086" indent="-452086">
              <a:buFont typeface="+mj-lt"/>
              <a:buAutoNum type="arabicPeriod"/>
            </a:pPr>
            <a:r>
              <a:rPr lang="en-GB" sz="1845" dirty="0"/>
              <a:t>Utilisation of the Danish gas storages</a:t>
            </a:r>
          </a:p>
          <a:p>
            <a:pPr marL="452086" indent="-452086">
              <a:buFont typeface="+mj-lt"/>
              <a:buAutoNum type="arabicPeriod"/>
            </a:pPr>
            <a:endParaRPr lang="en-GB" sz="1845" dirty="0"/>
          </a:p>
          <a:p>
            <a:endParaRPr lang="da-DK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2635" dirty="0"/>
              <a:t>Focus </a:t>
            </a:r>
            <a:r>
              <a:rPr lang="da-DK" sz="2635" dirty="0" err="1"/>
              <a:t>areas</a:t>
            </a:r>
            <a:r>
              <a:rPr lang="da-DK" sz="2635" dirty="0"/>
              <a:t> 2023</a:t>
            </a:r>
          </a:p>
        </p:txBody>
      </p:sp>
      <p:grpSp>
        <p:nvGrpSpPr>
          <p:cNvPr id="12" name="Gruppe 11"/>
          <p:cNvGrpSpPr/>
          <p:nvPr/>
        </p:nvGrpSpPr>
        <p:grpSpPr>
          <a:xfrm>
            <a:off x="493956" y="6182586"/>
            <a:ext cx="2468713" cy="525503"/>
            <a:chOff x="323528" y="4659982"/>
            <a:chExt cx="1872208" cy="398527"/>
          </a:xfrm>
        </p:grpSpPr>
        <p:sp>
          <p:nvSpPr>
            <p:cNvPr id="15" name="Rektangel 14"/>
            <p:cNvSpPr/>
            <p:nvPr/>
          </p:nvSpPr>
          <p:spPr>
            <a:xfrm>
              <a:off x="323528" y="4659982"/>
              <a:ext cx="1872208" cy="39852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940" tIns="94940" rIns="94940" bIns="94940" rtlCol="0" anchor="ctr"/>
            <a:lstStyle/>
            <a:p>
              <a:pPr algn="ctr" defTabSz="914460"/>
              <a:endParaRPr lang="da-DK" sz="1779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16" name="Billede 1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789" y="4659982"/>
              <a:ext cx="1322864" cy="398527"/>
            </a:xfrm>
            <a:prstGeom prst="rect">
              <a:avLst/>
            </a:prstGeom>
          </p:spPr>
        </p:pic>
      </p:grpSp>
      <p:grpSp>
        <p:nvGrpSpPr>
          <p:cNvPr id="41" name="Gruppe 40"/>
          <p:cNvGrpSpPr/>
          <p:nvPr/>
        </p:nvGrpSpPr>
        <p:grpSpPr>
          <a:xfrm>
            <a:off x="6096017" y="785073"/>
            <a:ext cx="5476409" cy="5095319"/>
            <a:chOff x="4787726" y="964032"/>
            <a:chExt cx="4107307" cy="3821489"/>
          </a:xfrm>
        </p:grpSpPr>
        <p:pic>
          <p:nvPicPr>
            <p:cNvPr id="40" name="TextBox 27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760" b="-1481"/>
            <a:stretch/>
          </p:blipFill>
          <p:spPr>
            <a:xfrm>
              <a:off x="5898914" y="964032"/>
              <a:ext cx="1884931" cy="1944216"/>
            </a:xfrm>
            <a:prstGeom prst="rect">
              <a:avLst/>
            </a:prstGeom>
          </p:spPr>
        </p:pic>
        <p:pic>
          <p:nvPicPr>
            <p:cNvPr id="39" name="TextBox 34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3" b="448"/>
            <a:stretch/>
          </p:blipFill>
          <p:spPr>
            <a:xfrm>
              <a:off x="4787726" y="2908248"/>
              <a:ext cx="1884931" cy="1869611"/>
            </a:xfrm>
            <a:prstGeom prst="rect">
              <a:avLst/>
            </a:prstGeom>
          </p:spPr>
        </p:pic>
        <p:pic>
          <p:nvPicPr>
            <p:cNvPr id="38" name="TextBox 35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7" b="47"/>
            <a:stretch/>
          </p:blipFill>
          <p:spPr>
            <a:xfrm>
              <a:off x="7010102" y="2900590"/>
              <a:ext cx="1884931" cy="18849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1596328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B3A65F6D-FDB4-1C48-AFD7-662BDB94FC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  <a:r>
              <a:rPr lang="da-DK" dirty="0"/>
              <a:t>.</a:t>
            </a:r>
            <a:br>
              <a:rPr lang="da-DK" dirty="0"/>
            </a:br>
            <a:br>
              <a:rPr lang="da-DK" sz="1779" b="0" dirty="0"/>
            </a:br>
            <a:r>
              <a:rPr lang="en-US" sz="1779" b="0" dirty="0">
                <a:solidFill>
                  <a:schemeClr val="accent1"/>
                </a:solidFill>
              </a:rPr>
              <a:t>If you have any questions, please raise a hand</a:t>
            </a:r>
            <a:endParaRPr lang="en-US" sz="1779" dirty="0">
              <a:solidFill>
                <a:schemeClr val="accent1"/>
              </a:solidFill>
            </a:endParaRPr>
          </a:p>
        </p:txBody>
      </p:sp>
      <p:grpSp>
        <p:nvGrpSpPr>
          <p:cNvPr id="4" name="Gruppe 3"/>
          <p:cNvGrpSpPr/>
          <p:nvPr/>
        </p:nvGrpSpPr>
        <p:grpSpPr>
          <a:xfrm>
            <a:off x="493956" y="6182586"/>
            <a:ext cx="2468713" cy="525503"/>
            <a:chOff x="323528" y="4659982"/>
            <a:chExt cx="1872208" cy="398527"/>
          </a:xfrm>
        </p:grpSpPr>
        <p:sp>
          <p:nvSpPr>
            <p:cNvPr id="5" name="Rektangel 4"/>
            <p:cNvSpPr/>
            <p:nvPr/>
          </p:nvSpPr>
          <p:spPr>
            <a:xfrm>
              <a:off x="323528" y="4659982"/>
              <a:ext cx="1872208" cy="39852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940" tIns="94940" rIns="94940" bIns="94940" rtlCol="0" anchor="ctr"/>
            <a:lstStyle/>
            <a:p>
              <a:pPr algn="ctr" defTabSz="914460"/>
              <a:endParaRPr lang="da-DK" sz="1779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6" name="Billede 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789" y="4659982"/>
              <a:ext cx="1322864" cy="398527"/>
            </a:xfrm>
            <a:prstGeom prst="rect">
              <a:avLst/>
            </a:prstGeom>
          </p:spPr>
        </p:pic>
      </p:grpSp>
      <p:sp>
        <p:nvSpPr>
          <p:cNvPr id="2" name="Tekstfelt 1"/>
          <p:cNvSpPr txBox="1"/>
          <p:nvPr/>
        </p:nvSpPr>
        <p:spPr>
          <a:xfrm>
            <a:off x="9236728" y="5835511"/>
            <a:ext cx="2304256" cy="4306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460"/>
            <a:r>
              <a:rPr lang="da-DK" sz="933" dirty="0">
                <a:solidFill>
                  <a:srgbClr val="003856"/>
                </a:solidFill>
                <a:latin typeface="Arial"/>
              </a:rPr>
              <a:t>Frederik Nilausen Dam</a:t>
            </a:r>
          </a:p>
          <a:p>
            <a:pPr algn="r" defTabSz="914460"/>
            <a:r>
              <a:rPr lang="da-DK" sz="933" dirty="0">
                <a:solidFill>
                  <a:srgbClr val="003856"/>
                </a:solidFill>
                <a:latin typeface="Arial"/>
              </a:rPr>
              <a:t>+45 4171 5375</a:t>
            </a:r>
          </a:p>
          <a:p>
            <a:pPr algn="r" defTabSz="914460"/>
            <a:r>
              <a:rPr lang="da-DK" sz="933" dirty="0">
                <a:solidFill>
                  <a:srgbClr val="003856"/>
                </a:solidFill>
                <a:latin typeface="Arial"/>
              </a:rPr>
              <a:t>fnda@forsyningstilsynet.dk</a:t>
            </a:r>
          </a:p>
        </p:txBody>
      </p:sp>
    </p:spTree>
    <p:extLst>
      <p:ext uri="{BB962C8B-B14F-4D97-AF65-F5344CB8AC3E}">
        <p14:creationId xmlns:p14="http://schemas.microsoft.com/office/powerpoint/2010/main" val="1278706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9F9B50-0A90-4146-A48E-2613C5DF2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8" y="779816"/>
            <a:ext cx="7892265" cy="3071600"/>
          </a:xfrm>
        </p:spPr>
        <p:txBody>
          <a:bodyPr/>
          <a:lstStyle/>
          <a:p>
            <a:r>
              <a:rPr lang="da-DK" sz="7998" dirty="0"/>
              <a:t>REMIT</a:t>
            </a:r>
            <a:br>
              <a:rPr lang="da-DK" dirty="0"/>
            </a:br>
            <a:endParaRPr lang="da-DK" sz="5399" dirty="0"/>
          </a:p>
        </p:txBody>
      </p:sp>
      <p:grpSp>
        <p:nvGrpSpPr>
          <p:cNvPr id="3" name="Gruppe 2"/>
          <p:cNvGrpSpPr/>
          <p:nvPr/>
        </p:nvGrpSpPr>
        <p:grpSpPr>
          <a:xfrm>
            <a:off x="493956" y="6182586"/>
            <a:ext cx="2468713" cy="525503"/>
            <a:chOff x="323528" y="4659982"/>
            <a:chExt cx="1872208" cy="398527"/>
          </a:xfrm>
        </p:grpSpPr>
        <p:sp>
          <p:nvSpPr>
            <p:cNvPr id="4" name="Rektangel 3"/>
            <p:cNvSpPr/>
            <p:nvPr/>
          </p:nvSpPr>
          <p:spPr>
            <a:xfrm>
              <a:off x="323528" y="4659982"/>
              <a:ext cx="1872208" cy="39852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940" tIns="94940" rIns="94940" bIns="94940" rtlCol="0" anchor="ctr"/>
            <a:lstStyle/>
            <a:p>
              <a:pPr algn="ctr" defTabSz="914460"/>
              <a:endParaRPr lang="da-DK" sz="1779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5" name="Billede 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789" y="4659982"/>
              <a:ext cx="1322864" cy="398527"/>
            </a:xfrm>
            <a:prstGeom prst="rect">
              <a:avLst/>
            </a:prstGeom>
          </p:spPr>
        </p:pic>
      </p:grp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40562416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D6C7413C-7D54-CF45-A417-378C5AD1B9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3021" y="785333"/>
            <a:ext cx="5073200" cy="670516"/>
          </a:xfrm>
        </p:spPr>
        <p:txBody>
          <a:bodyPr/>
          <a:lstStyle/>
          <a:p>
            <a:r>
              <a:rPr lang="da-DK" dirty="0"/>
              <a:t>Content</a:t>
            </a:r>
          </a:p>
        </p:txBody>
      </p:sp>
      <p:graphicFrame>
        <p:nvGraphicFramePr>
          <p:cNvPr id="9" name="Pladsholder til tabel 8">
            <a:extLst>
              <a:ext uri="{FF2B5EF4-FFF2-40B4-BE49-F238E27FC236}">
                <a16:creationId xmlns:a16="http://schemas.microsoft.com/office/drawing/2014/main" id="{950904F1-604F-484F-BE15-BB4C3D7D8216}"/>
              </a:ext>
            </a:extLst>
          </p:cNvPr>
          <p:cNvGraphicFramePr>
            <a:graphicFrameLocks noGrp="1"/>
          </p:cNvGraphicFramePr>
          <p:nvPr>
            <p:ph type="tbl" sz="quarter" idx="14"/>
          </p:nvPr>
        </p:nvGraphicFramePr>
        <p:xfrm>
          <a:off x="663034" y="1561494"/>
          <a:ext cx="8024938" cy="525076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077467">
                  <a:extLst>
                    <a:ext uri="{9D8B030D-6E8A-4147-A177-3AD203B41FA5}">
                      <a16:colId xmlns:a16="http://schemas.microsoft.com/office/drawing/2014/main" val="2650473697"/>
                    </a:ext>
                  </a:extLst>
                </a:gridCol>
                <a:gridCol w="947471">
                  <a:extLst>
                    <a:ext uri="{9D8B030D-6E8A-4147-A177-3AD203B41FA5}">
                      <a16:colId xmlns:a16="http://schemas.microsoft.com/office/drawing/2014/main" val="1690652534"/>
                    </a:ext>
                  </a:extLst>
                </a:gridCol>
              </a:tblGrid>
              <a:tr h="2377131">
                <a:tc>
                  <a:txBody>
                    <a:bodyPr/>
                    <a:lstStyle/>
                    <a:p>
                      <a:pPr marL="342900" marR="0" lvl="0" indent="-342900" algn="l" defTabSz="6748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r>
                        <a:rPr lang="da-DK" sz="2400" kern="1200" dirty="0" err="1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What</a:t>
                      </a:r>
                      <a:r>
                        <a:rPr lang="da-DK" sz="2400" kern="1200" baseline="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is REMIT?</a:t>
                      </a:r>
                    </a:p>
                    <a:p>
                      <a:pPr marL="342900" marR="0" lvl="0" indent="-342900" algn="l" defTabSz="6748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endParaRPr lang="da-DK" sz="2400" kern="1200" baseline="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marR="0" lvl="0" indent="-342900" algn="l" defTabSz="6748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r>
                        <a:rPr lang="da-DK" sz="24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a-DK" sz="2400" kern="1200" dirty="0" err="1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What</a:t>
                      </a:r>
                      <a:r>
                        <a:rPr lang="da-DK" sz="24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a-DK" sz="2400" kern="1200" dirty="0" err="1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are</a:t>
                      </a:r>
                      <a:r>
                        <a:rPr lang="da-DK" sz="24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the obligations of </a:t>
                      </a:r>
                      <a:r>
                        <a:rPr lang="da-DK" sz="2400" kern="1200" dirty="0" err="1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market</a:t>
                      </a:r>
                      <a:r>
                        <a:rPr lang="da-DK" sz="24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participants?</a:t>
                      </a:r>
                    </a:p>
                    <a:p>
                      <a:pPr marL="342900" marR="0" lvl="0" indent="-342900" algn="l" defTabSz="6748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endParaRPr lang="da-DK" sz="2400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marR="0" lvl="0" indent="-342900" algn="l" defTabSz="6748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r>
                        <a:rPr lang="da-DK" sz="24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a-DK" sz="2400" kern="1200" dirty="0" err="1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What</a:t>
                      </a:r>
                      <a:r>
                        <a:rPr lang="da-DK" sz="24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is the </a:t>
                      </a:r>
                      <a:r>
                        <a:rPr lang="da-DK" sz="2400" kern="1200" dirty="0" err="1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role</a:t>
                      </a:r>
                      <a:r>
                        <a:rPr lang="da-DK" sz="24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of the Danish Utility Regulator?</a:t>
                      </a:r>
                    </a:p>
                    <a:p>
                      <a:pPr marL="342900" marR="0" lvl="0" indent="-342900" algn="l" defTabSz="6748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endParaRPr lang="da-DK" sz="1700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indent="-342900">
                        <a:buFont typeface="+mj-lt"/>
                        <a:buAutoNum type="arabicParenR"/>
                      </a:pPr>
                      <a:endParaRPr lang="da-DK" sz="1700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42900" indent="-342900" algn="r">
                        <a:buFont typeface="+mj-lt"/>
                        <a:buAutoNum type="arabicParenR"/>
                      </a:pPr>
                      <a:endParaRPr lang="da-DK" sz="1700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97613834"/>
                  </a:ext>
                </a:extLst>
              </a:tr>
              <a:tr h="574727"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arenR"/>
                      </a:pPr>
                      <a:endParaRPr lang="da-DK" sz="1700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42900" indent="-342900" algn="r">
                        <a:buFont typeface="+mj-lt"/>
                        <a:buAutoNum type="arabicParenR"/>
                      </a:pPr>
                      <a:endParaRPr lang="da-DK" sz="1700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47623976"/>
                  </a:ext>
                </a:extLst>
              </a:tr>
              <a:tr h="574727">
                <a:tc>
                  <a:txBody>
                    <a:bodyPr/>
                    <a:lstStyle/>
                    <a:p>
                      <a:pPr marL="342900" marR="0" lvl="0" indent="-342900" algn="l" defTabSz="6748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endParaRPr lang="da-DK" sz="1700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42900" indent="-342900" algn="r">
                        <a:buFont typeface="+mj-lt"/>
                        <a:buAutoNum type="arabicParenR"/>
                      </a:pPr>
                      <a:endParaRPr lang="da-DK" sz="1700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7552274"/>
                  </a:ext>
                </a:extLst>
              </a:tr>
              <a:tr h="574727">
                <a:tc>
                  <a:txBody>
                    <a:bodyPr/>
                    <a:lstStyle/>
                    <a:p>
                      <a:endParaRPr lang="da-DK" sz="1700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700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07290410"/>
                  </a:ext>
                </a:extLst>
              </a:tr>
              <a:tr h="574727">
                <a:tc>
                  <a:txBody>
                    <a:bodyPr/>
                    <a:lstStyle/>
                    <a:p>
                      <a:endParaRPr lang="da-DK" sz="1700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700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75949591"/>
                  </a:ext>
                </a:extLst>
              </a:tr>
              <a:tr h="574727">
                <a:tc>
                  <a:txBody>
                    <a:bodyPr/>
                    <a:lstStyle/>
                    <a:p>
                      <a:endParaRPr lang="da-DK" sz="1700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700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161972212"/>
                  </a:ext>
                </a:extLst>
              </a:tr>
            </a:tbl>
          </a:graphicData>
        </a:graphic>
      </p:graphicFrame>
      <p:grpSp>
        <p:nvGrpSpPr>
          <p:cNvPr id="4" name="Gruppe 3"/>
          <p:cNvGrpSpPr/>
          <p:nvPr/>
        </p:nvGrpSpPr>
        <p:grpSpPr>
          <a:xfrm>
            <a:off x="493956" y="6182586"/>
            <a:ext cx="2468713" cy="525503"/>
            <a:chOff x="323528" y="4659982"/>
            <a:chExt cx="1872208" cy="398527"/>
          </a:xfrm>
        </p:grpSpPr>
        <p:sp>
          <p:nvSpPr>
            <p:cNvPr id="5" name="Rektangel 4"/>
            <p:cNvSpPr/>
            <p:nvPr/>
          </p:nvSpPr>
          <p:spPr>
            <a:xfrm>
              <a:off x="323528" y="4659982"/>
              <a:ext cx="1872208" cy="39852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940" tIns="94940" rIns="94940" bIns="94940" rtlCol="0" anchor="ctr"/>
            <a:lstStyle/>
            <a:p>
              <a:pPr algn="ctr" defTabSz="914460"/>
              <a:endParaRPr lang="da-DK" sz="1779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7" name="Billede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789" y="4659982"/>
              <a:ext cx="1322864" cy="398527"/>
            </a:xfrm>
            <a:prstGeom prst="rect">
              <a:avLst/>
            </a:prstGeom>
          </p:spPr>
        </p:pic>
      </p:grp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53927260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7982B411-0903-794D-8F67-135AC4B610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2496" y="1209472"/>
            <a:ext cx="7459481" cy="4523787"/>
          </a:xfrm>
        </p:spPr>
        <p:txBody>
          <a:bodyPr/>
          <a:lstStyle/>
          <a:p>
            <a:pPr algn="just">
              <a:buNone/>
            </a:pPr>
            <a:r>
              <a:rPr lang="en-US" dirty="0"/>
              <a:t>REMIT is Regulation (EU) No 1227/2011 on wholesale energy market integrity and transparency. </a:t>
            </a:r>
          </a:p>
          <a:p>
            <a:pPr algn="just">
              <a:buNone/>
            </a:pPr>
            <a:endParaRPr lang="en-US" dirty="0"/>
          </a:p>
          <a:p>
            <a:pPr algn="just">
              <a:buNone/>
            </a:pPr>
            <a:r>
              <a:rPr lang="en-US" dirty="0"/>
              <a:t>REMIT is a mechanism for reporting and preventing wholesale energy market abuse, in force since 28 December 2011.</a:t>
            </a:r>
          </a:p>
          <a:p>
            <a:pPr marL="380924" indent="-380924" algn="just">
              <a:buFont typeface="Arial" panose="020B0604020202020204" pitchFamily="34" charset="0"/>
              <a:buChar char="•"/>
            </a:pPr>
            <a:endParaRPr lang="en-US" dirty="0"/>
          </a:p>
          <a:p>
            <a:pPr algn="just">
              <a:buNone/>
            </a:pPr>
            <a:r>
              <a:rPr lang="en-US" dirty="0"/>
              <a:t>Main objectives:</a:t>
            </a:r>
          </a:p>
          <a:p>
            <a:pPr algn="just">
              <a:buNone/>
            </a:pPr>
            <a:endParaRPr lang="en-US" dirty="0"/>
          </a:p>
          <a:p>
            <a:pPr marL="380924" indent="-380924" algn="just">
              <a:buFont typeface="Arial" panose="020B0604020202020204" pitchFamily="34" charset="0"/>
              <a:buChar char="•"/>
            </a:pPr>
            <a:r>
              <a:rPr lang="en-US" dirty="0"/>
              <a:t>ensure that consumers and other market participants can have confidence in the integrity of electricity and gas markets, </a:t>
            </a:r>
          </a:p>
          <a:p>
            <a:pPr marL="380924" indent="-380924" algn="just">
              <a:buFont typeface="Arial" panose="020B0604020202020204" pitchFamily="34" charset="0"/>
              <a:buChar char="•"/>
            </a:pPr>
            <a:endParaRPr lang="en-US" dirty="0"/>
          </a:p>
          <a:p>
            <a:pPr marL="380924" indent="-380924" algn="just">
              <a:buFont typeface="Arial" panose="020B0604020202020204" pitchFamily="34" charset="0"/>
              <a:buChar char="•"/>
            </a:pPr>
            <a:r>
              <a:rPr lang="en-US" dirty="0"/>
              <a:t>that prices set on wholesale energy markets reflect a fair and competitive interplay between supply and demand, and</a:t>
            </a:r>
          </a:p>
          <a:p>
            <a:pPr marL="380924" indent="-380924" algn="just">
              <a:buFont typeface="Arial" panose="020B0604020202020204" pitchFamily="34" charset="0"/>
              <a:buChar char="•"/>
            </a:pPr>
            <a:endParaRPr lang="en-US" dirty="0"/>
          </a:p>
          <a:p>
            <a:pPr marL="380924" indent="-380924" algn="just">
              <a:buFont typeface="Arial" panose="020B0604020202020204" pitchFamily="34" charset="0"/>
              <a:buChar char="•"/>
            </a:pPr>
            <a:r>
              <a:rPr lang="en-US" dirty="0"/>
              <a:t>that no profits can be drawn from market abuse</a:t>
            </a:r>
            <a:endParaRPr lang="da-DK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8939113-FB46-BC40-B0C2-A20C8B3B3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400" y="779819"/>
            <a:ext cx="6115592" cy="467939"/>
          </a:xfrm>
        </p:spPr>
        <p:txBody>
          <a:bodyPr/>
          <a:lstStyle/>
          <a:p>
            <a:r>
              <a:rPr lang="da-DK" dirty="0" err="1"/>
              <a:t>What</a:t>
            </a:r>
            <a:r>
              <a:rPr lang="da-DK" dirty="0"/>
              <a:t> is REMIT?</a:t>
            </a:r>
          </a:p>
        </p:txBody>
      </p:sp>
      <p:pic>
        <p:nvPicPr>
          <p:cNvPr id="5" name="Pladsholder til billede 45" descr="Statistikker">
            <a:extLst>
              <a:ext uri="{FF2B5EF4-FFF2-40B4-BE49-F238E27FC236}">
                <a16:creationId xmlns:a16="http://schemas.microsoft.com/office/drawing/2014/main" id="{C2665C9B-6276-C643-ABF0-B0D274343FD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783961" y="1701041"/>
            <a:ext cx="1919963" cy="1919963"/>
          </a:xfrm>
          <a:prstGeom prst="rect">
            <a:avLst/>
          </a:prstGeom>
        </p:spPr>
      </p:pic>
      <p:grpSp>
        <p:nvGrpSpPr>
          <p:cNvPr id="6" name="Gruppe 5"/>
          <p:cNvGrpSpPr/>
          <p:nvPr/>
        </p:nvGrpSpPr>
        <p:grpSpPr>
          <a:xfrm>
            <a:off x="493956" y="6182586"/>
            <a:ext cx="2468713" cy="525503"/>
            <a:chOff x="323528" y="4659982"/>
            <a:chExt cx="1872208" cy="398527"/>
          </a:xfrm>
        </p:grpSpPr>
        <p:sp>
          <p:nvSpPr>
            <p:cNvPr id="7" name="Rektangel 6"/>
            <p:cNvSpPr/>
            <p:nvPr/>
          </p:nvSpPr>
          <p:spPr>
            <a:xfrm>
              <a:off x="323528" y="4659982"/>
              <a:ext cx="1872208" cy="39852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940" tIns="94940" rIns="94940" bIns="94940" rtlCol="0" anchor="ctr"/>
            <a:lstStyle/>
            <a:p>
              <a:pPr algn="ctr" defTabSz="914460"/>
              <a:endParaRPr lang="da-DK" sz="1779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8" name="Billede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789" y="4659982"/>
              <a:ext cx="1322864" cy="3985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216154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2B541CA-225B-BB4A-A54E-DB09E80ABC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>
              <a:buNone/>
            </a:pPr>
            <a:r>
              <a:rPr lang="en-US" sz="2000" dirty="0"/>
              <a:t>Register with the national regulatory authority in the one EU country they have their primary activities.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2994972-4DCD-BF46-BD71-5F1096160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178" y="741059"/>
            <a:ext cx="7245797" cy="467939"/>
          </a:xfrm>
        </p:spPr>
        <p:txBody>
          <a:bodyPr/>
          <a:lstStyle/>
          <a:p>
            <a:r>
              <a:rPr lang="da-DK" dirty="0" err="1"/>
              <a:t>What</a:t>
            </a:r>
            <a:r>
              <a:rPr lang="da-DK" dirty="0"/>
              <a:t> </a:t>
            </a:r>
            <a:r>
              <a:rPr lang="da-DK" dirty="0" err="1"/>
              <a:t>are</a:t>
            </a:r>
            <a:r>
              <a:rPr lang="da-DK" dirty="0"/>
              <a:t> the obligations of </a:t>
            </a:r>
            <a:r>
              <a:rPr lang="da-DK" dirty="0" err="1"/>
              <a:t>market</a:t>
            </a:r>
            <a:r>
              <a:rPr lang="da-DK" dirty="0"/>
              <a:t> participants?</a:t>
            </a:r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4259BE42-5062-694D-B961-FE2B97C0C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algn="l">
              <a:buNone/>
            </a:pPr>
            <a:r>
              <a:rPr lang="en-US" sz="2000" dirty="0"/>
              <a:t>Report all wholesale transactions with gas and electricity to ACER through a Registered Reporting Mechanism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D5B922AA-5B56-234A-AA8D-B393450B0F5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algn="l">
              <a:buNone/>
            </a:pPr>
            <a:r>
              <a:rPr lang="en-US" sz="2000" dirty="0"/>
              <a:t>Keep the company information in the register up-to-date</a:t>
            </a:r>
          </a:p>
        </p:txBody>
      </p:sp>
      <p:pic>
        <p:nvPicPr>
          <p:cNvPr id="11" name="Pladsholder til billede 10" descr="Søjlediagram">
            <a:extLst>
              <a:ext uri="{FF2B5EF4-FFF2-40B4-BE49-F238E27FC236}">
                <a16:creationId xmlns:a16="http://schemas.microsoft.com/office/drawing/2014/main" id="{01956366-7E93-6642-927C-86A570552C23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392109" y="2263586"/>
            <a:ext cx="1055863" cy="1055863"/>
          </a:xfrm>
        </p:spPr>
      </p:pic>
      <p:pic>
        <p:nvPicPr>
          <p:cNvPr id="13" name="Pladsholder til billede 12" descr="Brugernetværk">
            <a:extLst>
              <a:ext uri="{FF2B5EF4-FFF2-40B4-BE49-F238E27FC236}">
                <a16:creationId xmlns:a16="http://schemas.microsoft.com/office/drawing/2014/main" id="{2A813B0F-F9D1-AA44-B0C8-26A57F6F543D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488099" y="2336755"/>
            <a:ext cx="1055863" cy="1055863"/>
          </a:xfrm>
        </p:spPr>
      </p:pic>
      <p:pic>
        <p:nvPicPr>
          <p:cNvPr id="15" name="Pladsholder til billede 14" descr="Chat RTL">
            <a:extLst>
              <a:ext uri="{FF2B5EF4-FFF2-40B4-BE49-F238E27FC236}">
                <a16:creationId xmlns:a16="http://schemas.microsoft.com/office/drawing/2014/main" id="{9719384D-8E4F-C840-AF2E-C27D93471A81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5376026" y="2336757"/>
            <a:ext cx="1055863" cy="1055863"/>
          </a:xfrm>
        </p:spPr>
      </p:pic>
      <p:sp>
        <p:nvSpPr>
          <p:cNvPr id="2" name="Rektangel 1"/>
          <p:cNvSpPr/>
          <p:nvPr/>
        </p:nvSpPr>
        <p:spPr>
          <a:xfrm>
            <a:off x="3707999" y="5012971"/>
            <a:ext cx="43919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60"/>
            <a:r>
              <a:rPr lang="da-DK" sz="2400" b="1" u="sng" dirty="0">
                <a:solidFill>
                  <a:srgbClr val="FFFFFF"/>
                </a:solidFill>
                <a:latin typeface="Arial"/>
              </a:rPr>
              <a:t>www.acer-remit.eu/ceremp</a:t>
            </a:r>
          </a:p>
        </p:txBody>
      </p:sp>
      <p:grpSp>
        <p:nvGrpSpPr>
          <p:cNvPr id="10" name="Gruppe 9"/>
          <p:cNvGrpSpPr/>
          <p:nvPr/>
        </p:nvGrpSpPr>
        <p:grpSpPr>
          <a:xfrm>
            <a:off x="493956" y="6182586"/>
            <a:ext cx="2468713" cy="525503"/>
            <a:chOff x="323528" y="4659982"/>
            <a:chExt cx="1872208" cy="398527"/>
          </a:xfrm>
        </p:grpSpPr>
        <p:sp>
          <p:nvSpPr>
            <p:cNvPr id="12" name="Rektangel 11"/>
            <p:cNvSpPr/>
            <p:nvPr/>
          </p:nvSpPr>
          <p:spPr>
            <a:xfrm>
              <a:off x="323528" y="4659982"/>
              <a:ext cx="1872208" cy="39852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940" tIns="94940" rIns="94940" bIns="94940" rtlCol="0" anchor="ctr"/>
            <a:lstStyle/>
            <a:p>
              <a:pPr algn="ctr" defTabSz="914460"/>
              <a:endParaRPr lang="da-DK" sz="1779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14" name="Billede 1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789" y="4659982"/>
              <a:ext cx="1322864" cy="3985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6731377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7982B411-0903-794D-8F67-135AC4B610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2494" y="1700817"/>
            <a:ext cx="7747476" cy="4128459"/>
          </a:xfrm>
        </p:spPr>
        <p:txBody>
          <a:bodyPr/>
          <a:lstStyle/>
          <a:p>
            <a:pPr marL="380924" indent="-380924" algn="just">
              <a:buFont typeface="Arial" panose="020B0604020202020204" pitchFamily="34" charset="0"/>
              <a:buChar char="•"/>
            </a:pPr>
            <a:r>
              <a:rPr lang="en-US" dirty="0"/>
              <a:t>Disclose any insider information to the public</a:t>
            </a:r>
          </a:p>
          <a:p>
            <a:pPr marL="380924" indent="-380924" algn="just">
              <a:buFont typeface="Arial" panose="020B0604020202020204" pitchFamily="34" charset="0"/>
              <a:buChar char="•"/>
            </a:pPr>
            <a:endParaRPr lang="en-US" dirty="0"/>
          </a:p>
          <a:p>
            <a:pPr marL="380924" indent="-380924" algn="just">
              <a:buFont typeface="Arial" panose="020B0604020202020204" pitchFamily="34" charset="0"/>
              <a:buChar char="•"/>
            </a:pPr>
            <a:r>
              <a:rPr lang="en-US" i="1" dirty="0"/>
              <a:t>Disclosure has to be on an Insider Information Platform </a:t>
            </a:r>
          </a:p>
          <a:p>
            <a:pPr marL="380924" indent="-380924" algn="just">
              <a:buFont typeface="Arial" panose="020B0604020202020204" pitchFamily="34" charset="0"/>
              <a:buChar char="•"/>
            </a:pPr>
            <a:endParaRPr lang="en-US" dirty="0"/>
          </a:p>
          <a:p>
            <a:pPr marL="380924" indent="-380924" algn="just">
              <a:buFont typeface="Arial" panose="020B0604020202020204" pitchFamily="34" charset="0"/>
              <a:buChar char="•"/>
            </a:pPr>
            <a:r>
              <a:rPr lang="en-US" dirty="0"/>
              <a:t>Since 1. </a:t>
            </a:r>
            <a:r>
              <a:rPr lang="en-US" dirty="0" err="1"/>
              <a:t>january</a:t>
            </a:r>
            <a:r>
              <a:rPr lang="en-US" dirty="0"/>
              <a:t> 2022 own website is no longer accepted disclosure</a:t>
            </a:r>
          </a:p>
          <a:p>
            <a:pPr marL="380924" indent="-380924" algn="just">
              <a:buFont typeface="Arial" panose="020B0604020202020204" pitchFamily="34" charset="0"/>
              <a:buChar char="•"/>
            </a:pPr>
            <a:endParaRPr lang="en-US" sz="1800" b="1" u="sng" dirty="0"/>
          </a:p>
          <a:p>
            <a:pPr algn="ctr">
              <a:buNone/>
            </a:pPr>
            <a:r>
              <a:rPr lang="en-US" sz="1800" b="1" u="sng" dirty="0">
                <a:hlinkClick r:id="rId2"/>
              </a:rPr>
              <a:t>www.acer-remit.eu/portal/list-inside-platforms</a:t>
            </a:r>
            <a:endParaRPr lang="en-US" sz="1800" b="1" u="sng" dirty="0"/>
          </a:p>
          <a:p>
            <a:pPr algn="ctr">
              <a:buNone/>
            </a:pPr>
            <a:endParaRPr lang="en-US" sz="1800" b="1" u="sng" dirty="0"/>
          </a:p>
          <a:p>
            <a:pPr marL="285704" indent="-285704">
              <a:buFont typeface="Arial" panose="020B0604020202020204" pitchFamily="34" charset="0"/>
              <a:buChar char="•"/>
            </a:pPr>
            <a:r>
              <a:rPr lang="en-US" dirty="0"/>
              <a:t>If market participants encounter something suspicious, they are always welcome to notify us – can also be done anonymously:</a:t>
            </a:r>
          </a:p>
          <a:p>
            <a:pPr marL="380924" indent="-380924" algn="just">
              <a:buFont typeface="Arial" panose="020B0604020202020204" pitchFamily="34" charset="0"/>
              <a:buChar char="•"/>
            </a:pPr>
            <a:endParaRPr lang="en-US" sz="1600" b="1" u="sng" dirty="0"/>
          </a:p>
          <a:p>
            <a:pPr algn="ctr">
              <a:buNone/>
            </a:pPr>
            <a:r>
              <a:rPr lang="en-US" sz="1800" b="1" u="sng" dirty="0">
                <a:solidFill>
                  <a:schemeClr val="accent1"/>
                </a:solidFill>
              </a:rPr>
              <a:t>www.acer-remit.eu/np/str</a:t>
            </a:r>
          </a:p>
          <a:p>
            <a:pPr marL="285704" indent="-285704">
              <a:buFont typeface="Arial" panose="020B0604020202020204" pitchFamily="34" charset="0"/>
              <a:buChar char="•"/>
            </a:pPr>
            <a:endParaRPr lang="en-US" dirty="0"/>
          </a:p>
          <a:p>
            <a:pPr marL="285704" indent="-285704">
              <a:buFont typeface="Arial" panose="020B0604020202020204" pitchFamily="34" charset="0"/>
              <a:buChar char="•"/>
            </a:pPr>
            <a:r>
              <a:rPr lang="en-US" dirty="0"/>
              <a:t>Persons Professionally Arranging Transactions have the legal obligation to notify the regulatory authorities on possible REMIT breaches</a:t>
            </a:r>
            <a:endParaRPr lang="da-DK" dirty="0"/>
          </a:p>
          <a:p>
            <a:pPr marL="380924" indent="-380924">
              <a:buFont typeface="Arial" panose="020B0604020202020204" pitchFamily="34" charset="0"/>
              <a:buChar char="•"/>
            </a:pPr>
            <a:endParaRPr lang="da-DK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8939113-FB46-BC40-B0C2-A20C8B3B3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405" y="779819"/>
            <a:ext cx="7387568" cy="467939"/>
          </a:xfrm>
        </p:spPr>
        <p:txBody>
          <a:bodyPr/>
          <a:lstStyle/>
          <a:p>
            <a:r>
              <a:rPr lang="da-DK" dirty="0" err="1"/>
              <a:t>What</a:t>
            </a:r>
            <a:r>
              <a:rPr lang="da-DK" dirty="0"/>
              <a:t> </a:t>
            </a:r>
            <a:r>
              <a:rPr lang="da-DK" dirty="0" err="1"/>
              <a:t>are</a:t>
            </a:r>
            <a:r>
              <a:rPr lang="da-DK" dirty="0"/>
              <a:t> the obligations of </a:t>
            </a:r>
            <a:r>
              <a:rPr lang="da-DK" dirty="0" err="1"/>
              <a:t>market</a:t>
            </a:r>
            <a:r>
              <a:rPr lang="da-DK" dirty="0"/>
              <a:t> participants?</a:t>
            </a:r>
          </a:p>
        </p:txBody>
      </p:sp>
      <p:pic>
        <p:nvPicPr>
          <p:cNvPr id="6" name="Pladsholder til indhold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953" y="1629035"/>
            <a:ext cx="1790467" cy="1790467"/>
          </a:xfrm>
          <a:prstGeom prst="rect">
            <a:avLst/>
          </a:prstGeom>
        </p:spPr>
      </p:pic>
      <p:grpSp>
        <p:nvGrpSpPr>
          <p:cNvPr id="5" name="Gruppe 4"/>
          <p:cNvGrpSpPr/>
          <p:nvPr/>
        </p:nvGrpSpPr>
        <p:grpSpPr>
          <a:xfrm>
            <a:off x="493956" y="6182586"/>
            <a:ext cx="2468713" cy="525503"/>
            <a:chOff x="323528" y="4659982"/>
            <a:chExt cx="1872208" cy="398527"/>
          </a:xfrm>
        </p:grpSpPr>
        <p:sp>
          <p:nvSpPr>
            <p:cNvPr id="7" name="Rektangel 6"/>
            <p:cNvSpPr/>
            <p:nvPr/>
          </p:nvSpPr>
          <p:spPr>
            <a:xfrm>
              <a:off x="323528" y="4659982"/>
              <a:ext cx="1872208" cy="39852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940" tIns="94940" rIns="94940" bIns="94940" rtlCol="0" anchor="ctr"/>
            <a:lstStyle/>
            <a:p>
              <a:pPr algn="ctr" defTabSz="914460"/>
              <a:endParaRPr lang="da-DK" sz="1779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8" name="Billede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789" y="4659982"/>
              <a:ext cx="1322864" cy="3985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5724712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2E92CD32-107E-8D47-A9D1-5CDB6B5A21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2488" y="1412789"/>
            <a:ext cx="5083027" cy="4495876"/>
          </a:xfrm>
        </p:spPr>
        <p:txBody>
          <a:bodyPr/>
          <a:lstStyle/>
          <a:p>
            <a:pPr marL="380924" indent="-380924">
              <a:buFont typeface="Arial" panose="020B0604020202020204" pitchFamily="34" charset="0"/>
              <a:buChar char="•"/>
            </a:pPr>
            <a:endParaRPr lang="da-DK" dirty="0"/>
          </a:p>
          <a:p>
            <a:pPr>
              <a:buNone/>
            </a:pPr>
            <a:endParaRPr lang="da-DK" dirty="0"/>
          </a:p>
          <a:p>
            <a:pPr marL="285704" indent="-285704">
              <a:buFont typeface="Arial" panose="020B0604020202020204" pitchFamily="34" charset="0"/>
              <a:buChar char="•"/>
            </a:pPr>
            <a:r>
              <a:rPr lang="en-US" dirty="0"/>
              <a:t>DUR operates the national register and receive data on all transactions from ACER</a:t>
            </a:r>
          </a:p>
          <a:p>
            <a:pPr marL="285704" indent="-285704">
              <a:buFont typeface="Arial" panose="020B0604020202020204" pitchFamily="34" charset="0"/>
              <a:buChar char="•"/>
            </a:pPr>
            <a:endParaRPr lang="en-US" dirty="0"/>
          </a:p>
          <a:p>
            <a:pPr marL="285704" indent="-285704">
              <a:buFont typeface="Arial" panose="020B0604020202020204" pitchFamily="34" charset="0"/>
              <a:buChar char="•"/>
            </a:pPr>
            <a:r>
              <a:rPr lang="en-US" dirty="0"/>
              <a:t>ACER and PPATs monitor the markets and inform DUR on potential REMIT breaches</a:t>
            </a:r>
            <a:endParaRPr lang="da-DK" dirty="0"/>
          </a:p>
          <a:p>
            <a:pPr marL="285704" indent="-285704">
              <a:buFont typeface="Arial" panose="020B0604020202020204" pitchFamily="34" charset="0"/>
              <a:buChar char="•"/>
            </a:pPr>
            <a:endParaRPr lang="en-US" dirty="0"/>
          </a:p>
          <a:p>
            <a:pPr marL="285704" indent="-285704">
              <a:buFont typeface="Arial" panose="020B0604020202020204" pitchFamily="34" charset="0"/>
              <a:buChar char="•"/>
            </a:pPr>
            <a:r>
              <a:rPr lang="en-US" dirty="0"/>
              <a:t>DUR investigates potential REMIT breaches </a:t>
            </a:r>
          </a:p>
          <a:p>
            <a:pPr marL="285704" indent="-285704">
              <a:buFont typeface="Arial" panose="020B0604020202020204" pitchFamily="34" charset="0"/>
              <a:buChar char="•"/>
            </a:pPr>
            <a:endParaRPr lang="en-US" dirty="0"/>
          </a:p>
          <a:p>
            <a:pPr marL="285704" indent="-285704">
              <a:buFont typeface="Arial" panose="020B0604020202020204" pitchFamily="34" charset="0"/>
              <a:buChar char="•"/>
            </a:pPr>
            <a:r>
              <a:rPr lang="en-US" sz="1800" dirty="0"/>
              <a:t>Competence on enforcement split between DUR and State Prosecutor </a:t>
            </a:r>
          </a:p>
          <a:p>
            <a:pPr marL="445098" lvl="1" indent="-285704">
              <a:buFont typeface="Wingdings" panose="05000000000000000000" pitchFamily="2" charset="2"/>
              <a:buChar char="Ø"/>
            </a:pPr>
            <a:r>
              <a:rPr lang="en-US" sz="1800" dirty="0"/>
              <a:t>Administrative sanctions by DUR</a:t>
            </a:r>
          </a:p>
          <a:p>
            <a:pPr marL="445098" lvl="1" indent="-285704">
              <a:buFont typeface="Wingdings" panose="05000000000000000000" pitchFamily="2" charset="2"/>
              <a:buChar char="Ø"/>
            </a:pPr>
            <a:r>
              <a:rPr lang="en-US" sz="1800" dirty="0"/>
              <a:t>Criminal law sanctions by State Prosecutor</a:t>
            </a:r>
          </a:p>
          <a:p>
            <a:pPr marL="445098" lvl="1" indent="-285704">
              <a:buFont typeface="Wingdings" panose="05000000000000000000" pitchFamily="2" charset="2"/>
              <a:buChar char="Ø"/>
            </a:pPr>
            <a:endParaRPr lang="en-US" sz="1800" dirty="0"/>
          </a:p>
          <a:p>
            <a:pPr marL="445098" lvl="1" indent="-285704"/>
            <a:r>
              <a:rPr lang="en-US" sz="1800" dirty="0"/>
              <a:t>ACER and/or DUR publish guidance on REMIT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6" name="Pladsholder til billede 6" descr="Et billede, der indeholder person, bygning, mand, stående&#10;&#10;Automatisk genereret beskrivelse">
            <a:extLst>
              <a:ext uri="{FF2B5EF4-FFF2-40B4-BE49-F238E27FC236}">
                <a16:creationId xmlns:a16="http://schemas.microsoft.com/office/drawing/2014/main" id="{7045D816-895B-164D-8D91-BF1AFC0613E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0" r="2040"/>
          <a:stretch>
            <a:fillRect/>
          </a:stretch>
        </p:blipFill>
        <p:spPr>
          <a:xfrm>
            <a:off x="6455788" y="-26933"/>
            <a:ext cx="5083571" cy="6080392"/>
          </a:xfrm>
        </p:spPr>
      </p:pic>
      <p:sp>
        <p:nvSpPr>
          <p:cNvPr id="5" name="Titel 3">
            <a:extLst>
              <a:ext uri="{FF2B5EF4-FFF2-40B4-BE49-F238E27FC236}">
                <a16:creationId xmlns:a16="http://schemas.microsoft.com/office/drawing/2014/main" id="{C8939113-FB46-BC40-B0C2-A20C8B3B3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404" y="779819"/>
            <a:ext cx="6451585" cy="467939"/>
          </a:xfrm>
        </p:spPr>
        <p:txBody>
          <a:bodyPr/>
          <a:lstStyle/>
          <a:p>
            <a:r>
              <a:rPr lang="da-DK" dirty="0" err="1"/>
              <a:t>What</a:t>
            </a:r>
            <a:r>
              <a:rPr lang="da-DK" dirty="0"/>
              <a:t> is the </a:t>
            </a:r>
            <a:r>
              <a:rPr lang="da-DK" dirty="0" err="1"/>
              <a:t>role</a:t>
            </a:r>
            <a:r>
              <a:rPr lang="da-DK" dirty="0"/>
              <a:t> of Danish Utility Regulator?</a:t>
            </a:r>
          </a:p>
        </p:txBody>
      </p:sp>
      <p:grpSp>
        <p:nvGrpSpPr>
          <p:cNvPr id="7" name="Gruppe 6"/>
          <p:cNvGrpSpPr/>
          <p:nvPr/>
        </p:nvGrpSpPr>
        <p:grpSpPr>
          <a:xfrm>
            <a:off x="493956" y="6182586"/>
            <a:ext cx="2468713" cy="525503"/>
            <a:chOff x="323528" y="4659982"/>
            <a:chExt cx="1872208" cy="398527"/>
          </a:xfrm>
        </p:grpSpPr>
        <p:sp>
          <p:nvSpPr>
            <p:cNvPr id="8" name="Rektangel 7"/>
            <p:cNvSpPr/>
            <p:nvPr/>
          </p:nvSpPr>
          <p:spPr>
            <a:xfrm>
              <a:off x="323528" y="4659982"/>
              <a:ext cx="1872208" cy="39852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940" tIns="94940" rIns="94940" bIns="94940" rtlCol="0" anchor="ctr"/>
            <a:lstStyle/>
            <a:p>
              <a:pPr algn="ctr" defTabSz="914460"/>
              <a:endParaRPr lang="da-DK" sz="1779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9" name="Billede 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789" y="4659982"/>
              <a:ext cx="1322864" cy="3985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6919604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CA461EF-0155-E142-86D9-D74D67C632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4000" b="1" dirty="0"/>
              <a:t>Thank you for listening</a:t>
            </a:r>
          </a:p>
          <a:p>
            <a:endParaRPr lang="en-US" dirty="0"/>
          </a:p>
          <a:p>
            <a:r>
              <a:rPr lang="en-US" dirty="0">
                <a:solidFill>
                  <a:schemeClr val="accent1"/>
                </a:solidFill>
              </a:rPr>
              <a:t>And thank you for having the possibility to present this</a:t>
            </a:r>
          </a:p>
          <a:p>
            <a:endParaRPr lang="da-DK" dirty="0"/>
          </a:p>
        </p:txBody>
      </p:sp>
      <p:pic>
        <p:nvPicPr>
          <p:cNvPr id="8" name="Pladsholder til billede 7" descr="Batteri, der oplades">
            <a:extLst>
              <a:ext uri="{FF2B5EF4-FFF2-40B4-BE49-F238E27FC236}">
                <a16:creationId xmlns:a16="http://schemas.microsoft.com/office/drawing/2014/main" id="{17930E0F-3D30-E149-9113-1270FF7164A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196119" y="779922"/>
            <a:ext cx="1799765" cy="1799765"/>
          </a:xfrm>
        </p:spPr>
      </p:pic>
      <p:grpSp>
        <p:nvGrpSpPr>
          <p:cNvPr id="4" name="Gruppe 3"/>
          <p:cNvGrpSpPr/>
          <p:nvPr/>
        </p:nvGrpSpPr>
        <p:grpSpPr>
          <a:xfrm>
            <a:off x="493956" y="6182586"/>
            <a:ext cx="2468713" cy="525503"/>
            <a:chOff x="323528" y="4659982"/>
            <a:chExt cx="1872208" cy="398527"/>
          </a:xfrm>
        </p:grpSpPr>
        <p:sp>
          <p:nvSpPr>
            <p:cNvPr id="5" name="Rektangel 4"/>
            <p:cNvSpPr/>
            <p:nvPr/>
          </p:nvSpPr>
          <p:spPr>
            <a:xfrm>
              <a:off x="323528" y="4659982"/>
              <a:ext cx="1872208" cy="39852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940" tIns="94940" rIns="94940" bIns="94940" rtlCol="0" anchor="ctr"/>
            <a:lstStyle/>
            <a:p>
              <a:pPr algn="ctr" defTabSz="914460"/>
              <a:endParaRPr lang="da-DK" sz="1779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6" name="Billede 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789" y="4659982"/>
              <a:ext cx="1322864" cy="39852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407741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B83F3A05-297F-23E2-2969-2D2B18309E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6CBA02E-5570-5402-FAC3-D56D3F8C2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CBF7AEF-E8C7-F927-96C4-E6F0D1D53F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5</a:t>
            </a:fld>
            <a:endParaRPr lang="da-DK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D383EA72-4121-1C01-EA30-B705A33500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1203325"/>
            <a:ext cx="10213975" cy="712788"/>
          </a:xfrm>
        </p:spPr>
        <p:txBody>
          <a:bodyPr/>
          <a:lstStyle/>
          <a:p>
            <a:r>
              <a:rPr lang="da-DK" dirty="0"/>
              <a:t>Danish gas </a:t>
            </a:r>
            <a:r>
              <a:rPr lang="da-DK" dirty="0" err="1"/>
              <a:t>storage</a:t>
            </a:r>
            <a:r>
              <a:rPr lang="da-DK" dirty="0"/>
              <a:t> </a:t>
            </a:r>
            <a:r>
              <a:rPr lang="da-DK" dirty="0" err="1"/>
              <a:t>filling</a:t>
            </a:r>
            <a:endParaRPr lang="da-DK" dirty="0"/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C6668C68-3444-7A25-AEF3-401FEA0F0A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5481" y="1996685"/>
            <a:ext cx="8394886" cy="4448558"/>
          </a:xfrm>
          <a:prstGeom prst="rect">
            <a:avLst/>
          </a:prstGeom>
        </p:spPr>
      </p:pic>
      <p:sp>
        <p:nvSpPr>
          <p:cNvPr id="2" name="Rektangel 1">
            <a:extLst>
              <a:ext uri="{FF2B5EF4-FFF2-40B4-BE49-F238E27FC236}">
                <a16:creationId xmlns:a16="http://schemas.microsoft.com/office/drawing/2014/main" id="{00D7C65D-5419-2DE6-9E15-7AEA555701CD}"/>
              </a:ext>
            </a:extLst>
          </p:cNvPr>
          <p:cNvSpPr/>
          <p:nvPr/>
        </p:nvSpPr>
        <p:spPr>
          <a:xfrm>
            <a:off x="9085006" y="2647335"/>
            <a:ext cx="2831691" cy="3473246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b="1" noProof="0" dirty="0">
                <a:solidFill>
                  <a:schemeClr val="bg1"/>
                </a:solidFill>
              </a:rPr>
              <a:t>Individual filling requirements 2023-2024</a:t>
            </a:r>
          </a:p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en-US" b="1" noProof="0" dirty="0">
              <a:solidFill>
                <a:schemeClr val="bg1"/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</a:rPr>
              <a:t>Tender on 31 May 2023</a:t>
            </a:r>
          </a:p>
          <a:p>
            <a:pPr marL="285750" indent="-285750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</a:rPr>
              <a:t>0,3 </a:t>
            </a:r>
            <a:r>
              <a:rPr lang="en-US" sz="1600" noProof="0" dirty="0" err="1">
                <a:solidFill>
                  <a:schemeClr val="bg1"/>
                </a:solidFill>
              </a:rPr>
              <a:t>TWh</a:t>
            </a:r>
            <a:r>
              <a:rPr lang="en-US" sz="1600" noProof="0" dirty="0">
                <a:solidFill>
                  <a:schemeClr val="bg1"/>
                </a:solidFill>
              </a:rPr>
              <a:t> purchased</a:t>
            </a:r>
          </a:p>
          <a:p>
            <a:pPr marL="285750" indent="-285750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r>
              <a:rPr lang="en-US" sz="1600" noProof="0" dirty="0">
                <a:solidFill>
                  <a:schemeClr val="bg1"/>
                </a:solidFill>
              </a:rPr>
              <a:t>Price of 2,8 €/MWh</a:t>
            </a:r>
          </a:p>
          <a:p>
            <a:pPr marL="285750" indent="-285750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Total cost of </a:t>
            </a:r>
            <a:r>
              <a:rPr lang="en-US" sz="1600" noProof="0" dirty="0">
                <a:solidFill>
                  <a:schemeClr val="bg1"/>
                </a:solidFill>
              </a:rPr>
              <a:t>6.3 million DKK </a:t>
            </a:r>
          </a:p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en-US" sz="1600" noProof="0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da-DK" sz="1600" noProof="0" dirty="0">
                <a:solidFill>
                  <a:schemeClr val="bg1"/>
                </a:solidFill>
              </a:rPr>
              <a:t>More information:</a:t>
            </a:r>
          </a:p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da-DK" sz="16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ket-</a:t>
            </a:r>
            <a:r>
              <a:rPr lang="da-DK" sz="1600" dirty="0" err="1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ased</a:t>
            </a:r>
            <a:r>
              <a:rPr lang="da-DK" sz="16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Activity (energinet.dk)</a:t>
            </a:r>
            <a:r>
              <a:rPr lang="da-DK" sz="1600" b="0" i="0" dirty="0">
                <a:solidFill>
                  <a:schemeClr val="bg1"/>
                </a:solidFill>
                <a:effectLst/>
                <a:latin typeface="DINNextLTPro-Regular"/>
              </a:rPr>
              <a:t> </a:t>
            </a:r>
            <a:r>
              <a:rPr lang="en-US" sz="1600" noProof="0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4628280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301183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BE0AB1AB-F000-41C9-B25C-8829AC2584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42964" y="3780149"/>
            <a:ext cx="7106073" cy="1470041"/>
          </a:xfrm>
        </p:spPr>
        <p:txBody>
          <a:bodyPr/>
          <a:lstStyle/>
          <a:p>
            <a:r>
              <a:rPr lang="en-US" dirty="0"/>
              <a:t>Tariffs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CBA7BB5-7CCE-43FF-8F1D-1F8ADBF7C97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a-DK" dirty="0"/>
              <a:t>Jeppe Danø, Energinet</a:t>
            </a:r>
            <a:endParaRPr lang="en-US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809A71B0-24E4-0FF5-3A51-FB3A75ABB3C6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65400" y="1814188"/>
            <a:ext cx="1861200" cy="186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03872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C76CFD2-D286-440A-A7E3-5BE4915C65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C76CFD2-D286-440A-A7E3-5BE4915C6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billede 1">
            <a:extLst>
              <a:ext uri="{FF2B5EF4-FFF2-40B4-BE49-F238E27FC236}">
                <a16:creationId xmlns:a16="http://schemas.microsoft.com/office/drawing/2014/main" id="{009944CD-D077-47F6-AE64-98A553E32F66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35152984-F2BD-4A62-A61F-949B336E68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DEE3D0B8-2140-4469-82B7-4D97783B4F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094665FE-D161-4614-88A1-280E97E35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52</a:t>
            </a:fld>
            <a:endParaRPr lang="da-DK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2892958-33AC-4D67-A9FC-A0CB93EAAB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ontent</a:t>
            </a:r>
            <a:endParaRPr lang="da-DK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1D521EE6-5642-4425-92D0-39C8BA96D3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Introductory remark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Tariffs 2024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evelopment in transportation tariff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Assumptions:</a:t>
            </a:r>
          </a:p>
          <a:p>
            <a:pPr marL="774900" lvl="1" indent="-342900"/>
            <a:r>
              <a:rPr lang="en-GB" dirty="0"/>
              <a:t>Cost base</a:t>
            </a:r>
          </a:p>
          <a:p>
            <a:pPr marL="774900" lvl="1" indent="-342900"/>
            <a:r>
              <a:rPr lang="en-GB" dirty="0"/>
              <a:t>Under coverage</a:t>
            </a:r>
          </a:p>
          <a:p>
            <a:pPr marL="774900" lvl="1" indent="-342900"/>
            <a:r>
              <a:rPr lang="en-GB" dirty="0"/>
              <a:t>Capacity and flow</a:t>
            </a:r>
          </a:p>
        </p:txBody>
      </p:sp>
      <p:pic>
        <p:nvPicPr>
          <p:cNvPr id="9" name="Pladsholder til billede 13">
            <a:extLst>
              <a:ext uri="{FF2B5EF4-FFF2-40B4-BE49-F238E27FC236}">
                <a16:creationId xmlns:a16="http://schemas.microsoft.com/office/drawing/2014/main" id="{A866FC1E-5651-4F37-98BE-85F412A2DC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63" b="11363"/>
          <a:stretch/>
        </p:blipFill>
        <p:spPr>
          <a:xfrm>
            <a:off x="6275387" y="0"/>
            <a:ext cx="5916612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211334307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1A6E679-54A5-4E68-8050-4055D98B2F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2" imgH="623" progId="TCLayout.ActiveDocument.1">
                  <p:embed/>
                </p:oleObj>
              </mc:Choice>
              <mc:Fallback>
                <p:oleObj name="think-cell Slide" r:id="rId3" imgW="622" imgH="623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1A6E679-54A5-4E68-8050-4055D98B2F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ladsholder til billede 10" descr="Et billede, der indeholder himmel, udendørs, sten, bjerg&#10;&#10;Automatisk genereret beskrivelse">
            <a:extLst>
              <a:ext uri="{FF2B5EF4-FFF2-40B4-BE49-F238E27FC236}">
                <a16:creationId xmlns:a16="http://schemas.microsoft.com/office/drawing/2014/main" id="{B851FB7F-3FFE-493F-92F2-FEAA7126141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83" b="7783"/>
          <a:stretch>
            <a:fillRect/>
          </a:stretch>
        </p:blipFill>
        <p:spPr/>
      </p:pic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438848E8-10C4-47D9-8B3F-95D5884103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4D975F38-7A9E-493F-A9F6-4025F7EEA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D829FD0A-C631-4021-8E7C-428F33DA6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53</a:t>
            </a:fld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6C9E02D2-E775-4D19-8F97-31BD226F4D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6FB5318B-B948-4007-B2E1-80B53B41B7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72980" y="2485820"/>
            <a:ext cx="3337528" cy="351968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ariff period for the calendar year 2024, due to last years change from gas year to calendar year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ntinued conditions:</a:t>
            </a:r>
          </a:p>
          <a:p>
            <a:pPr marL="53975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100 per cent capacity tariff</a:t>
            </a:r>
          </a:p>
          <a:p>
            <a:pPr marL="53975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</a:rPr>
              <a:t>Uniform tariff methodolog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emergency supply tariffs will be published in September.</a:t>
            </a:r>
            <a:endParaRPr lang="da-DK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D8AEF7B7-4851-43A9-9A7E-A11D88459F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sz="3600" dirty="0" err="1"/>
              <a:t>Introductory</a:t>
            </a:r>
            <a:r>
              <a:rPr lang="da-DK" sz="3600" dirty="0"/>
              <a:t> </a:t>
            </a:r>
            <a:r>
              <a:rPr lang="da-DK" sz="3600" dirty="0" err="1"/>
              <a:t>remarks</a:t>
            </a:r>
            <a:endParaRPr lang="da-DK" sz="3600" dirty="0"/>
          </a:p>
        </p:txBody>
      </p:sp>
    </p:spTree>
    <p:extLst>
      <p:ext uri="{BB962C8B-B14F-4D97-AF65-F5344CB8AC3E}">
        <p14:creationId xmlns:p14="http://schemas.microsoft.com/office/powerpoint/2010/main" val="224899743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Objekt 69" hidden="1">
            <a:extLst>
              <a:ext uri="{FF2B5EF4-FFF2-40B4-BE49-F238E27FC236}">
                <a16:creationId xmlns:a16="http://schemas.microsoft.com/office/drawing/2014/main" id="{7E02E286-4EF1-4D91-B43D-AA32873101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622" imgH="623" progId="TCLayout.ActiveDocument.1">
                  <p:embed/>
                </p:oleObj>
              </mc:Choice>
              <mc:Fallback>
                <p:oleObj name="think-cell Slide" r:id="rId38" imgW="622" imgH="623" progId="TCLayout.ActiveDocument.1">
                  <p:embed/>
                  <p:pic>
                    <p:nvPicPr>
                      <p:cNvPr id="70" name="Objekt 69" hidden="1">
                        <a:extLst>
                          <a:ext uri="{FF2B5EF4-FFF2-40B4-BE49-F238E27FC236}">
                            <a16:creationId xmlns:a16="http://schemas.microsoft.com/office/drawing/2014/main" id="{7E02E286-4EF1-4D91-B43D-AA32873101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tvinklet trekant 22">
            <a:extLst>
              <a:ext uri="{FF2B5EF4-FFF2-40B4-BE49-F238E27FC236}">
                <a16:creationId xmlns:a16="http://schemas.microsoft.com/office/drawing/2014/main" id="{502BED75-58AA-4B15-9BB9-F6D2DE94ED02}"/>
              </a:ext>
            </a:extLst>
          </p:cNvPr>
          <p:cNvSpPr/>
          <p:nvPr/>
        </p:nvSpPr>
        <p:spPr>
          <a:xfrm flipV="1">
            <a:off x="0" y="-1"/>
            <a:ext cx="10799763" cy="4851797"/>
          </a:xfrm>
          <a:prstGeom prst="rtTriangl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en-US" sz="2000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1F9B77-BA80-4696-879E-8B9CC26E2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1186281"/>
            <a:ext cx="10214464" cy="712414"/>
          </a:xfrm>
        </p:spPr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Tariff effects 2024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(DKK/</a:t>
            </a:r>
            <a:r>
              <a:rPr lang="en-US" dirty="0" err="1">
                <a:solidFill>
                  <a:schemeClr val="bg1"/>
                </a:solidFill>
              </a:rPr>
              <a:t>KWh</a:t>
            </a:r>
            <a:r>
              <a:rPr lang="en-US" dirty="0">
                <a:solidFill>
                  <a:schemeClr val="bg1"/>
                </a:solidFill>
              </a:rPr>
              <a:t>/H/year)</a:t>
            </a:r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9C207200-058D-45BB-817B-6EB4C480E81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EE33678-7AA5-46DB-AF2D-AE456FB8D1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F68476A7-0C21-4396-803F-82CC5B3159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mtClean="0"/>
              <a:pPr/>
              <a:t>54</a:t>
            </a:fld>
            <a:endParaRPr lang="da-DK" dirty="0"/>
          </a:p>
        </p:txBody>
      </p:sp>
      <p:cxnSp>
        <p:nvCxnSpPr>
          <p:cNvPr id="46" name="Lige forbindelse 45">
            <a:extLst>
              <a:ext uri="{FF2B5EF4-FFF2-40B4-BE49-F238E27FC236}">
                <a16:creationId xmlns:a16="http://schemas.microsoft.com/office/drawing/2014/main" id="{2D194F5A-AB04-4034-AD82-5A6912835217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5203825" y="5719763"/>
            <a:ext cx="3238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Lige forbindelse 53">
            <a:extLst>
              <a:ext uri="{FF2B5EF4-FFF2-40B4-BE49-F238E27FC236}">
                <a16:creationId xmlns:a16="http://schemas.microsoft.com/office/drawing/2014/main" id="{3F160386-0FC9-40B5-8A28-00EA3EBE5A8B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9586913" y="2247900"/>
            <a:ext cx="3238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Lige forbindelse 48">
            <a:extLst>
              <a:ext uri="{FF2B5EF4-FFF2-40B4-BE49-F238E27FC236}">
                <a16:creationId xmlns:a16="http://schemas.microsoft.com/office/drawing/2014/main" id="{58A5F6CA-3AB5-4A42-8B59-179B1F8E999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934075" y="4373563"/>
            <a:ext cx="3238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Lige forbindelse 52">
            <a:extLst>
              <a:ext uri="{FF2B5EF4-FFF2-40B4-BE49-F238E27FC236}">
                <a16:creationId xmlns:a16="http://schemas.microsoft.com/office/drawing/2014/main" id="{C827A561-11B7-484C-9E9D-F3B6372ED4CF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856663" y="2012950"/>
            <a:ext cx="3238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Lige forbindelse 49">
            <a:extLst>
              <a:ext uri="{FF2B5EF4-FFF2-40B4-BE49-F238E27FC236}">
                <a16:creationId xmlns:a16="http://schemas.microsoft.com/office/drawing/2014/main" id="{AC7D8A8A-E75A-41BE-9B95-88DCDC7CF9D9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6664325" y="4373563"/>
            <a:ext cx="3238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Lige forbindelse 50">
            <a:extLst>
              <a:ext uri="{FF2B5EF4-FFF2-40B4-BE49-F238E27FC236}">
                <a16:creationId xmlns:a16="http://schemas.microsoft.com/office/drawing/2014/main" id="{03E03870-0EBF-4F98-87AB-120194E62CC2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394575" y="3778250"/>
            <a:ext cx="3238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Lige forbindelse 51">
            <a:extLst>
              <a:ext uri="{FF2B5EF4-FFF2-40B4-BE49-F238E27FC236}">
                <a16:creationId xmlns:a16="http://schemas.microsoft.com/office/drawing/2014/main" id="{14EF9203-C934-44B0-9957-6020E697AECD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8126413" y="2243138"/>
            <a:ext cx="3238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Lige forbindelse 54">
            <a:extLst>
              <a:ext uri="{FF2B5EF4-FFF2-40B4-BE49-F238E27FC236}">
                <a16:creationId xmlns:a16="http://schemas.microsoft.com/office/drawing/2014/main" id="{BA14E92D-E45A-42A3-8AA3-3CEE18513398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0317163" y="2566988"/>
            <a:ext cx="3238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69" name="Chart 3">
            <a:extLst>
              <a:ext uri="{FF2B5EF4-FFF2-40B4-BE49-F238E27FC236}">
                <a16:creationId xmlns:a16="http://schemas.microsoft.com/office/drawing/2014/main" id="{26881973-BCA1-DFFB-F525-37CC11CDFAD0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4552950" y="1930400"/>
          <a:ext cx="6738938" cy="411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 useBgFill="1">
        <p:nvSpPr>
          <p:cNvPr id="130" name="Kombinationstegning: figur 129">
            <a:extLst>
              <a:ext uri="{FF2B5EF4-FFF2-40B4-BE49-F238E27FC236}">
                <a16:creationId xmlns:a16="http://schemas.microsoft.com/office/drawing/2014/main" id="{0ABD6108-B6AD-1628-7C8F-1835D177F976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751389" y="5746750"/>
            <a:ext cx="498475" cy="192088"/>
          </a:xfrm>
          <a:custGeom>
            <a:avLst/>
            <a:gdLst/>
            <a:ahLst/>
            <a:cxnLst/>
            <a:rect l="0" t="0" r="0" b="0"/>
            <a:pathLst>
              <a:path w="498476" h="192089">
                <a:moveTo>
                  <a:pt x="0" y="134938"/>
                </a:moveTo>
                <a:lnTo>
                  <a:pt x="498475" y="0"/>
                </a:lnTo>
                <a:lnTo>
                  <a:pt x="498475" y="57150"/>
                </a:lnTo>
                <a:lnTo>
                  <a:pt x="0" y="19208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 useBgFill="1">
        <p:nvSpPr>
          <p:cNvPr id="136" name="Kombinationstegning: figur 135">
            <a:extLst>
              <a:ext uri="{FF2B5EF4-FFF2-40B4-BE49-F238E27FC236}">
                <a16:creationId xmlns:a16="http://schemas.microsoft.com/office/drawing/2014/main" id="{6E950261-3715-9075-AB01-B3B4DD45843E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10594976" y="5746750"/>
            <a:ext cx="498475" cy="192088"/>
          </a:xfrm>
          <a:custGeom>
            <a:avLst/>
            <a:gdLst/>
            <a:ahLst/>
            <a:cxnLst/>
            <a:rect l="0" t="0" r="0" b="0"/>
            <a:pathLst>
              <a:path w="498476" h="192089">
                <a:moveTo>
                  <a:pt x="0" y="134938"/>
                </a:moveTo>
                <a:lnTo>
                  <a:pt x="498475" y="0"/>
                </a:lnTo>
                <a:lnTo>
                  <a:pt x="498475" y="57150"/>
                </a:lnTo>
                <a:lnTo>
                  <a:pt x="0" y="19208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 useBgFill="1">
        <p:nvSpPr>
          <p:cNvPr id="133" name="Kombinationstegning: figur 132">
            <a:extLst>
              <a:ext uri="{FF2B5EF4-FFF2-40B4-BE49-F238E27FC236}">
                <a16:creationId xmlns:a16="http://schemas.microsoft.com/office/drawing/2014/main" id="{6E2EE549-1688-8AC0-DA74-BCC92F69D69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211889" y="5746750"/>
            <a:ext cx="498475" cy="192088"/>
          </a:xfrm>
          <a:custGeom>
            <a:avLst/>
            <a:gdLst/>
            <a:ahLst/>
            <a:cxnLst/>
            <a:rect l="0" t="0" r="0" b="0"/>
            <a:pathLst>
              <a:path w="498476" h="192089">
                <a:moveTo>
                  <a:pt x="0" y="134938"/>
                </a:moveTo>
                <a:lnTo>
                  <a:pt x="498475" y="0"/>
                </a:lnTo>
                <a:lnTo>
                  <a:pt x="498475" y="57150"/>
                </a:lnTo>
                <a:lnTo>
                  <a:pt x="0" y="19208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28" name="Kombinationstegning: figur 127">
            <a:extLst>
              <a:ext uri="{FF2B5EF4-FFF2-40B4-BE49-F238E27FC236}">
                <a16:creationId xmlns:a16="http://schemas.microsoft.com/office/drawing/2014/main" id="{8D72880A-C52B-6821-40BA-381E3EBF99BC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4751389" y="5746750"/>
            <a:ext cx="498475" cy="134938"/>
          </a:xfrm>
          <a:custGeom>
            <a:avLst/>
            <a:gdLst/>
            <a:ahLst/>
            <a:cxnLst/>
            <a:rect l="0" t="0" r="0" b="0"/>
            <a:pathLst>
              <a:path w="498476" h="134939">
                <a:moveTo>
                  <a:pt x="0" y="134938"/>
                </a:moveTo>
                <a:lnTo>
                  <a:pt x="4984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5" name="Kombinationstegning: figur 134">
            <a:extLst>
              <a:ext uri="{FF2B5EF4-FFF2-40B4-BE49-F238E27FC236}">
                <a16:creationId xmlns:a16="http://schemas.microsoft.com/office/drawing/2014/main" id="{D9001F47-0BB5-3BA6-A5FD-47066A863ED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0594976" y="5803900"/>
            <a:ext cx="498475" cy="134938"/>
          </a:xfrm>
          <a:custGeom>
            <a:avLst/>
            <a:gdLst/>
            <a:ahLst/>
            <a:cxnLst/>
            <a:rect l="0" t="0" r="0" b="0"/>
            <a:pathLst>
              <a:path w="498476" h="134939">
                <a:moveTo>
                  <a:pt x="0" y="134938"/>
                </a:moveTo>
                <a:lnTo>
                  <a:pt x="4984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4" name="Kombinationstegning: figur 133">
            <a:extLst>
              <a:ext uri="{FF2B5EF4-FFF2-40B4-BE49-F238E27FC236}">
                <a16:creationId xmlns:a16="http://schemas.microsoft.com/office/drawing/2014/main" id="{D5A4DD8A-F323-5BDE-34B7-A2A0F6F2D883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0594976" y="5746750"/>
            <a:ext cx="498475" cy="134938"/>
          </a:xfrm>
          <a:custGeom>
            <a:avLst/>
            <a:gdLst/>
            <a:ahLst/>
            <a:cxnLst/>
            <a:rect l="0" t="0" r="0" b="0"/>
            <a:pathLst>
              <a:path w="498476" h="134939">
                <a:moveTo>
                  <a:pt x="0" y="134938"/>
                </a:moveTo>
                <a:lnTo>
                  <a:pt x="4984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9" name="Kombinationstegning: figur 128">
            <a:extLst>
              <a:ext uri="{FF2B5EF4-FFF2-40B4-BE49-F238E27FC236}">
                <a16:creationId xmlns:a16="http://schemas.microsoft.com/office/drawing/2014/main" id="{F0ADF6CC-D42E-E64E-5979-3618B1873D15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751389" y="5803900"/>
            <a:ext cx="498475" cy="134938"/>
          </a:xfrm>
          <a:custGeom>
            <a:avLst/>
            <a:gdLst/>
            <a:ahLst/>
            <a:cxnLst/>
            <a:rect l="0" t="0" r="0" b="0"/>
            <a:pathLst>
              <a:path w="498476" h="134939">
                <a:moveTo>
                  <a:pt x="0" y="134938"/>
                </a:moveTo>
                <a:lnTo>
                  <a:pt x="4984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1" name="Kombinationstegning: figur 130">
            <a:extLst>
              <a:ext uri="{FF2B5EF4-FFF2-40B4-BE49-F238E27FC236}">
                <a16:creationId xmlns:a16="http://schemas.microsoft.com/office/drawing/2014/main" id="{32BB11A6-41AC-AA36-2451-3A8CF2A55C93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211889" y="5746750"/>
            <a:ext cx="498475" cy="134938"/>
          </a:xfrm>
          <a:custGeom>
            <a:avLst/>
            <a:gdLst/>
            <a:ahLst/>
            <a:cxnLst/>
            <a:rect l="0" t="0" r="0" b="0"/>
            <a:pathLst>
              <a:path w="498476" h="134939">
                <a:moveTo>
                  <a:pt x="0" y="134938"/>
                </a:moveTo>
                <a:lnTo>
                  <a:pt x="4984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32" name="Kombinationstegning: figur 131">
            <a:extLst>
              <a:ext uri="{FF2B5EF4-FFF2-40B4-BE49-F238E27FC236}">
                <a16:creationId xmlns:a16="http://schemas.microsoft.com/office/drawing/2014/main" id="{6DA3871F-47AB-3AEF-0F0F-14201B4C750F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211889" y="5803900"/>
            <a:ext cx="498475" cy="134938"/>
          </a:xfrm>
          <a:custGeom>
            <a:avLst/>
            <a:gdLst/>
            <a:ahLst/>
            <a:cxnLst/>
            <a:rect l="0" t="0" r="0" b="0"/>
            <a:pathLst>
              <a:path w="498476" h="134939">
                <a:moveTo>
                  <a:pt x="0" y="134938"/>
                </a:moveTo>
                <a:lnTo>
                  <a:pt x="498475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cxnSp>
        <p:nvCxnSpPr>
          <p:cNvPr id="162" name="Lige forbindelse 161">
            <a:extLst>
              <a:ext uri="{FF2B5EF4-FFF2-40B4-BE49-F238E27FC236}">
                <a16:creationId xmlns:a16="http://schemas.microsoft.com/office/drawing/2014/main" id="{628CE374-90C8-2345-720E-A5F58529C794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V="1">
            <a:off x="5000625" y="1936750"/>
            <a:ext cx="0" cy="35544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" name="Lige forbindelse 162">
            <a:extLst>
              <a:ext uri="{FF2B5EF4-FFF2-40B4-BE49-F238E27FC236}">
                <a16:creationId xmlns:a16="http://schemas.microsoft.com/office/drawing/2014/main" id="{F170C071-9D01-D648-D525-B8819EE25546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5000625" y="1936750"/>
            <a:ext cx="58435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4" name="Lige forbindelse 163">
            <a:extLst>
              <a:ext uri="{FF2B5EF4-FFF2-40B4-BE49-F238E27FC236}">
                <a16:creationId xmlns:a16="http://schemas.microsoft.com/office/drawing/2014/main" id="{53B45D87-50C7-A3DD-3DBC-4A1A979F474B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0844213" y="1936750"/>
            <a:ext cx="0" cy="4016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F20942F9-EEFC-493D-B279-7EA6BDD5838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656138" y="6013450"/>
            <a:ext cx="6905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FFB3BE8-F9E7-4B53-98DC-506D4EA73258}" type="datetime'Tari''f''''''''f ''''''2''0''2''2/2''0''2''''''''''3'''''''">
              <a:rPr lang="da-DK" altLang="en-US" sz="1200" smtClean="0"/>
              <a:pPr/>
              <a:t>Tariff 2022/2023</a:t>
            </a:fld>
            <a:endParaRPr lang="da-DK" sz="1200" noProof="0" dirty="0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29AF6523-DB5A-4792-9CA6-3FD3CE2D17F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794500" y="6013450"/>
            <a:ext cx="7953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AE1B2F4-061A-4957-937D-2DBD0977834D}" type="datetime'D''e''''''''''p''''re''''''''ci''''''at''''i''''''on'">
              <a:rPr lang="da-DK" altLang="en-US" sz="1200" smtClean="0"/>
              <a:pPr/>
              <a:t>Depreciation</a:t>
            </a:fld>
            <a:endParaRPr lang="da-DK" sz="1200" noProof="0" dirty="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A71B886D-8C64-400B-9984-765CCF4F8BD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451475" y="6013450"/>
            <a:ext cx="56038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E0803A3-8CAF-4E4A-A755-6F8B8C0F069C}" type="datetime'Und''''''''''''''er ''c''''ov''era''''''''''''''g''e'">
              <a:rPr lang="da-DK" altLang="en-US" sz="1200" smtClean="0"/>
              <a:pPr/>
              <a:t>Under coverage</a:t>
            </a:fld>
            <a:endParaRPr lang="da-DK" sz="1200" noProof="0" dirty="0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4CB8F778-D0BA-42E1-8888-513DB1C4B30C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100763" y="6013450"/>
            <a:ext cx="7207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0AE848C-EB00-4FCB-A443-57C03BEDB7A8}" type="datetime'A''''f''''''''''ter'''''' un''''''''d''er ''''''co''verage'''">
              <a:rPr lang="da-DK" altLang="en-US" sz="1200" smtClean="0"/>
              <a:pPr/>
              <a:t>After under coverage</a:t>
            </a:fld>
            <a:endParaRPr lang="da-DK" sz="1200" noProof="0" dirty="0"/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968413A7-DCFD-4575-85F1-709942F447C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681913" y="6013450"/>
            <a:ext cx="4794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FDB221C-16EF-4D63-A980-9218FE330B0C}" type="datetime'W''''A''''C''C'''''''''''' ''''''''i''nkl''.'' ''''''ta''x'">
              <a:rPr lang="da-DK" altLang="en-US" sz="1200" smtClean="0"/>
              <a:pPr/>
              <a:t>WACC inkl. tax</a:t>
            </a:fld>
            <a:endParaRPr lang="da-DK" sz="1200" noProof="0" dirty="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CF0DC46B-5710-E255-DB48-F9CFD33B7AD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353425" y="6013450"/>
            <a:ext cx="6000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86CA0E4-78F2-4656-8EA5-FF94AF7A9DD1}" type="datetime'''C''''''o''''s''''''''''''''t'' ''ba''''s''''''e'''''''''">
              <a:rPr lang="da-DK" altLang="en-US" sz="1200" smtClean="0"/>
              <a:pPr/>
              <a:t>Cost base</a:t>
            </a:fld>
            <a:endParaRPr lang="da-DK" sz="1200" noProof="0" dirty="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A4FEE021-DA06-4CFF-95B6-5486A0B93B2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0510838" y="6013450"/>
            <a:ext cx="6667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8E8A705-E1B9-4CA6-A230-FB451FA36506}" type="datetime'T''''''''ar''''''''i''''f''f'''''''''' ''''2''0''2''''''''4'''">
              <a:rPr lang="da-DK" altLang="en-US" sz="1200" smtClean="0"/>
              <a:pPr/>
              <a:t>Tariff 2024</a:t>
            </a:fld>
            <a:endParaRPr lang="da-DK" sz="1200" noProof="0" dirty="0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F34E143E-3057-10ED-657E-E43A3752836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9798050" y="6013450"/>
            <a:ext cx="6318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362A770-9551-4924-AAD7-4A6733D8E9BC}" type="datetime'C''''''''ap''''a''''''''''''''''''''''''''''ci''ti''''es'''''">
              <a:rPr lang="da-DK" altLang="en-US" sz="1200" smtClean="0"/>
              <a:pPr/>
              <a:t>Capacities</a:t>
            </a:fld>
            <a:endParaRPr lang="da-DK" sz="1200" noProof="0" dirty="0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41B3E53C-0F9F-2E70-7D0E-4D324F3FF2D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134475" y="6013450"/>
            <a:ext cx="50006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DFCD9CA-BF67-4D3C-A626-075B4DCE6FDE}" type="datetime'Cos''t''s'''' o''f'' ''pro''''''ce''s''''s ''en''er''gy'''">
              <a:rPr lang="da-DK" altLang="en-US" sz="1200" smtClean="0"/>
              <a:pPr/>
              <a:t>Costs of process energy</a:t>
            </a:fld>
            <a:endParaRPr lang="da-DK" sz="1200" noProof="0" dirty="0"/>
          </a:p>
        </p:txBody>
      </p:sp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1C0AB4FB-B27A-8820-62D7-8F42BDFABC3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805363" y="5529263"/>
            <a:ext cx="3921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8D0C74E-9D52-4D50-91AF-B5F55A8CCCB5}" type="datetime'44'''''''''''''''''',''''''''''''''11'''''''''''''''''''">
              <a:rPr lang="da-DK" altLang="en-US" sz="120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4,11</a:t>
            </a:fld>
            <a:endParaRPr lang="da-DK" sz="1200" noProof="0" dirty="0"/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2851ED3E-FF13-9150-DA48-42FDF06F054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265863" y="4183063"/>
            <a:ext cx="3921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298FE2D-644C-404A-BC0A-206E09818AAD}" type="datetime'''5''''0'''''''''''''',''''''1''''''''''''''''9'''''''">
              <a:rPr lang="da-DK" altLang="en-US" sz="1200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0,19</a:t>
            </a:fld>
            <a:endParaRPr lang="da-DK" sz="1200" noProof="0" dirty="0"/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1476747F-34CD-7164-7CB1-9BD409AE553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0648950" y="2376488"/>
            <a:ext cx="3921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1BC2737-AA5B-4077-A287-155954A174DF}" type="datetime'''5''''''8'''''''''''''''''''''',''''''''''''3''''6'''">
              <a:rPr lang="da-DK" altLang="en-US" sz="1200" smtClean="0"/>
              <a:pPr/>
              <a:t>58,36</a:t>
            </a:fld>
            <a:endParaRPr lang="da-DK" sz="1200" noProof="0" dirty="0"/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E88ED99F-4F6C-6228-A8A7-645C5618908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686675" y="1819275"/>
            <a:ext cx="471488" cy="2349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AE6258E-3D1D-4265-A5E4-5CE790879F2D}" type="datetime'''''''''''''''+''''''''''''''''''3''''''2''%'''''''''''''''''">
              <a:rPr lang="da-DK" altLang="en-US" sz="1200" b="1" smtClean="0">
                <a:effectLst/>
              </a:rPr>
              <a:pPr/>
              <a:t>+32%</a:t>
            </a:fld>
            <a:endParaRPr lang="da-DK" sz="1200" b="1" noProof="0" dirty="0"/>
          </a:p>
        </p:txBody>
      </p:sp>
      <p:sp>
        <p:nvSpPr>
          <p:cNvPr id="121" name="Tekstfelt 120">
            <a:extLst>
              <a:ext uri="{FF2B5EF4-FFF2-40B4-BE49-F238E27FC236}">
                <a16:creationId xmlns:a16="http://schemas.microsoft.com/office/drawing/2014/main" id="{90A53A4F-4D06-4234-A480-04BCD29DB4FC}"/>
              </a:ext>
            </a:extLst>
          </p:cNvPr>
          <p:cNvSpPr txBox="1"/>
          <p:nvPr/>
        </p:nvSpPr>
        <p:spPr>
          <a:xfrm>
            <a:off x="982663" y="2255838"/>
            <a:ext cx="5010150" cy="123110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176213" lvl="1">
              <a:tabLst>
                <a:tab pos="719138" algn="l"/>
              </a:tabLst>
            </a:pPr>
            <a:endParaRPr lang="da-DK" sz="1600" dirty="0">
              <a:solidFill>
                <a:schemeClr val="bg1"/>
              </a:solidFill>
            </a:endParaRPr>
          </a:p>
          <a:p>
            <a:pPr marL="176213" lvl="1">
              <a:tabLst>
                <a:tab pos="719138" algn="l"/>
              </a:tabLst>
            </a:pPr>
            <a:r>
              <a:rPr lang="da-DK" sz="1600" dirty="0">
                <a:solidFill>
                  <a:schemeClr val="bg1"/>
                </a:solidFill>
              </a:rPr>
              <a:t>Transmission </a:t>
            </a:r>
            <a:r>
              <a:rPr lang="da-DK" sz="1600" dirty="0" err="1">
                <a:solidFill>
                  <a:schemeClr val="bg1"/>
                </a:solidFill>
              </a:rPr>
              <a:t>tariff</a:t>
            </a:r>
            <a:r>
              <a:rPr lang="da-DK" sz="1600" dirty="0">
                <a:solidFill>
                  <a:schemeClr val="bg1"/>
                </a:solidFill>
              </a:rPr>
              <a:t>		46,64 DKK/kWh/h/</a:t>
            </a:r>
            <a:r>
              <a:rPr lang="da-DK" sz="1600" dirty="0" err="1">
                <a:solidFill>
                  <a:schemeClr val="bg1"/>
                </a:solidFill>
              </a:rPr>
              <a:t>year</a:t>
            </a:r>
            <a:endParaRPr lang="da-DK" sz="1600" dirty="0">
              <a:solidFill>
                <a:schemeClr val="bg1"/>
              </a:solidFill>
            </a:endParaRPr>
          </a:p>
          <a:p>
            <a:pPr marL="176213" lvl="1">
              <a:tabLst>
                <a:tab pos="719138" algn="l"/>
              </a:tabLst>
            </a:pPr>
            <a:r>
              <a:rPr lang="da-DK" sz="1600" dirty="0">
                <a:solidFill>
                  <a:schemeClr val="bg1"/>
                </a:solidFill>
              </a:rPr>
              <a:t>Non-transmission </a:t>
            </a:r>
            <a:r>
              <a:rPr lang="da-DK" sz="1600" dirty="0" err="1">
                <a:solidFill>
                  <a:schemeClr val="bg1"/>
                </a:solidFill>
              </a:rPr>
              <a:t>tariff</a:t>
            </a:r>
            <a:r>
              <a:rPr lang="da-DK" sz="1600" dirty="0">
                <a:solidFill>
                  <a:schemeClr val="bg1"/>
                </a:solidFill>
              </a:rPr>
              <a:t>	11,72 DKK/kWh/h/</a:t>
            </a:r>
            <a:r>
              <a:rPr lang="da-DK" sz="1600" dirty="0" err="1">
                <a:solidFill>
                  <a:schemeClr val="bg1"/>
                </a:solidFill>
              </a:rPr>
              <a:t>year</a:t>
            </a:r>
            <a:endParaRPr lang="da-DK" sz="1600" dirty="0">
              <a:solidFill>
                <a:schemeClr val="bg1"/>
              </a:solidFill>
            </a:endParaRPr>
          </a:p>
          <a:p>
            <a:pPr marL="176213" lvl="1">
              <a:tabLst>
                <a:tab pos="719138" algn="l"/>
              </a:tabLst>
            </a:pPr>
            <a:r>
              <a:rPr lang="da-DK" sz="1600" b="1" dirty="0">
                <a:solidFill>
                  <a:schemeClr val="bg1"/>
                </a:solidFill>
              </a:rPr>
              <a:t>Total				58,36 DKK/kWh/h/</a:t>
            </a:r>
            <a:r>
              <a:rPr lang="da-DK" sz="1600" b="1" dirty="0" err="1">
                <a:solidFill>
                  <a:schemeClr val="bg1"/>
                </a:solidFill>
              </a:rPr>
              <a:t>year</a:t>
            </a:r>
            <a:endParaRPr lang="da-DK" sz="1600" b="1" dirty="0">
              <a:solidFill>
                <a:schemeClr val="bg1"/>
              </a:solidFill>
            </a:endParaRPr>
          </a:p>
          <a:p>
            <a:pPr marL="176213" lvl="1">
              <a:tabLst>
                <a:tab pos="719138" algn="l"/>
              </a:tabLst>
            </a:pPr>
            <a:endParaRPr lang="da-DK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63354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D01A3809-AEB1-475D-92F8-1A232D7DEA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D01A3809-AEB1-475D-92F8-1A232D7DEA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id="{5DC529EB-529F-41C0-BD44-5378CC43113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1400" noProof="0" dirty="0">
              <a:sym typeface="+mn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523CDD1-7554-452D-B8DB-DF051A9EEC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523219"/>
            <a:ext cx="10214464" cy="712414"/>
          </a:xfrm>
        </p:spPr>
        <p:txBody>
          <a:bodyPr vert="horz"/>
          <a:lstStyle/>
          <a:p>
            <a:r>
              <a:rPr lang="da-DK" dirty="0"/>
              <a:t>Development in </a:t>
            </a:r>
            <a:r>
              <a:rPr lang="da-DK" dirty="0" err="1"/>
              <a:t>Transportation</a:t>
            </a:r>
            <a:r>
              <a:rPr lang="da-DK" dirty="0"/>
              <a:t> </a:t>
            </a:r>
            <a:r>
              <a:rPr lang="da-DK" dirty="0" err="1"/>
              <a:t>tariffs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9C005E8-3AD6-408F-A9BD-E2E5803919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55B4EC9-59EE-4897-877D-0DE061FCA6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6187960-5E4E-4C49-AA8C-566931AA74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mtClean="0"/>
              <a:pPr/>
              <a:t>55</a:t>
            </a:fld>
            <a:endParaRPr lang="da-DK" dirty="0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10F82B23-E157-BA48-7AA1-34E793C9BBC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2663" y="2254525"/>
            <a:ext cx="5992887" cy="2871465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A1D6AB06-72FB-9F1E-7F70-3C874BA6411D}"/>
              </a:ext>
            </a:extLst>
          </p:cNvPr>
          <p:cNvSpPr txBox="1"/>
          <p:nvPr/>
        </p:nvSpPr>
        <p:spPr>
          <a:xfrm>
            <a:off x="7273374" y="2254526"/>
            <a:ext cx="434385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dirty="0"/>
              <a:t>Full collection of the expected under coverage in 2024 would have caused transportation tariffs of 70,52 DKK/kWh/h/year.</a:t>
            </a:r>
          </a:p>
        </p:txBody>
      </p:sp>
    </p:spTree>
    <p:extLst>
      <p:ext uri="{BB962C8B-B14F-4D97-AF65-F5344CB8AC3E}">
        <p14:creationId xmlns:p14="http://schemas.microsoft.com/office/powerpoint/2010/main" val="320726382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722BCBB-73CD-4908-8FBF-404071B73E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722BCBB-73CD-4908-8FBF-404071B73E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ladsholder til billede 12">
            <a:extLst>
              <a:ext uri="{FF2B5EF4-FFF2-40B4-BE49-F238E27FC236}">
                <a16:creationId xmlns:a16="http://schemas.microsoft.com/office/drawing/2014/main" id="{ADE67CA2-0B11-4BC7-AB66-3053D70824F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81" b="7781"/>
          <a:stretch/>
        </p:blipFill>
        <p:spPr>
          <a:xfrm>
            <a:off x="-3600" y="-3600"/>
            <a:ext cx="12196800" cy="6861600"/>
          </a:xfrm>
          <a:prstGeom prst="rect">
            <a:avLst/>
          </a:prstGeom>
        </p:spPr>
      </p:pic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7D3D3448-6018-480F-852D-993761BFB1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4D7C0302-478B-4EB4-85B0-F71B362DB5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AE1F63C-453B-430A-ABA7-D26E80FEB9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56</a:t>
            </a:fld>
            <a:endParaRPr lang="en-GB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86578B3F-8C8B-4F87-8371-D8D4E83D97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82FF502C-1D21-41C3-999A-2782F086C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ssumptions</a:t>
            </a:r>
          </a:p>
        </p:txBody>
      </p:sp>
    </p:spTree>
    <p:extLst>
      <p:ext uri="{BB962C8B-B14F-4D97-AF65-F5344CB8AC3E}">
        <p14:creationId xmlns:p14="http://schemas.microsoft.com/office/powerpoint/2010/main" val="272471392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34250F-C756-C7C8-8A65-BEC73B6B19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34250F-C756-C7C8-8A65-BEC73B6B19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dsholder til slidenummer 4" hidden="1">
            <a:extLst>
              <a:ext uri="{FF2B5EF4-FFF2-40B4-BE49-F238E27FC236}">
                <a16:creationId xmlns:a16="http://schemas.microsoft.com/office/drawing/2014/main" id="{37910825-CE74-4E7E-8110-2128D58A13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57</a:t>
            </a:fld>
            <a:endParaRPr lang="da-DK"/>
          </a:p>
        </p:txBody>
      </p:sp>
      <p:sp>
        <p:nvSpPr>
          <p:cNvPr id="14" name="Titel 7">
            <a:extLst>
              <a:ext uri="{FF2B5EF4-FFF2-40B4-BE49-F238E27FC236}">
                <a16:creationId xmlns:a16="http://schemas.microsoft.com/office/drawing/2014/main" id="{BB5F11DF-42B2-4CA2-9DC5-7F674C2E4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1196975"/>
            <a:ext cx="4203700" cy="1547813"/>
          </a:xfrm>
        </p:spPr>
        <p:txBody>
          <a:bodyPr vert="horz"/>
          <a:lstStyle/>
          <a:p>
            <a:r>
              <a:rPr lang="en-US" dirty="0"/>
              <a:t>Cost BASE</a:t>
            </a:r>
          </a:p>
        </p:txBody>
      </p:sp>
      <p:sp>
        <p:nvSpPr>
          <p:cNvPr id="16" name="Pladsholder til tekst 14">
            <a:extLst>
              <a:ext uri="{FF2B5EF4-FFF2-40B4-BE49-F238E27FC236}">
                <a16:creationId xmlns:a16="http://schemas.microsoft.com/office/drawing/2014/main" id="{085A86D4-876B-4AF9-9893-7F0052FC4C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700" y="2852738"/>
            <a:ext cx="4776025" cy="3303587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04FF52C7-4126-494A-BC3F-67CAA8A0B79F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664" y="3180180"/>
            <a:ext cx="3084095" cy="3084095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117FCCBC-FF63-48D8-18C8-D6F034C628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79390" y="1749678"/>
            <a:ext cx="4764910" cy="2861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50620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7EEA1EE-3983-08A0-E237-EE4D2B1F84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7EEA1EE-3983-08A0-E237-EE4D2B1F8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dsholder til slidenummer 4" hidden="1">
            <a:extLst>
              <a:ext uri="{FF2B5EF4-FFF2-40B4-BE49-F238E27FC236}">
                <a16:creationId xmlns:a16="http://schemas.microsoft.com/office/drawing/2014/main" id="{37910825-CE74-4E7E-8110-2128D58A13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58</a:t>
            </a:fld>
            <a:endParaRPr lang="da-DK"/>
          </a:p>
        </p:txBody>
      </p:sp>
      <p:sp>
        <p:nvSpPr>
          <p:cNvPr id="14" name="Titel 7">
            <a:extLst>
              <a:ext uri="{FF2B5EF4-FFF2-40B4-BE49-F238E27FC236}">
                <a16:creationId xmlns:a16="http://schemas.microsoft.com/office/drawing/2014/main" id="{BB5F11DF-42B2-4CA2-9DC5-7F674C2E4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1196975"/>
            <a:ext cx="4203700" cy="1547813"/>
          </a:xfrm>
        </p:spPr>
        <p:txBody>
          <a:bodyPr vert="horz"/>
          <a:lstStyle/>
          <a:p>
            <a:r>
              <a:rPr lang="en-US" dirty="0"/>
              <a:t>Under coverage</a:t>
            </a:r>
          </a:p>
        </p:txBody>
      </p:sp>
      <p:sp>
        <p:nvSpPr>
          <p:cNvPr id="16" name="Pladsholder til tekst 14">
            <a:extLst>
              <a:ext uri="{FF2B5EF4-FFF2-40B4-BE49-F238E27FC236}">
                <a16:creationId xmlns:a16="http://schemas.microsoft.com/office/drawing/2014/main" id="{085A86D4-876B-4AF9-9893-7F0052FC4C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700" y="2852738"/>
            <a:ext cx="4542609" cy="3303587"/>
          </a:xfrm>
        </p:spPr>
        <p:txBody>
          <a:bodyPr/>
          <a:lstStyle/>
          <a:p>
            <a:r>
              <a:rPr lang="en-US" dirty="0"/>
              <a:t>Expected accumulated under coverage end of year 2023</a:t>
            </a:r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2E82A92F-2567-4FC7-AFE7-2A9EE279C9F6}"/>
              </a:ext>
            </a:extLst>
          </p:cNvPr>
          <p:cNvSpPr txBox="1"/>
          <p:nvPr/>
        </p:nvSpPr>
        <p:spPr>
          <a:xfrm>
            <a:off x="6872781" y="2235383"/>
            <a:ext cx="4671520" cy="38779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dirty="0"/>
              <a:t>Expected accumulated under coverage end of year 2023 of 586 </a:t>
            </a:r>
            <a:r>
              <a:rPr lang="en-GB" dirty="0" err="1"/>
              <a:t>mDKK</a:t>
            </a:r>
            <a:r>
              <a:rPr lang="en-GB" dirty="0"/>
              <a:t>.</a:t>
            </a:r>
          </a:p>
          <a:p>
            <a:r>
              <a:rPr lang="en-GB" dirty="0"/>
              <a:t>In order to keep the tariffs as stable as possible, the under coverage will be collected during a three year period.</a:t>
            </a:r>
          </a:p>
          <a:p>
            <a:endParaRPr lang="en-GB" dirty="0"/>
          </a:p>
          <a:p>
            <a:r>
              <a:rPr lang="en-GB" dirty="0"/>
              <a:t>Main reasons for the under coverag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Lower booked capacity than expected due to lower consum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Higher depreciation related to reestablishment of as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hanged tax regulation for assets and EU subsid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Higher costs of balancing</a:t>
            </a:r>
          </a:p>
        </p:txBody>
      </p:sp>
      <p:pic>
        <p:nvPicPr>
          <p:cNvPr id="20" name="Grafik 19" descr="Retfærdighedsvægte kontur">
            <a:extLst>
              <a:ext uri="{FF2B5EF4-FFF2-40B4-BE49-F238E27FC236}">
                <a16:creationId xmlns:a16="http://schemas.microsoft.com/office/drawing/2014/main" id="{10802B0E-222D-2F65-155B-923D9217042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56644" y="3589332"/>
            <a:ext cx="2674943" cy="2674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198666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ladsholder til billede 10" descr="Et billede, der indeholder udendørs&#10;&#10;Automatisk genereret beskrivelse">
            <a:extLst>
              <a:ext uri="{FF2B5EF4-FFF2-40B4-BE49-F238E27FC236}">
                <a16:creationId xmlns:a16="http://schemas.microsoft.com/office/drawing/2014/main" id="{88412971-05CF-488A-90BA-D8A6D37891F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83" b="7783"/>
          <a:stretch>
            <a:fillRect/>
          </a:stretch>
        </p:blipFill>
        <p:spPr/>
      </p:pic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5E07D177-EC7D-44DF-9987-68069CABB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B2B79CED-86A4-412E-BB19-052E61C90B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48A300D-7791-4A3A-A92E-18DD80C318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59</a:t>
            </a:fld>
            <a:endParaRPr lang="da-DK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1772F1A7-94E7-4137-8883-447D12EA79A3}"/>
              </a:ext>
            </a:extLst>
          </p:cNvPr>
          <p:cNvSpPr txBox="1">
            <a:spLocks/>
          </p:cNvSpPr>
          <p:nvPr/>
        </p:nvSpPr>
        <p:spPr>
          <a:xfrm>
            <a:off x="-317" y="561145"/>
            <a:ext cx="10214464" cy="712414"/>
          </a:xfrm>
          <a:prstGeom prst="rect">
            <a:avLst/>
          </a:prstGeom>
          <a:solidFill>
            <a:schemeClr val="accent1"/>
          </a:solidFill>
        </p:spPr>
        <p:txBody>
          <a:bodyPr vert="horz"/>
          <a:lstStyle>
            <a:lvl1pPr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accent1"/>
                </a:solidFill>
                <a:latin typeface="Calibri Light" panose="020F03020202040302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da-DK" dirty="0" err="1">
                <a:solidFill>
                  <a:schemeClr val="bg1"/>
                </a:solidFill>
              </a:rPr>
              <a:t>Capacity</a:t>
            </a:r>
            <a:r>
              <a:rPr lang="da-DK" dirty="0">
                <a:solidFill>
                  <a:schemeClr val="bg1"/>
                </a:solidFill>
              </a:rPr>
              <a:t> and </a:t>
            </a:r>
            <a:r>
              <a:rPr lang="da-DK" dirty="0" err="1">
                <a:solidFill>
                  <a:schemeClr val="bg1"/>
                </a:solidFill>
              </a:rPr>
              <a:t>FloW</a:t>
            </a:r>
            <a:r>
              <a:rPr lang="da-DK" dirty="0">
                <a:solidFill>
                  <a:schemeClr val="bg1"/>
                </a:solidFill>
              </a:rPr>
              <a:t> </a:t>
            </a:r>
            <a:r>
              <a:rPr lang="da-DK" dirty="0" err="1">
                <a:solidFill>
                  <a:schemeClr val="bg1"/>
                </a:solidFill>
              </a:rPr>
              <a:t>assumpTIONS</a:t>
            </a:r>
            <a:endParaRPr lang="da-DK" dirty="0">
              <a:solidFill>
                <a:schemeClr val="bg1"/>
              </a:solidFill>
            </a:endParaRPr>
          </a:p>
        </p:txBody>
      </p:sp>
      <p:graphicFrame>
        <p:nvGraphicFramePr>
          <p:cNvPr id="16" name="Pladsholder til indhold 11">
            <a:extLst>
              <a:ext uri="{FF2B5EF4-FFF2-40B4-BE49-F238E27FC236}">
                <a16:creationId xmlns:a16="http://schemas.microsoft.com/office/drawing/2014/main" id="{5A3F163A-920D-4EEB-8815-77646FF9FBDB}"/>
              </a:ext>
            </a:extLst>
          </p:cNvPr>
          <p:cNvGraphicFramePr>
            <a:graphicFrameLocks/>
          </p:cNvGraphicFramePr>
          <p:nvPr/>
        </p:nvGraphicFramePr>
        <p:xfrm>
          <a:off x="3518148" y="1838304"/>
          <a:ext cx="6695999" cy="455456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713326">
                  <a:extLst>
                    <a:ext uri="{9D8B030D-6E8A-4147-A177-3AD203B41FA5}">
                      <a16:colId xmlns:a16="http://schemas.microsoft.com/office/drawing/2014/main" val="1916976256"/>
                    </a:ext>
                  </a:extLst>
                </a:gridCol>
                <a:gridCol w="1660891">
                  <a:extLst>
                    <a:ext uri="{9D8B030D-6E8A-4147-A177-3AD203B41FA5}">
                      <a16:colId xmlns:a16="http://schemas.microsoft.com/office/drawing/2014/main" val="1333906610"/>
                    </a:ext>
                  </a:extLst>
                </a:gridCol>
                <a:gridCol w="1660891">
                  <a:extLst>
                    <a:ext uri="{9D8B030D-6E8A-4147-A177-3AD203B41FA5}">
                      <a16:colId xmlns:a16="http://schemas.microsoft.com/office/drawing/2014/main" val="942232690"/>
                    </a:ext>
                  </a:extLst>
                </a:gridCol>
                <a:gridCol w="1660891">
                  <a:extLst>
                    <a:ext uri="{9D8B030D-6E8A-4147-A177-3AD203B41FA5}">
                      <a16:colId xmlns:a16="http://schemas.microsoft.com/office/drawing/2014/main" val="2009627189"/>
                    </a:ext>
                  </a:extLst>
                </a:gridCol>
              </a:tblGrid>
              <a:tr h="358440">
                <a:tc>
                  <a:txBody>
                    <a:bodyPr/>
                    <a:lstStyle/>
                    <a:p>
                      <a:pPr algn="l" fontAlgn="b"/>
                      <a:r>
                        <a:rPr lang="da-DK" sz="15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da-DK" sz="15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008B8B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500" u="none" strike="noStrike" dirty="0">
                          <a:effectLst/>
                          <a:latin typeface="+mn-lt"/>
                        </a:rPr>
                        <a:t>2022/2023</a:t>
                      </a:r>
                      <a:endParaRPr lang="da-DK" sz="15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008B8B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500" u="none" strike="noStrike" dirty="0">
                          <a:effectLst/>
                          <a:latin typeface="+mn-lt"/>
                        </a:rPr>
                        <a:t>2024</a:t>
                      </a:r>
                      <a:endParaRPr lang="da-DK" sz="15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008B8B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500" u="none" strike="noStrike" dirty="0">
                          <a:effectLst/>
                          <a:latin typeface="+mn-lt"/>
                        </a:rPr>
                        <a:t>Change</a:t>
                      </a:r>
                      <a:endParaRPr lang="da-DK" sz="15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008B8B">
                        <a:alpha val="81961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6272761"/>
                  </a:ext>
                </a:extLst>
              </a:tr>
              <a:tr h="611727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1" u="none" strike="noStrike" noProof="0" dirty="0">
                          <a:effectLst/>
                          <a:latin typeface="+mn-lt"/>
                        </a:rPr>
                        <a:t>Capacity</a:t>
                      </a:r>
                    </a:p>
                    <a:p>
                      <a:pPr algn="l" fontAlgn="b"/>
                      <a:r>
                        <a:rPr lang="en-US" sz="1500" b="1" u="none" strike="noStrike" noProof="0" dirty="0">
                          <a:effectLst/>
                          <a:latin typeface="+mn-lt"/>
                        </a:rPr>
                        <a:t>(kWh/h/year)</a:t>
                      </a:r>
                      <a:endParaRPr lang="en-US" sz="1500" b="1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5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da-DK" sz="15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5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da-DK" sz="15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5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da-DK" sz="15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2216292"/>
                  </a:ext>
                </a:extLst>
              </a:tr>
              <a:tr h="358440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u="none" strike="noStrike" noProof="0" dirty="0">
                          <a:effectLst/>
                          <a:latin typeface="+mn-lt"/>
                        </a:rPr>
                        <a:t>Exit JEZ</a:t>
                      </a:r>
                      <a:endParaRPr lang="en-US" sz="15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1000"/>
                        </a:spcAft>
                      </a:pPr>
                      <a:r>
                        <a:rPr lang="da-DK" sz="15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 Light" panose="020F0302020204030204" pitchFamily="34" charset="0"/>
                        </a:rPr>
                        <a:t>3.847.673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1000"/>
                        </a:spcAft>
                      </a:pPr>
                      <a:r>
                        <a:rPr lang="da-DK" sz="15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3.185.670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7%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2806161"/>
                  </a:ext>
                </a:extLst>
              </a:tr>
              <a:tr h="358440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u="none" strike="noStrike" noProof="0">
                          <a:effectLst/>
                          <a:latin typeface="+mn-lt"/>
                        </a:rPr>
                        <a:t>Exit Ellund</a:t>
                      </a:r>
                      <a:endParaRPr lang="en-US" sz="15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1000"/>
                        </a:spcAft>
                      </a:pPr>
                      <a:r>
                        <a:rPr lang="da-DK" sz="15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 Light" panose="020F0302020204030204" pitchFamily="34" charset="0"/>
                        </a:rPr>
                        <a:t>100.000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1000"/>
                        </a:spcAft>
                      </a:pPr>
                      <a:r>
                        <a:rPr lang="da-DK" sz="15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370.000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0%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1768318"/>
                  </a:ext>
                </a:extLst>
              </a:tr>
              <a:tr h="358440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it Faxe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1000"/>
                        </a:spcAft>
                      </a:pPr>
                      <a:r>
                        <a:rPr lang="da-DK" sz="15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 Light" panose="020F0302020204030204" pitchFamily="34" charset="0"/>
                        </a:rPr>
                        <a:t>11.752.854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1000"/>
                        </a:spcAft>
                      </a:pPr>
                      <a:r>
                        <a:rPr lang="da-DK" sz="15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11.652.969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1%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2871239"/>
                  </a:ext>
                </a:extLst>
              </a:tr>
              <a:tr h="358440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i="0" u="none" strike="noStrike" noProof="0" dirty="0">
                          <a:effectLst/>
                          <a:latin typeface="+mn-lt"/>
                        </a:rPr>
                        <a:t>Exit Capacity</a:t>
                      </a:r>
                      <a:endParaRPr lang="en-US" sz="15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FFFFFF">
                        <a:alpha val="9098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1000"/>
                        </a:spcAft>
                      </a:pPr>
                      <a:r>
                        <a:rPr lang="da-DK" sz="15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 Light" panose="020F0302020204030204" pitchFamily="34" charset="0"/>
                        </a:rPr>
                        <a:t>15.700.527</a:t>
                      </a:r>
                    </a:p>
                  </a:txBody>
                  <a:tcPr marL="0" marR="0" marT="0" marB="0" anchor="b">
                    <a:solidFill>
                      <a:srgbClr val="FFFFFF">
                        <a:alpha val="9098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1000"/>
                        </a:spcAft>
                      </a:pPr>
                      <a:r>
                        <a:rPr lang="da-DK" sz="15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15.208.639</a:t>
                      </a:r>
                    </a:p>
                  </a:txBody>
                  <a:tcPr marL="0" marR="0" marT="0" marB="0" anchor="b">
                    <a:solidFill>
                      <a:srgbClr val="FFFFFF">
                        <a:alpha val="9098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3%</a:t>
                      </a:r>
                    </a:p>
                  </a:txBody>
                  <a:tcPr marL="0" marR="0" marT="0" marB="0" anchor="b">
                    <a:solidFill>
                      <a:srgbClr val="FFFFFF">
                        <a:alpha val="9098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4355906"/>
                  </a:ext>
                </a:extLst>
              </a:tr>
              <a:tr h="358440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u="none" strike="noStrike" noProof="0">
                          <a:effectLst/>
                          <a:latin typeface="+mn-lt"/>
                        </a:rPr>
                        <a:t>Entry Nybro </a:t>
                      </a:r>
                      <a:endParaRPr lang="en-US" sz="15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1000"/>
                        </a:spcAft>
                      </a:pPr>
                      <a:r>
                        <a:rPr lang="da-DK" sz="15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 Light" panose="020F0302020204030204" pitchFamily="34" charset="0"/>
                        </a:rPr>
                        <a:t>1.025.000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1000"/>
                        </a:spcAft>
                      </a:pPr>
                      <a:r>
                        <a:rPr lang="da-DK" sz="15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2.678.667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61%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063599"/>
                  </a:ext>
                </a:extLst>
              </a:tr>
              <a:tr h="358440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u="none" strike="noStrike" noProof="0">
                          <a:effectLst/>
                          <a:latin typeface="+mn-lt"/>
                        </a:rPr>
                        <a:t>Entry Ellund</a:t>
                      </a:r>
                      <a:endParaRPr lang="en-US" sz="15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1000"/>
                        </a:spcAft>
                      </a:pPr>
                      <a:r>
                        <a:rPr lang="da-DK" sz="1500" kern="1200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 Light" panose="020F0302020204030204" pitchFamily="34" charset="0"/>
                        </a:rPr>
                        <a:t>2.842.282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1000"/>
                        </a:spcAft>
                      </a:pPr>
                      <a:r>
                        <a:rPr lang="da-DK" sz="15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1.539.450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-46%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0742129"/>
                  </a:ext>
                </a:extLst>
              </a:tr>
              <a:tr h="358440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u="none" strike="noStrike" noProof="0">
                          <a:effectLst/>
                          <a:latin typeface="+mn-lt"/>
                        </a:rPr>
                        <a:t>Entry RES</a:t>
                      </a:r>
                      <a:endParaRPr lang="en-US" sz="1500" b="0" i="0" u="none" strike="noStrike" noProof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1000"/>
                        </a:spcAft>
                      </a:pPr>
                      <a:r>
                        <a:rPr lang="da-DK" sz="15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 Light" panose="020F0302020204030204" pitchFamily="34" charset="0"/>
                        </a:rPr>
                        <a:t>1.002.222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1000"/>
                        </a:spcAft>
                      </a:pPr>
                      <a:r>
                        <a:rPr lang="da-DK" sz="15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1.051.555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%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9456953"/>
                  </a:ext>
                </a:extLst>
              </a:tr>
              <a:tr h="358440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ntry EPII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1000"/>
                        </a:spcAft>
                      </a:pPr>
                      <a:r>
                        <a:rPr lang="da-DK" sz="15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 Light" panose="020F0302020204030204" pitchFamily="34" charset="0"/>
                        </a:rPr>
                        <a:t>11.080.356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1000"/>
                        </a:spcAft>
                      </a:pPr>
                      <a:r>
                        <a:rPr lang="da-DK" sz="15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11.652.969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%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81961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6972043"/>
                  </a:ext>
                </a:extLst>
              </a:tr>
              <a:tr h="358440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i="0" u="none" strike="noStrike" noProof="0" dirty="0">
                          <a:effectLst/>
                          <a:latin typeface="+mn-lt"/>
                        </a:rPr>
                        <a:t>Entry Capacity</a:t>
                      </a:r>
                      <a:endParaRPr lang="en-US" sz="15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solidFill>
                      <a:srgbClr val="FFFFFF">
                        <a:alpha val="9098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1000"/>
                        </a:spcAft>
                      </a:pPr>
                      <a:r>
                        <a:rPr lang="da-DK" sz="15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 Light" panose="020F0302020204030204" pitchFamily="34" charset="0"/>
                        </a:rPr>
                        <a:t>15.949.860</a:t>
                      </a:r>
                    </a:p>
                  </a:txBody>
                  <a:tcPr marL="0" marR="0" marT="0" marB="0" anchor="b">
                    <a:solidFill>
                      <a:srgbClr val="FFFFFF">
                        <a:alpha val="9098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1000"/>
                        </a:spcAft>
                      </a:pPr>
                      <a:r>
                        <a:rPr lang="da-DK" sz="15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16.922.641</a:t>
                      </a:r>
                    </a:p>
                  </a:txBody>
                  <a:tcPr marL="0" marR="0" marT="0" marB="0" anchor="b">
                    <a:solidFill>
                      <a:srgbClr val="FFFFFF">
                        <a:alpha val="9098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%</a:t>
                      </a:r>
                    </a:p>
                  </a:txBody>
                  <a:tcPr marL="0" marR="0" marT="0" marB="0" anchor="b">
                    <a:solidFill>
                      <a:srgbClr val="FFFFFF">
                        <a:alpha val="9098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830216"/>
                  </a:ext>
                </a:extLst>
              </a:tr>
              <a:tr h="358440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pacity total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9098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1000"/>
                        </a:spcAft>
                      </a:pPr>
                      <a:r>
                        <a:rPr lang="da-DK" sz="15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Calibri Light" panose="020F0302020204030204" pitchFamily="34" charset="0"/>
                        </a:rPr>
                        <a:t>31.650.386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9098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spcAft>
                          <a:spcPts val="1000"/>
                        </a:spcAft>
                      </a:pPr>
                      <a:r>
                        <a:rPr lang="da-DK" sz="15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Calibri Light" panose="020F0302020204030204" pitchFamily="34" charset="0"/>
                        </a:rPr>
                        <a:t>32.131.280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9098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a-DK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%</a:t>
                      </a:r>
                    </a:p>
                  </a:txBody>
                  <a:tcPr marL="0" marR="0" marT="0" marB="0" anchor="b">
                    <a:solidFill>
                      <a:srgbClr val="ECF5E9">
                        <a:alpha val="9098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5083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14878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ladsholder til billede 12">
            <a:extLst>
              <a:ext uri="{FF2B5EF4-FFF2-40B4-BE49-F238E27FC236}">
                <a16:creationId xmlns:a16="http://schemas.microsoft.com/office/drawing/2014/main" id="{FBAEFD83-C369-3465-FCBE-C8FCC078F2C4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 rotWithShape="1">
          <a:blip r:embed="rId2"/>
          <a:srcRect t="697" b="697"/>
          <a:stretch/>
        </p:blipFill>
        <p:spPr>
          <a:xfrm>
            <a:off x="7555345" y="0"/>
            <a:ext cx="4636655" cy="6858000"/>
          </a:xfrm>
        </p:spPr>
      </p:pic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C58596A3-34D1-D2CB-6040-163305466C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CDCC2F15-049F-3363-2D55-6B7BEEBE4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0A4E545-D6FE-7549-86C9-1BCA120F3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b">
            <a:normAutofit fontScale="25000" lnSpcReduction="20000"/>
          </a:bodyPr>
          <a:lstStyle/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6</a:t>
            </a:fld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FDD7652-610B-8542-9C80-6AC2DFCB4C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4" y="1196976"/>
            <a:ext cx="7025842" cy="1547812"/>
          </a:xfrm>
        </p:spPr>
        <p:txBody>
          <a:bodyPr anchor="t">
            <a:noAutofit/>
          </a:bodyPr>
          <a:lstStyle/>
          <a:p>
            <a:r>
              <a:rPr lang="da-DK" sz="3200" dirty="0">
                <a:solidFill>
                  <a:srgbClr val="FFFFFF"/>
                </a:solidFill>
                <a:latin typeface="Calibri Light"/>
                <a:cs typeface="Calibri Light"/>
              </a:rPr>
              <a:t>OWNERSHIP AND OPERATION OF THE DANISH PIPELINE-BOUND HYDROGEN INFRASTRUCTURE OF THE FUTURE</a:t>
            </a:r>
            <a:endParaRPr lang="en-US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E9A230AE-3B22-DB4A-B46E-EE4FE69766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8814" y="2803070"/>
            <a:ext cx="6926712" cy="375947"/>
          </a:xfrm>
        </p:spPr>
        <p:txBody>
          <a:bodyPr vert="horz" lIns="0" tIns="0" rIns="0" bIns="0" rtlCol="0" anchor="t">
            <a:normAutofit fontScale="92500"/>
          </a:bodyPr>
          <a:lstStyle/>
          <a:p>
            <a:pPr>
              <a:lnSpc>
                <a:spcPct val="80000"/>
              </a:lnSpc>
            </a:pPr>
            <a:r>
              <a:rPr lang="da-DK" i="1" dirty="0" err="1">
                <a:solidFill>
                  <a:srgbClr val="FFFFFF"/>
                </a:solidFill>
              </a:rPr>
              <a:t>Clarification</a:t>
            </a:r>
            <a:r>
              <a:rPr lang="da-DK" i="1" dirty="0">
                <a:solidFill>
                  <a:srgbClr val="FFFFFF"/>
                </a:solidFill>
              </a:rPr>
              <a:t> on the </a:t>
            </a:r>
            <a:r>
              <a:rPr lang="da-DK" i="1" dirty="0" err="1">
                <a:solidFill>
                  <a:srgbClr val="FFFFFF"/>
                </a:solidFill>
              </a:rPr>
              <a:t>roles</a:t>
            </a:r>
            <a:r>
              <a:rPr lang="da-DK" i="1" dirty="0">
                <a:solidFill>
                  <a:srgbClr val="FFFFFF"/>
                </a:solidFill>
              </a:rPr>
              <a:t> of Energinet and </a:t>
            </a:r>
            <a:r>
              <a:rPr lang="da-DK" i="1" dirty="0" err="1">
                <a:solidFill>
                  <a:srgbClr val="FFFFFF"/>
                </a:solidFill>
              </a:rPr>
              <a:t>Evida</a:t>
            </a:r>
            <a:r>
              <a:rPr lang="da-DK" i="1" dirty="0">
                <a:solidFill>
                  <a:srgbClr val="FFFFFF"/>
                </a:solidFill>
              </a:rPr>
              <a:t> in the hydrogen system</a:t>
            </a:r>
            <a:endParaRPr lang="da-DK" i="1" dirty="0">
              <a:solidFill>
                <a:srgbClr val="FFFFFF"/>
              </a:solidFill>
              <a:cs typeface="Calibri Light"/>
            </a:endParaRPr>
          </a:p>
          <a:p>
            <a:endParaRPr lang="da-DK" sz="2000" i="1" dirty="0">
              <a:cs typeface="Calibri Light"/>
            </a:endParaRP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ABDF4D4-9822-DF43-A7B6-BFDD908D83C5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58814" y="3252907"/>
            <a:ext cx="6797964" cy="3303588"/>
          </a:xfrm>
        </p:spPr>
        <p:txBody>
          <a:bodyPr vert="horz" lIns="0" tIns="0" rIns="0" bIns="0" rtlCol="0" anchor="t">
            <a:normAutofit/>
          </a:bodyPr>
          <a:lstStyle/>
          <a:p>
            <a:pPr marL="285750"/>
            <a:r>
              <a:rPr lang="da-DK" sz="1400" dirty="0">
                <a:solidFill>
                  <a:srgbClr val="FFFFFF"/>
                </a:solidFill>
              </a:rPr>
              <a:t>New </a:t>
            </a:r>
            <a:r>
              <a:rPr lang="da-DK" sz="1400" dirty="0" err="1">
                <a:solidFill>
                  <a:srgbClr val="FFFFFF"/>
                </a:solidFill>
              </a:rPr>
              <a:t>political</a:t>
            </a:r>
            <a:r>
              <a:rPr lang="da-DK" sz="1400" dirty="0">
                <a:solidFill>
                  <a:srgbClr val="FFFFFF"/>
                </a:solidFill>
              </a:rPr>
              <a:t> agreement on </a:t>
            </a:r>
            <a:r>
              <a:rPr lang="da-DK" sz="1400" dirty="0" err="1">
                <a:solidFill>
                  <a:srgbClr val="FFFFFF"/>
                </a:solidFill>
              </a:rPr>
              <a:t>ownership</a:t>
            </a:r>
            <a:r>
              <a:rPr lang="da-DK" sz="1400" dirty="0">
                <a:solidFill>
                  <a:srgbClr val="FFFFFF"/>
                </a:solidFill>
              </a:rPr>
              <a:t> and operation of hydrogen </a:t>
            </a:r>
            <a:r>
              <a:rPr lang="da-DK" sz="1400" dirty="0" err="1">
                <a:solidFill>
                  <a:srgbClr val="FFFFFF"/>
                </a:solidFill>
              </a:rPr>
              <a:t>infrastructure</a:t>
            </a:r>
            <a:r>
              <a:rPr lang="da-DK" sz="1400" dirty="0">
                <a:solidFill>
                  <a:srgbClr val="FFFFFF"/>
                </a:solidFill>
              </a:rPr>
              <a:t> gives Energinet and </a:t>
            </a:r>
            <a:r>
              <a:rPr lang="da-DK" sz="1400" dirty="0" err="1">
                <a:solidFill>
                  <a:srgbClr val="FFFFFF"/>
                </a:solidFill>
              </a:rPr>
              <a:t>Evida</a:t>
            </a:r>
            <a:r>
              <a:rPr lang="da-DK" sz="1400" dirty="0">
                <a:solidFill>
                  <a:srgbClr val="FFFFFF"/>
                </a:solidFill>
              </a:rPr>
              <a:t> a </a:t>
            </a:r>
            <a:r>
              <a:rPr lang="da-DK" sz="1400" dirty="0" err="1">
                <a:solidFill>
                  <a:srgbClr val="FFFFFF"/>
                </a:solidFill>
              </a:rPr>
              <a:t>key</a:t>
            </a:r>
            <a:r>
              <a:rPr lang="da-DK" sz="1400" dirty="0">
                <a:solidFill>
                  <a:srgbClr val="FFFFFF"/>
                </a:solidFill>
              </a:rPr>
              <a:t> </a:t>
            </a:r>
            <a:r>
              <a:rPr lang="da-DK" sz="1400" dirty="0" err="1">
                <a:solidFill>
                  <a:srgbClr val="FFFFFF"/>
                </a:solidFill>
              </a:rPr>
              <a:t>role</a:t>
            </a:r>
            <a:r>
              <a:rPr lang="da-DK" sz="1400" dirty="0">
                <a:solidFill>
                  <a:srgbClr val="FFFFFF"/>
                </a:solidFill>
              </a:rPr>
              <a:t> in the </a:t>
            </a:r>
            <a:r>
              <a:rPr lang="da-DK" sz="1400" dirty="0" err="1">
                <a:solidFill>
                  <a:srgbClr val="FFFFFF"/>
                </a:solidFill>
              </a:rPr>
              <a:t>development</a:t>
            </a:r>
            <a:r>
              <a:rPr lang="da-DK" sz="1400" dirty="0">
                <a:solidFill>
                  <a:srgbClr val="FFFFFF"/>
                </a:solidFill>
              </a:rPr>
              <a:t> of pipeline </a:t>
            </a:r>
            <a:r>
              <a:rPr lang="da-DK" sz="1400" dirty="0" err="1">
                <a:solidFill>
                  <a:srgbClr val="FFFFFF"/>
                </a:solidFill>
              </a:rPr>
              <a:t>infrastructure</a:t>
            </a:r>
            <a:r>
              <a:rPr lang="da-DK" sz="1400" dirty="0">
                <a:solidFill>
                  <a:srgbClr val="FFFFFF"/>
                </a:solidFill>
              </a:rPr>
              <a:t> </a:t>
            </a:r>
            <a:r>
              <a:rPr lang="da-DK" sz="1400" dirty="0" err="1">
                <a:solidFill>
                  <a:srgbClr val="FFFFFF"/>
                </a:solidFill>
              </a:rPr>
              <a:t>that</a:t>
            </a:r>
            <a:r>
              <a:rPr lang="da-DK" sz="1400" dirty="0">
                <a:solidFill>
                  <a:srgbClr val="FFFFFF"/>
                </a:solidFill>
              </a:rPr>
              <a:t> </a:t>
            </a:r>
            <a:r>
              <a:rPr lang="da-DK" sz="1400" dirty="0" err="1">
                <a:solidFill>
                  <a:srgbClr val="FFFFFF"/>
                </a:solidFill>
              </a:rPr>
              <a:t>can</a:t>
            </a:r>
            <a:r>
              <a:rPr lang="da-DK" sz="1400" dirty="0">
                <a:solidFill>
                  <a:srgbClr val="FFFFFF"/>
                </a:solidFill>
              </a:rPr>
              <a:t> support the hydrogen </a:t>
            </a:r>
            <a:r>
              <a:rPr lang="da-DK" sz="1400" dirty="0" err="1">
                <a:solidFill>
                  <a:srgbClr val="FFFFFF"/>
                </a:solidFill>
              </a:rPr>
              <a:t>economy</a:t>
            </a:r>
            <a:r>
              <a:rPr lang="da-DK" sz="1400" dirty="0">
                <a:solidFill>
                  <a:srgbClr val="FFFFFF"/>
                </a:solidFill>
              </a:rPr>
              <a:t> of the future.</a:t>
            </a:r>
            <a:endParaRPr lang="da-DK" dirty="0">
              <a:solidFill>
                <a:srgbClr val="000000"/>
              </a:solidFill>
            </a:endParaRPr>
          </a:p>
          <a:p>
            <a:r>
              <a:rPr lang="da-DK" sz="1600" dirty="0">
                <a:solidFill>
                  <a:srgbClr val="FFFFFF"/>
                </a:solidFill>
              </a:rPr>
              <a:t>The </a:t>
            </a:r>
            <a:r>
              <a:rPr lang="da-DK" sz="1600" dirty="0" err="1">
                <a:solidFill>
                  <a:srgbClr val="FFFFFF"/>
                </a:solidFill>
              </a:rPr>
              <a:t>role</a:t>
            </a:r>
            <a:r>
              <a:rPr lang="da-DK" sz="1600" dirty="0">
                <a:solidFill>
                  <a:srgbClr val="FFFFFF"/>
                </a:solidFill>
              </a:rPr>
              <a:t> of </a:t>
            </a:r>
            <a:r>
              <a:rPr lang="da-DK" sz="1600" b="1" dirty="0">
                <a:solidFill>
                  <a:srgbClr val="FFFFFF"/>
                </a:solidFill>
              </a:rPr>
              <a:t>Energinet </a:t>
            </a:r>
            <a:r>
              <a:rPr lang="da-DK" sz="1600" dirty="0">
                <a:solidFill>
                  <a:srgbClr val="FFFFFF"/>
                </a:solidFill>
              </a:rPr>
              <a:t>is:</a:t>
            </a:r>
            <a:endParaRPr lang="da-DK" sz="1600" dirty="0">
              <a:cs typeface="Calibri Light"/>
            </a:endParaRPr>
          </a:p>
          <a:p>
            <a:pPr marL="360045"/>
            <a:r>
              <a:rPr lang="da-DK" sz="1400" dirty="0">
                <a:solidFill>
                  <a:srgbClr val="FFFFFF"/>
                </a:solidFill>
                <a:latin typeface="Calibri Light"/>
                <a:cs typeface="Calibri Light"/>
              </a:rPr>
              <a:t>•</a:t>
            </a:r>
            <a:r>
              <a:rPr lang="da-DK" sz="1400" dirty="0">
                <a:solidFill>
                  <a:srgbClr val="FFFFFF"/>
                </a:solidFill>
              </a:rPr>
              <a:t>To </a:t>
            </a:r>
            <a:r>
              <a:rPr lang="da-DK" sz="1400" dirty="0" err="1">
                <a:solidFill>
                  <a:srgbClr val="FFFFFF"/>
                </a:solidFill>
              </a:rPr>
              <a:t>connect</a:t>
            </a:r>
            <a:r>
              <a:rPr lang="da-DK" sz="1400" dirty="0">
                <a:solidFill>
                  <a:srgbClr val="FFFFFF"/>
                </a:solidFill>
              </a:rPr>
              <a:t> cross-border </a:t>
            </a:r>
            <a:r>
              <a:rPr lang="da-DK" sz="1400" dirty="0" err="1">
                <a:solidFill>
                  <a:srgbClr val="FFFFFF"/>
                </a:solidFill>
              </a:rPr>
              <a:t>piped</a:t>
            </a:r>
            <a:r>
              <a:rPr lang="da-DK" sz="1400" dirty="0">
                <a:solidFill>
                  <a:srgbClr val="FFFFFF"/>
                </a:solidFill>
              </a:rPr>
              <a:t> hydrogen </a:t>
            </a:r>
            <a:r>
              <a:rPr lang="da-DK" sz="1400" dirty="0" err="1">
                <a:solidFill>
                  <a:srgbClr val="FFFFFF"/>
                </a:solidFill>
              </a:rPr>
              <a:t>infrastructure</a:t>
            </a:r>
            <a:r>
              <a:rPr lang="da-DK" sz="1400" dirty="0">
                <a:solidFill>
                  <a:srgbClr val="FFFFFF"/>
                </a:solidFill>
              </a:rPr>
              <a:t> to a Danish </a:t>
            </a:r>
            <a:r>
              <a:rPr lang="da-DK" sz="1400" dirty="0" err="1">
                <a:solidFill>
                  <a:srgbClr val="FFFFFF"/>
                </a:solidFill>
              </a:rPr>
              <a:t>receiving</a:t>
            </a:r>
            <a:r>
              <a:rPr lang="da-DK" sz="1400" dirty="0">
                <a:solidFill>
                  <a:srgbClr val="FFFFFF"/>
                </a:solidFill>
              </a:rPr>
              <a:t> point,</a:t>
            </a:r>
            <a:endParaRPr lang="da-DK" dirty="0"/>
          </a:p>
          <a:p>
            <a:pPr marL="360045"/>
            <a:r>
              <a:rPr lang="da-DK" sz="1400" dirty="0">
                <a:solidFill>
                  <a:srgbClr val="FFFFFF"/>
                </a:solidFill>
                <a:latin typeface="Calibri Light"/>
                <a:cs typeface="Calibri Light"/>
              </a:rPr>
              <a:t>•</a:t>
            </a:r>
            <a:r>
              <a:rPr lang="da-DK" sz="1400" dirty="0">
                <a:solidFill>
                  <a:srgbClr val="FFFFFF"/>
                </a:solidFill>
              </a:rPr>
              <a:t>To </a:t>
            </a:r>
            <a:r>
              <a:rPr lang="da-DK" sz="1400" dirty="0" err="1">
                <a:solidFill>
                  <a:srgbClr val="FFFFFF"/>
                </a:solidFill>
              </a:rPr>
              <a:t>connect</a:t>
            </a:r>
            <a:r>
              <a:rPr lang="da-DK" sz="1400" dirty="0">
                <a:solidFill>
                  <a:srgbClr val="FFFFFF"/>
                </a:solidFill>
              </a:rPr>
              <a:t> offshore pipeline hydrogen </a:t>
            </a:r>
            <a:r>
              <a:rPr lang="da-DK" sz="1400" dirty="0" err="1">
                <a:solidFill>
                  <a:srgbClr val="FFFFFF"/>
                </a:solidFill>
              </a:rPr>
              <a:t>infrastructure</a:t>
            </a:r>
            <a:r>
              <a:rPr lang="da-DK" sz="1400" dirty="0">
                <a:solidFill>
                  <a:srgbClr val="FFFFFF"/>
                </a:solidFill>
              </a:rPr>
              <a:t> and cross-border hydrogen pipelines </a:t>
            </a:r>
            <a:r>
              <a:rPr lang="da-DK" sz="1400" dirty="0" err="1">
                <a:solidFill>
                  <a:srgbClr val="FFFFFF"/>
                </a:solidFill>
              </a:rPr>
              <a:t>across</a:t>
            </a:r>
            <a:r>
              <a:rPr lang="da-DK" sz="1400" dirty="0">
                <a:solidFill>
                  <a:srgbClr val="FFFFFF"/>
                </a:solidFill>
              </a:rPr>
              <a:t> the country to a hydrogen </a:t>
            </a:r>
            <a:r>
              <a:rPr lang="da-DK" sz="1400" dirty="0" err="1">
                <a:solidFill>
                  <a:srgbClr val="FFFFFF"/>
                </a:solidFill>
              </a:rPr>
              <a:t>storage</a:t>
            </a:r>
            <a:r>
              <a:rPr lang="da-DK" sz="1400" dirty="0">
                <a:solidFill>
                  <a:srgbClr val="FFFFFF"/>
                </a:solidFill>
              </a:rPr>
              <a:t>, a so-</a:t>
            </a:r>
            <a:r>
              <a:rPr lang="da-DK" sz="1400" dirty="0" err="1">
                <a:solidFill>
                  <a:srgbClr val="FFFFFF"/>
                </a:solidFill>
              </a:rPr>
              <a:t>called</a:t>
            </a:r>
            <a:r>
              <a:rPr lang="da-DK" sz="1400" dirty="0">
                <a:solidFill>
                  <a:srgbClr val="FFFFFF"/>
                </a:solidFill>
              </a:rPr>
              <a:t> backbone,</a:t>
            </a:r>
            <a:endParaRPr lang="da-DK" dirty="0"/>
          </a:p>
          <a:p>
            <a:pPr marL="360045"/>
            <a:r>
              <a:rPr lang="da-DK" sz="1400" dirty="0">
                <a:solidFill>
                  <a:srgbClr val="FFFFFF"/>
                </a:solidFill>
                <a:latin typeface="Calibri Light"/>
                <a:cs typeface="Calibri Light"/>
              </a:rPr>
              <a:t>•</a:t>
            </a:r>
            <a:r>
              <a:rPr lang="da-DK" sz="1400" dirty="0">
                <a:solidFill>
                  <a:srgbClr val="FFFFFF"/>
                </a:solidFill>
              </a:rPr>
              <a:t>To </a:t>
            </a:r>
            <a:r>
              <a:rPr lang="da-DK" sz="1400" dirty="0" err="1">
                <a:solidFill>
                  <a:srgbClr val="FFFFFF"/>
                </a:solidFill>
              </a:rPr>
              <a:t>carry</a:t>
            </a:r>
            <a:r>
              <a:rPr lang="da-DK" sz="1400" dirty="0">
                <a:solidFill>
                  <a:srgbClr val="FFFFFF"/>
                </a:solidFill>
              </a:rPr>
              <a:t> out the task as </a:t>
            </a:r>
            <a:r>
              <a:rPr lang="da-DK" sz="1400" dirty="0" err="1">
                <a:solidFill>
                  <a:srgbClr val="FFFFFF"/>
                </a:solidFill>
              </a:rPr>
              <a:t>responsible</a:t>
            </a:r>
            <a:r>
              <a:rPr lang="da-DK" sz="1400" dirty="0">
                <a:solidFill>
                  <a:srgbClr val="FFFFFF"/>
                </a:solidFill>
              </a:rPr>
              <a:t> system operator.</a:t>
            </a:r>
            <a:endParaRPr lang="da-DK" dirty="0"/>
          </a:p>
          <a:p>
            <a:pPr>
              <a:buNone/>
            </a:pPr>
            <a:r>
              <a:rPr lang="da-DK" sz="1600" dirty="0">
                <a:solidFill>
                  <a:srgbClr val="FFFFFF"/>
                </a:solidFill>
              </a:rPr>
              <a:t>The </a:t>
            </a:r>
            <a:r>
              <a:rPr lang="da-DK" sz="1600" dirty="0" err="1">
                <a:solidFill>
                  <a:srgbClr val="FFFFFF"/>
                </a:solidFill>
              </a:rPr>
              <a:t>role</a:t>
            </a:r>
            <a:r>
              <a:rPr lang="da-DK" sz="1600" dirty="0">
                <a:solidFill>
                  <a:srgbClr val="FFFFFF"/>
                </a:solidFill>
              </a:rPr>
              <a:t> of </a:t>
            </a:r>
            <a:r>
              <a:rPr lang="da-DK" sz="1600" b="1" dirty="0" err="1">
                <a:solidFill>
                  <a:srgbClr val="FFFFFF"/>
                </a:solidFill>
              </a:rPr>
              <a:t>Evida</a:t>
            </a:r>
            <a:r>
              <a:rPr lang="da-DK" sz="1600" b="1" dirty="0">
                <a:solidFill>
                  <a:srgbClr val="FFFFFF"/>
                </a:solidFill>
              </a:rPr>
              <a:t> </a:t>
            </a:r>
            <a:r>
              <a:rPr lang="da-DK" sz="1600" dirty="0">
                <a:solidFill>
                  <a:srgbClr val="FFFFFF"/>
                </a:solidFill>
              </a:rPr>
              <a:t>is</a:t>
            </a:r>
            <a:endParaRPr lang="da-DK" sz="1600" dirty="0">
              <a:cs typeface="Calibri Light"/>
            </a:endParaRPr>
          </a:p>
          <a:p>
            <a:pPr marL="360045"/>
            <a:r>
              <a:rPr lang="da-DK" sz="1400" dirty="0">
                <a:solidFill>
                  <a:srgbClr val="FFFFFF"/>
                </a:solidFill>
                <a:latin typeface="Calibri Light"/>
                <a:cs typeface="Calibri Light"/>
              </a:rPr>
              <a:t>•</a:t>
            </a:r>
            <a:r>
              <a:rPr lang="da-DK" sz="1400" dirty="0">
                <a:solidFill>
                  <a:srgbClr val="FFFFFF"/>
                </a:solidFill>
              </a:rPr>
              <a:t>To </a:t>
            </a:r>
            <a:r>
              <a:rPr lang="da-DK" sz="1400" dirty="0" err="1">
                <a:solidFill>
                  <a:srgbClr val="FFFFFF"/>
                </a:solidFill>
              </a:rPr>
              <a:t>connect</a:t>
            </a:r>
            <a:r>
              <a:rPr lang="da-DK" sz="1400" dirty="0">
                <a:solidFill>
                  <a:srgbClr val="FFFFFF"/>
                </a:solidFill>
              </a:rPr>
              <a:t> </a:t>
            </a:r>
            <a:r>
              <a:rPr lang="da-DK" sz="1400" dirty="0" err="1">
                <a:solidFill>
                  <a:srgbClr val="FFFFFF"/>
                </a:solidFill>
              </a:rPr>
              <a:t>domestic</a:t>
            </a:r>
            <a:r>
              <a:rPr lang="da-DK" sz="1400" dirty="0">
                <a:solidFill>
                  <a:srgbClr val="FFFFFF"/>
                </a:solidFill>
              </a:rPr>
              <a:t> hydrogen producers and </a:t>
            </a:r>
            <a:r>
              <a:rPr lang="da-DK" sz="1400" dirty="0" err="1">
                <a:solidFill>
                  <a:srgbClr val="FFFFFF"/>
                </a:solidFill>
              </a:rPr>
              <a:t>consumers</a:t>
            </a:r>
            <a:r>
              <a:rPr lang="da-DK" sz="1400" dirty="0">
                <a:solidFill>
                  <a:srgbClr val="FFFFFF"/>
                </a:solidFill>
              </a:rPr>
              <a:t>,</a:t>
            </a:r>
            <a:endParaRPr lang="da-DK" dirty="0"/>
          </a:p>
          <a:p>
            <a:pPr marL="360045"/>
            <a:r>
              <a:rPr lang="da-DK" sz="1400" dirty="0">
                <a:solidFill>
                  <a:srgbClr val="FFFFFF"/>
                </a:solidFill>
                <a:latin typeface="Calibri Light"/>
                <a:cs typeface="Calibri Light"/>
              </a:rPr>
              <a:t>•</a:t>
            </a:r>
            <a:r>
              <a:rPr lang="da-DK" sz="1400" dirty="0">
                <a:solidFill>
                  <a:srgbClr val="FFFFFF"/>
                </a:solidFill>
              </a:rPr>
              <a:t>To </a:t>
            </a:r>
            <a:r>
              <a:rPr lang="da-DK" sz="1400" dirty="0" err="1">
                <a:solidFill>
                  <a:srgbClr val="FFFFFF"/>
                </a:solidFill>
              </a:rPr>
              <a:t>connect</a:t>
            </a:r>
            <a:r>
              <a:rPr lang="da-DK" sz="1400" dirty="0">
                <a:solidFill>
                  <a:srgbClr val="FFFFFF"/>
                </a:solidFill>
              </a:rPr>
              <a:t> the </a:t>
            </a:r>
            <a:r>
              <a:rPr lang="da-DK" sz="1400" dirty="0" err="1">
                <a:solidFill>
                  <a:srgbClr val="FFFFFF"/>
                </a:solidFill>
              </a:rPr>
              <a:t>above</a:t>
            </a:r>
            <a:r>
              <a:rPr lang="da-DK" sz="1400" dirty="0">
                <a:solidFill>
                  <a:srgbClr val="FFFFFF"/>
                </a:solidFill>
              </a:rPr>
              <a:t> to an </a:t>
            </a:r>
            <a:r>
              <a:rPr lang="da-DK" sz="1400" dirty="0" err="1">
                <a:solidFill>
                  <a:srgbClr val="FFFFFF"/>
                </a:solidFill>
              </a:rPr>
              <a:t>interconnected</a:t>
            </a:r>
            <a:r>
              <a:rPr lang="da-DK" sz="1400" dirty="0">
                <a:solidFill>
                  <a:srgbClr val="FFFFFF"/>
                </a:solidFill>
              </a:rPr>
              <a:t> hydrogen system.</a:t>
            </a:r>
            <a:endParaRPr lang="da-DK" dirty="0"/>
          </a:p>
          <a:p>
            <a:pPr marL="360045"/>
            <a:endParaRPr lang="da-DK" sz="1400" dirty="0">
              <a:solidFill>
                <a:schemeClr val="bg1"/>
              </a:solidFill>
              <a:cs typeface="Calibri Light"/>
            </a:endParaRPr>
          </a:p>
        </p:txBody>
      </p:sp>
      <p:pic>
        <p:nvPicPr>
          <p:cNvPr id="17" name="Picture 2" descr="Juel + Kroyer - Evida Service Contract">
            <a:extLst>
              <a:ext uri="{FF2B5EF4-FFF2-40B4-BE49-F238E27FC236}">
                <a16:creationId xmlns:a16="http://schemas.microsoft.com/office/drawing/2014/main" id="{FDC32765-B195-EBDE-E32F-988BCB0CEE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442" r="97044">
                        <a14:foregroundMark x1="10743" y1="59667" x2="1514" y2="58000"/>
                        <a14:foregroundMark x1="42538" y1="53000" x2="42538" y2="53000"/>
                        <a14:foregroundMark x1="43259" y1="53000" x2="43259" y2="49833"/>
                        <a14:foregroundMark x1="34102" y1="51500" x2="34102" y2="48167"/>
                        <a14:foregroundMark x1="56236" y1="43667" x2="55083" y2="51833"/>
                        <a14:foregroundMark x1="63879" y1="45333" x2="63446" y2="57167"/>
                        <a14:foregroundMark x1="79668" y1="42667" x2="79885" y2="48000"/>
                        <a14:foregroundMark x1="97044" y1="44833" x2="96323" y2="54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1385" y="-1749"/>
            <a:ext cx="1196346" cy="517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Energinet, logo | Energinet">
            <a:extLst>
              <a:ext uri="{FF2B5EF4-FFF2-40B4-BE49-F238E27FC236}">
                <a16:creationId xmlns:a16="http://schemas.microsoft.com/office/drawing/2014/main" id="{102DB6DA-CD97-D4F3-2C39-F1E1B2E164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41803" b="63115" l="9571" r="90000">
                        <a14:foregroundMark x1="9857" y1="46721" x2="9571" y2="51366"/>
                        <a14:foregroundMark x1="13286" y1="48634" x2="13286" y2="50000"/>
                        <a14:foregroundMark x1="30571" y1="46448" x2="30714" y2="51639"/>
                        <a14:foregroundMark x1="39571" y1="48087" x2="39571" y2="53552"/>
                        <a14:foregroundMark x1="49143" y1="50546" x2="49000" y2="53825"/>
                        <a14:foregroundMark x1="59429" y1="50546" x2="59429" y2="52732"/>
                        <a14:foregroundMark x1="64143" y1="46721" x2="64143" y2="48907"/>
                        <a14:foregroundMark x1="64286" y1="44262" x2="64714" y2="49454"/>
                        <a14:foregroundMark x1="64571" y1="42623" x2="64571" y2="43716"/>
                        <a14:foregroundMark x1="65857" y1="43989" x2="66714" y2="47541"/>
                        <a14:foregroundMark x1="67286" y1="51093" x2="68857" y2="54372"/>
                        <a14:foregroundMark x1="71571" y1="46448" x2="71857" y2="52459"/>
                        <a14:foregroundMark x1="76429" y1="44536" x2="76714" y2="50000"/>
                        <a14:foregroundMark x1="87571" y1="44536" x2="87143" y2="54098"/>
                        <a14:foregroundMark x1="76714" y1="42623" x2="79024" y2="43278"/>
                        <a14:foregroundMark x1="79714" y1="48907" x2="80143" y2="50546"/>
                        <a14:foregroundMark x1="34429" y1="48634" x2="34286" y2="49454"/>
                        <a14:foregroundMark x1="18429" y1="41803" x2="19714" y2="42077"/>
                        <a14:foregroundMark x1="25429" y1="41530" x2="26286" y2="42623"/>
                        <a14:backgroundMark x1="80857" y1="45628" x2="80000" y2="45902"/>
                        <a14:backgroundMark x1="81714" y1="45082" x2="80286" y2="4508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209" t="38571" r="373" b="35000"/>
          <a:stretch/>
        </p:blipFill>
        <p:spPr bwMode="auto">
          <a:xfrm>
            <a:off x="7651385" y="515733"/>
            <a:ext cx="2072402" cy="31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867479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1"/>
          </p:nvPr>
        </p:nvSpPr>
        <p:spPr>
          <a:xfrm>
            <a:off x="389377" y="5826642"/>
            <a:ext cx="4777710" cy="373914"/>
          </a:xfrm>
        </p:spPr>
        <p:txBody>
          <a:bodyPr/>
          <a:lstStyle/>
          <a:p>
            <a:r>
              <a:rPr lang="da-DK" dirty="0"/>
              <a:t>Contact: jda@energinet.dk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16596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BE0AB1AB-F000-41C9-B25C-8829AC2584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42964" y="3780149"/>
            <a:ext cx="7106073" cy="1470041"/>
          </a:xfrm>
        </p:spPr>
        <p:txBody>
          <a:bodyPr/>
          <a:lstStyle/>
          <a:p>
            <a:r>
              <a:rPr lang="en-US" dirty="0"/>
              <a:t>Data and Balancing 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CBA7BB5-7CCE-43FF-8F1D-1F8ADBF7C97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a-DK" dirty="0"/>
              <a:t>Christian Rutherford, Energinet</a:t>
            </a:r>
            <a:endParaRPr lang="en-US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809A71B0-24E4-0FF5-3A51-FB3A75ABB3C6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5400" y="1814188"/>
            <a:ext cx="1861200" cy="186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25297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4CC162-FAC5-1A49-0A38-3B44DDCD3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4780" y="573076"/>
            <a:ext cx="10214464" cy="712414"/>
          </a:xfrm>
        </p:spPr>
        <p:txBody>
          <a:bodyPr/>
          <a:lstStyle/>
          <a:p>
            <a:r>
              <a:rPr lang="en-US" sz="3200" dirty="0"/>
              <a:t>Status on the new balancing model</a:t>
            </a:r>
            <a:endParaRPr lang="da-DK" sz="3200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FA071B0-85CF-AAB8-51F0-404E7A0530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2664" y="2474851"/>
            <a:ext cx="10226674" cy="3303587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1E5F368-05D5-4788-6EE6-74680125FD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96CE2C7-422E-0B1D-6F45-7AA9DA905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mtClean="0"/>
              <a:pPr/>
              <a:t>62</a:t>
            </a:fld>
            <a:endParaRPr lang="da-DK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80D14586-C700-C1C4-4A17-9C24CD06E47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74780" y="1308597"/>
            <a:ext cx="10214464" cy="720725"/>
          </a:xfrm>
        </p:spPr>
        <p:txBody>
          <a:bodyPr/>
          <a:lstStyle/>
          <a:p>
            <a:r>
              <a:rPr lang="en-US" sz="1800" dirty="0"/>
              <a:t>The balancing model has gradually improved since Q4 2022, and the model now works as intended.</a:t>
            </a:r>
            <a:endParaRPr lang="da-DK" dirty="0"/>
          </a:p>
        </p:txBody>
      </p:sp>
      <p:sp>
        <p:nvSpPr>
          <p:cNvPr id="8" name="Rektangel: afrundede hjørner 7">
            <a:extLst>
              <a:ext uri="{FF2B5EF4-FFF2-40B4-BE49-F238E27FC236}">
                <a16:creationId xmlns:a16="http://schemas.microsoft.com/office/drawing/2014/main" id="{887E3FAF-134A-0383-E31D-FD67FD2A51FD}"/>
              </a:ext>
            </a:extLst>
          </p:cNvPr>
          <p:cNvSpPr/>
          <p:nvPr/>
        </p:nvSpPr>
        <p:spPr>
          <a:xfrm>
            <a:off x="682923" y="2218033"/>
            <a:ext cx="10836000" cy="392989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1600" noProof="0" dirty="0">
              <a:solidFill>
                <a:schemeClr val="tx1"/>
              </a:solidFill>
            </a:endParaRPr>
          </a:p>
        </p:txBody>
      </p:sp>
      <p:cxnSp>
        <p:nvCxnSpPr>
          <p:cNvPr id="10" name="Lige forbindelse 9">
            <a:extLst>
              <a:ext uri="{FF2B5EF4-FFF2-40B4-BE49-F238E27FC236}">
                <a16:creationId xmlns:a16="http://schemas.microsoft.com/office/drawing/2014/main" id="{BA87FF83-6F9E-5552-AACD-4512512C63FB}"/>
              </a:ext>
            </a:extLst>
          </p:cNvPr>
          <p:cNvCxnSpPr>
            <a:cxnSpLocks/>
          </p:cNvCxnSpPr>
          <p:nvPr/>
        </p:nvCxnSpPr>
        <p:spPr>
          <a:xfrm>
            <a:off x="682923" y="2039236"/>
            <a:ext cx="10836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" name="Tekstfelt 10">
            <a:extLst>
              <a:ext uri="{FF2B5EF4-FFF2-40B4-BE49-F238E27FC236}">
                <a16:creationId xmlns:a16="http://schemas.microsoft.com/office/drawing/2014/main" id="{B0F37170-944D-2D01-B01D-2D67D2EBC7CF}"/>
              </a:ext>
            </a:extLst>
          </p:cNvPr>
          <p:cNvSpPr txBox="1"/>
          <p:nvPr/>
        </p:nvSpPr>
        <p:spPr>
          <a:xfrm>
            <a:off x="1250738" y="2363848"/>
            <a:ext cx="270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/>
              <a:t>Robustness of the model</a:t>
            </a:r>
          </a:p>
        </p:txBody>
      </p:sp>
      <p:cxnSp>
        <p:nvCxnSpPr>
          <p:cNvPr id="12" name="Lige forbindelse 11">
            <a:extLst>
              <a:ext uri="{FF2B5EF4-FFF2-40B4-BE49-F238E27FC236}">
                <a16:creationId xmlns:a16="http://schemas.microsoft.com/office/drawing/2014/main" id="{CE2A7273-123C-8837-3612-419CF30F1606}"/>
              </a:ext>
            </a:extLst>
          </p:cNvPr>
          <p:cNvCxnSpPr>
            <a:cxnSpLocks/>
          </p:cNvCxnSpPr>
          <p:nvPr/>
        </p:nvCxnSpPr>
        <p:spPr>
          <a:xfrm>
            <a:off x="1250738" y="2673851"/>
            <a:ext cx="270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kstfelt 12">
            <a:extLst>
              <a:ext uri="{FF2B5EF4-FFF2-40B4-BE49-F238E27FC236}">
                <a16:creationId xmlns:a16="http://schemas.microsoft.com/office/drawing/2014/main" id="{148355C9-C212-BDC4-54D7-433A7EF24948}"/>
              </a:ext>
            </a:extLst>
          </p:cNvPr>
          <p:cNvSpPr txBox="1"/>
          <p:nvPr/>
        </p:nvSpPr>
        <p:spPr>
          <a:xfrm>
            <a:off x="1250738" y="2762388"/>
            <a:ext cx="2700000" cy="3240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n-US" altLang="da-DK" sz="1600" b="0" i="0" u="none" strike="noStrike" cap="none" normalizeH="0" baseline="0" dirty="0">
                <a:ln>
                  <a:noFill/>
                </a:ln>
                <a:effectLst/>
              </a:rPr>
              <a:t>The technical</a:t>
            </a:r>
            <a:r>
              <a:rPr lang="en-US" altLang="da-DK" sz="1600" dirty="0"/>
              <a:t> functions work as intended</a:t>
            </a:r>
          </a:p>
          <a:p>
            <a:endParaRPr lang="en-US" altLang="da-DK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When data errors occur, they are detected and corrected fas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 quality of data has been improved and data is incrementally getting bet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a-DK" altLang="da-DK" sz="1600" dirty="0">
              <a:latin typeface="inherit"/>
            </a:endParaRPr>
          </a:p>
          <a:p>
            <a:endParaRPr lang="da-DK" sz="160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2F257C09-3A5E-B684-6E00-E24121E39465}"/>
              </a:ext>
            </a:extLst>
          </p:cNvPr>
          <p:cNvSpPr txBox="1"/>
          <p:nvPr/>
        </p:nvSpPr>
        <p:spPr>
          <a:xfrm>
            <a:off x="4608793" y="2363848"/>
            <a:ext cx="270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/>
              <a:t>Balancing model evaluation</a:t>
            </a: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E6292380-0017-BAE4-7490-2B57C5DABD20}"/>
              </a:ext>
            </a:extLst>
          </p:cNvPr>
          <p:cNvCxnSpPr>
            <a:cxnSpLocks/>
          </p:cNvCxnSpPr>
          <p:nvPr/>
        </p:nvCxnSpPr>
        <p:spPr>
          <a:xfrm>
            <a:off x="4608793" y="2673851"/>
            <a:ext cx="270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kstfelt 15">
            <a:extLst>
              <a:ext uri="{FF2B5EF4-FFF2-40B4-BE49-F238E27FC236}">
                <a16:creationId xmlns:a16="http://schemas.microsoft.com/office/drawing/2014/main" id="{05260EC4-5CAA-6641-50CD-7EB6FFF86F94}"/>
              </a:ext>
            </a:extLst>
          </p:cNvPr>
          <p:cNvSpPr txBox="1"/>
          <p:nvPr/>
        </p:nvSpPr>
        <p:spPr>
          <a:xfrm>
            <a:off x="4608793" y="2762388"/>
            <a:ext cx="2700000" cy="3240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escheduled to </a:t>
            </a:r>
            <a:br>
              <a:rPr lang="en-US" sz="1600" dirty="0"/>
            </a:br>
            <a:r>
              <a:rPr lang="en-US" sz="1600" dirty="0"/>
              <a:t>1 </a:t>
            </a:r>
            <a:r>
              <a:rPr lang="en-US" sz="1600"/>
              <a:t>September 2023</a:t>
            </a:r>
            <a:r>
              <a:rPr lang="en-US" sz="1600" dirty="0"/>
              <a:t>, in agreement with Danish Utility Regula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pproximately 5 weeks consultation starting beginning of July 2023</a:t>
            </a:r>
            <a:endParaRPr lang="da-DK" sz="1600" dirty="0"/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40FF34AD-35C0-B729-8AC5-192AF27647FA}"/>
              </a:ext>
            </a:extLst>
          </p:cNvPr>
          <p:cNvSpPr txBox="1"/>
          <p:nvPr/>
        </p:nvSpPr>
        <p:spPr>
          <a:xfrm>
            <a:off x="7819397" y="2363848"/>
            <a:ext cx="318892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/>
              <a:t>Weekly stand-up meetings</a:t>
            </a:r>
          </a:p>
        </p:txBody>
      </p:sp>
      <p:cxnSp>
        <p:nvCxnSpPr>
          <p:cNvPr id="18" name="Lige forbindelse 17">
            <a:extLst>
              <a:ext uri="{FF2B5EF4-FFF2-40B4-BE49-F238E27FC236}">
                <a16:creationId xmlns:a16="http://schemas.microsoft.com/office/drawing/2014/main" id="{C84064C5-B345-E065-C45D-0472D53C5877}"/>
              </a:ext>
            </a:extLst>
          </p:cNvPr>
          <p:cNvCxnSpPr>
            <a:cxnSpLocks/>
          </p:cNvCxnSpPr>
          <p:nvPr/>
        </p:nvCxnSpPr>
        <p:spPr>
          <a:xfrm>
            <a:off x="8059932" y="2690203"/>
            <a:ext cx="270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kstfelt 18">
            <a:extLst>
              <a:ext uri="{FF2B5EF4-FFF2-40B4-BE49-F238E27FC236}">
                <a16:creationId xmlns:a16="http://schemas.microsoft.com/office/drawing/2014/main" id="{057F6162-6794-8B9A-4A5C-26A1B11ADA06}"/>
              </a:ext>
            </a:extLst>
          </p:cNvPr>
          <p:cNvSpPr txBox="1"/>
          <p:nvPr/>
        </p:nvSpPr>
        <p:spPr>
          <a:xfrm>
            <a:off x="8059932" y="2762388"/>
            <a:ext cx="2700000" cy="3240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0" lang="en-US" altLang="da-DK" sz="1600" b="0" i="0" u="none" strike="noStrike" cap="none" normalizeH="0" baseline="0" dirty="0">
                <a:ln>
                  <a:noFill/>
                </a:ln>
                <a:effectLst/>
              </a:rPr>
              <a:t>The weekly stand-up meetings </a:t>
            </a:r>
            <a:r>
              <a:rPr lang="en-US" altLang="da-DK" sz="1600" dirty="0"/>
              <a:t>have been discontinued since 30 Ma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da-DK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da-DK" sz="1600" dirty="0"/>
              <a:t>Market meeting on balancing status will be held ultimo June 202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0" lang="en-US" altLang="da-DK" sz="1600" b="0" i="0" u="none" strike="noStrike" cap="none" normalizeH="0" baseline="0" dirty="0">
              <a:ln>
                <a:noFill/>
              </a:ln>
              <a:effectLst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0" lang="en-US" altLang="da-DK" sz="1600" b="0" i="0" u="none" strike="noStrike" cap="none" normalizeH="0" baseline="0" dirty="0">
              <a:ln>
                <a:noFill/>
              </a:ln>
              <a:effectLst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da-DK" sz="1600" dirty="0"/>
          </a:p>
          <a:p>
            <a:endParaRPr kumimoji="0" lang="en-US" altLang="da-DK" sz="1600" b="0" i="0" u="none" strike="noStrike" cap="none" normalizeH="0" baseline="0" dirty="0">
              <a:ln>
                <a:noFill/>
              </a:ln>
              <a:effectLst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da-DK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0" lang="en-US" altLang="da-DK" sz="1600" b="0" i="0" u="none" strike="noStrike" cap="none" normalizeH="0" baseline="0" dirty="0">
              <a:ln>
                <a:noFill/>
              </a:ln>
              <a:effectLst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0" lang="en-US" altLang="da-DK" sz="1600" b="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20" name="Pladsholder til tekst 10">
            <a:extLst>
              <a:ext uri="{FF2B5EF4-FFF2-40B4-BE49-F238E27FC236}">
                <a16:creationId xmlns:a16="http://schemas.microsoft.com/office/drawing/2014/main" id="{1AD14DB2-9E52-039F-FA5D-6BF0BBB89DB0}"/>
              </a:ext>
            </a:extLst>
          </p:cNvPr>
          <p:cNvSpPr txBox="1">
            <a:spLocks/>
          </p:cNvSpPr>
          <p:nvPr/>
        </p:nvSpPr>
        <p:spPr>
          <a:xfrm>
            <a:off x="682923" y="1708691"/>
            <a:ext cx="10836000" cy="2916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b="1" dirty="0">
                <a:latin typeface="Calibri Light"/>
              </a:rPr>
              <a:t>Balancing model as of 8</a:t>
            </a:r>
            <a:r>
              <a:rPr lang="en-US" sz="1800" b="1" baseline="30000" dirty="0">
                <a:latin typeface="Calibri Light"/>
              </a:rPr>
              <a:t>th</a:t>
            </a:r>
            <a:r>
              <a:rPr lang="en-US" sz="1800" b="1" dirty="0">
                <a:latin typeface="Calibri Light"/>
              </a:rPr>
              <a:t> of June</a:t>
            </a:r>
            <a:endParaRPr kumimoji="0" lang="en-US" sz="1800" b="1" i="0" u="none" strike="noStrike" kern="1200" cap="none" spc="0" normalizeH="0" baseline="0" dirty="0">
              <a:ln>
                <a:noFill/>
              </a:ln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" name="Pladsholder til dato 3">
            <a:extLst>
              <a:ext uri="{FF2B5EF4-FFF2-40B4-BE49-F238E27FC236}">
                <a16:creationId xmlns:a16="http://schemas.microsoft.com/office/drawing/2014/main" id="{B91B4BE0-F18F-066E-DD7F-812F48837E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0518687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ktangel: afrundede hjørner 7">
            <a:extLst>
              <a:ext uri="{FF2B5EF4-FFF2-40B4-BE49-F238E27FC236}">
                <a16:creationId xmlns:a16="http://schemas.microsoft.com/office/drawing/2014/main" id="{C8E0CA48-9092-D1D0-1645-2AAC69E89407}"/>
              </a:ext>
            </a:extLst>
          </p:cNvPr>
          <p:cNvSpPr/>
          <p:nvPr/>
        </p:nvSpPr>
        <p:spPr>
          <a:xfrm>
            <a:off x="682923" y="2218033"/>
            <a:ext cx="10836000" cy="392989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E4C3D930-F8AA-3F51-0FB2-E26CC8B3C2F4}"/>
              </a:ext>
            </a:extLst>
          </p:cNvPr>
          <p:cNvSpPr/>
          <p:nvPr/>
        </p:nvSpPr>
        <p:spPr>
          <a:xfrm>
            <a:off x="4318595" y="3861441"/>
            <a:ext cx="720000" cy="72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en-US" sz="2000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4CC162-FAC5-1A49-0A38-3B44DDCD3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4780" y="573076"/>
            <a:ext cx="10214464" cy="712414"/>
          </a:xfrm>
        </p:spPr>
        <p:txBody>
          <a:bodyPr/>
          <a:lstStyle/>
          <a:p>
            <a:r>
              <a:rPr lang="en-US" sz="3200" dirty="0"/>
              <a:t>Update on Balance Invoicing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1E5F368-05D5-4788-6EE6-74680125FD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96CE2C7-422E-0B1D-6F45-7AA9DA905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mtClean="0"/>
              <a:pPr/>
              <a:t>63</a:t>
            </a:fld>
            <a:endParaRPr lang="da-DK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80D14586-C700-C1C4-4A17-9C24CD06E47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74780" y="1308597"/>
            <a:ext cx="10214464" cy="720725"/>
          </a:xfrm>
        </p:spPr>
        <p:txBody>
          <a:bodyPr/>
          <a:lstStyle/>
          <a:p>
            <a:r>
              <a:rPr lang="en-US" sz="1800" dirty="0"/>
              <a:t>The invoice module is currently being tested. We expect to start the invoice process for Q4 2022 in June 2023 </a:t>
            </a:r>
          </a:p>
          <a:p>
            <a:endParaRPr lang="da-DK" dirty="0"/>
          </a:p>
        </p:txBody>
      </p:sp>
      <p:cxnSp>
        <p:nvCxnSpPr>
          <p:cNvPr id="10" name="Lige forbindelse 9">
            <a:extLst>
              <a:ext uri="{FF2B5EF4-FFF2-40B4-BE49-F238E27FC236}">
                <a16:creationId xmlns:a16="http://schemas.microsoft.com/office/drawing/2014/main" id="{BA87FF83-6F9E-5552-AACD-4512512C63FB}"/>
              </a:ext>
            </a:extLst>
          </p:cNvPr>
          <p:cNvCxnSpPr>
            <a:cxnSpLocks/>
          </p:cNvCxnSpPr>
          <p:nvPr/>
        </p:nvCxnSpPr>
        <p:spPr>
          <a:xfrm>
            <a:off x="678000" y="3331892"/>
            <a:ext cx="10836000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1" name="Pladsholder til dato 3">
            <a:extLst>
              <a:ext uri="{FF2B5EF4-FFF2-40B4-BE49-F238E27FC236}">
                <a16:creationId xmlns:a16="http://schemas.microsoft.com/office/drawing/2014/main" id="{BD0C336F-157B-350A-2DAC-FB45710DED4F}"/>
              </a:ext>
            </a:extLst>
          </p:cNvPr>
          <p:cNvSpPr txBox="1">
            <a:spLocks/>
          </p:cNvSpPr>
          <p:nvPr/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8th of June 2023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20CBDF03-9288-784F-AC5D-06CA16F67396}"/>
              </a:ext>
            </a:extLst>
          </p:cNvPr>
          <p:cNvSpPr/>
          <p:nvPr/>
        </p:nvSpPr>
        <p:spPr>
          <a:xfrm>
            <a:off x="1835850" y="3205916"/>
            <a:ext cx="252000" cy="252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1200" b="1" noProof="0" dirty="0"/>
              <a:t>1</a:t>
            </a:r>
          </a:p>
        </p:txBody>
      </p:sp>
      <p:sp>
        <p:nvSpPr>
          <p:cNvPr id="31" name="Flowchart: Process 30">
            <a:extLst>
              <a:ext uri="{FF2B5EF4-FFF2-40B4-BE49-F238E27FC236}">
                <a16:creationId xmlns:a16="http://schemas.microsoft.com/office/drawing/2014/main" id="{CDE0EF05-E768-0D3C-B930-C1730384E3BC}"/>
              </a:ext>
            </a:extLst>
          </p:cNvPr>
          <p:cNvSpPr/>
          <p:nvPr/>
        </p:nvSpPr>
        <p:spPr>
          <a:xfrm>
            <a:off x="881850" y="4806740"/>
            <a:ext cx="2160000" cy="869446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1400" noProof="0" dirty="0">
                <a:solidFill>
                  <a:schemeClr val="tx1"/>
                </a:solidFill>
              </a:rPr>
              <a:t>Invoice module undergoing last stage of tests</a:t>
            </a:r>
          </a:p>
        </p:txBody>
      </p:sp>
      <p:sp>
        <p:nvSpPr>
          <p:cNvPr id="35" name="Flowchart: Process 34">
            <a:extLst>
              <a:ext uri="{FF2B5EF4-FFF2-40B4-BE49-F238E27FC236}">
                <a16:creationId xmlns:a16="http://schemas.microsoft.com/office/drawing/2014/main" id="{6D759928-E58F-7149-C333-C9A9F381B692}"/>
              </a:ext>
            </a:extLst>
          </p:cNvPr>
          <p:cNvSpPr/>
          <p:nvPr/>
        </p:nvSpPr>
        <p:spPr>
          <a:xfrm>
            <a:off x="1136761" y="2690998"/>
            <a:ext cx="1650178" cy="318787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1600" b="1" dirty="0">
                <a:solidFill>
                  <a:schemeClr val="tx1"/>
                </a:solidFill>
              </a:rPr>
              <a:t>Primo June</a:t>
            </a:r>
            <a:endParaRPr lang="en-US" sz="1600" b="1" noProof="0" dirty="0">
              <a:solidFill>
                <a:schemeClr val="tx1"/>
              </a:solidFill>
            </a:endParaRPr>
          </a:p>
        </p:txBody>
      </p:sp>
      <p:pic>
        <p:nvPicPr>
          <p:cNvPr id="42" name="Graphic 41" descr="Single gear outline">
            <a:extLst>
              <a:ext uri="{FF2B5EF4-FFF2-40B4-BE49-F238E27FC236}">
                <a16:creationId xmlns:a16="http://schemas.microsoft.com/office/drawing/2014/main" id="{3880CE0E-A81B-FA1F-259D-EFF36DC6BB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73795" y="3916641"/>
            <a:ext cx="609600" cy="609600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CD387E25-D7EB-F8B3-09DF-826E96EAD2E2}"/>
              </a:ext>
            </a:extLst>
          </p:cNvPr>
          <p:cNvSpPr/>
          <p:nvPr/>
        </p:nvSpPr>
        <p:spPr>
          <a:xfrm>
            <a:off x="4552595" y="3205916"/>
            <a:ext cx="252000" cy="252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1200" b="1" noProof="0" dirty="0"/>
              <a:t>2</a:t>
            </a:r>
          </a:p>
        </p:txBody>
      </p:sp>
      <p:sp>
        <p:nvSpPr>
          <p:cNvPr id="32" name="Flowchart: Process 31">
            <a:extLst>
              <a:ext uri="{FF2B5EF4-FFF2-40B4-BE49-F238E27FC236}">
                <a16:creationId xmlns:a16="http://schemas.microsoft.com/office/drawing/2014/main" id="{A918792A-6EC3-DFF2-9A98-6CE6E3CAEDB8}"/>
              </a:ext>
            </a:extLst>
          </p:cNvPr>
          <p:cNvSpPr/>
          <p:nvPr/>
        </p:nvSpPr>
        <p:spPr>
          <a:xfrm>
            <a:off x="3598595" y="4806740"/>
            <a:ext cx="2160000" cy="869446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da-DK" sz="1400" dirty="0" err="1">
                <a:solidFill>
                  <a:schemeClr val="tx1"/>
                </a:solidFill>
              </a:rPr>
              <a:t>Starting</a:t>
            </a:r>
            <a:r>
              <a:rPr lang="da-DK" sz="1400" dirty="0">
                <a:solidFill>
                  <a:schemeClr val="tx1"/>
                </a:solidFill>
              </a:rPr>
              <a:t> </a:t>
            </a:r>
            <a:r>
              <a:rPr lang="da-DK" sz="1400" dirty="0" err="1">
                <a:solidFill>
                  <a:schemeClr val="tx1"/>
                </a:solidFill>
              </a:rPr>
              <a:t>invoicing</a:t>
            </a:r>
            <a:r>
              <a:rPr lang="da-DK" sz="1400" dirty="0">
                <a:solidFill>
                  <a:schemeClr val="tx1"/>
                </a:solidFill>
              </a:rPr>
              <a:t> </a:t>
            </a:r>
            <a:r>
              <a:rPr lang="da-DK" sz="1400" dirty="0" err="1">
                <a:solidFill>
                  <a:schemeClr val="tx1"/>
                </a:solidFill>
              </a:rPr>
              <a:t>beginning</a:t>
            </a:r>
            <a:r>
              <a:rPr lang="da-DK" sz="1400" dirty="0">
                <a:solidFill>
                  <a:schemeClr val="tx1"/>
                </a:solidFill>
              </a:rPr>
              <a:t> with </a:t>
            </a:r>
            <a:r>
              <a:rPr lang="da-DK" sz="1400" dirty="0" err="1">
                <a:solidFill>
                  <a:schemeClr val="tx1"/>
                </a:solidFill>
              </a:rPr>
              <a:t>October</a:t>
            </a:r>
            <a:r>
              <a:rPr lang="da-DK" sz="1400" dirty="0">
                <a:solidFill>
                  <a:schemeClr val="tx1"/>
                </a:solidFill>
              </a:rPr>
              <a:t> 2022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36" name="Flowchart: Process 35">
            <a:extLst>
              <a:ext uri="{FF2B5EF4-FFF2-40B4-BE49-F238E27FC236}">
                <a16:creationId xmlns:a16="http://schemas.microsoft.com/office/drawing/2014/main" id="{FAE6F020-F822-D00F-C548-4A9E40E17F9B}"/>
              </a:ext>
            </a:extLst>
          </p:cNvPr>
          <p:cNvSpPr/>
          <p:nvPr/>
        </p:nvSpPr>
        <p:spPr>
          <a:xfrm>
            <a:off x="3853506" y="2690998"/>
            <a:ext cx="1650178" cy="318787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1600" b="1" dirty="0">
                <a:solidFill>
                  <a:schemeClr val="tx1"/>
                </a:solidFill>
              </a:rPr>
              <a:t>Ultimo June </a:t>
            </a:r>
            <a:endParaRPr lang="en-US" sz="1600" b="1" noProof="0" dirty="0">
              <a:solidFill>
                <a:schemeClr val="tx1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665A003-388D-0FE4-B2B8-8B305B3D80ED}"/>
              </a:ext>
            </a:extLst>
          </p:cNvPr>
          <p:cNvSpPr/>
          <p:nvPr/>
        </p:nvSpPr>
        <p:spPr>
          <a:xfrm>
            <a:off x="7269340" y="3205916"/>
            <a:ext cx="252000" cy="252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1200" b="1" noProof="0" dirty="0"/>
              <a:t>3</a:t>
            </a:r>
          </a:p>
        </p:txBody>
      </p:sp>
      <p:sp>
        <p:nvSpPr>
          <p:cNvPr id="33" name="Flowchart: Process 32">
            <a:extLst>
              <a:ext uri="{FF2B5EF4-FFF2-40B4-BE49-F238E27FC236}">
                <a16:creationId xmlns:a16="http://schemas.microsoft.com/office/drawing/2014/main" id="{1A6B16D6-0ED0-91EE-547D-FB4D676195C1}"/>
              </a:ext>
            </a:extLst>
          </p:cNvPr>
          <p:cNvSpPr/>
          <p:nvPr/>
        </p:nvSpPr>
        <p:spPr>
          <a:xfrm>
            <a:off x="6315340" y="4806740"/>
            <a:ext cx="2160000" cy="869446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1400" noProof="0" dirty="0">
                <a:solidFill>
                  <a:schemeClr val="tx1"/>
                </a:solidFill>
              </a:rPr>
              <a:t>Catching up with invoicing up until </a:t>
            </a:r>
            <a:r>
              <a:rPr lang="en-US" sz="1400" dirty="0">
                <a:solidFill>
                  <a:schemeClr val="tx1"/>
                </a:solidFill>
              </a:rPr>
              <a:t>October 2023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37" name="Flowchart: Process 36">
            <a:extLst>
              <a:ext uri="{FF2B5EF4-FFF2-40B4-BE49-F238E27FC236}">
                <a16:creationId xmlns:a16="http://schemas.microsoft.com/office/drawing/2014/main" id="{59B15670-9DEF-1605-5F52-DE666D5609D4}"/>
              </a:ext>
            </a:extLst>
          </p:cNvPr>
          <p:cNvSpPr/>
          <p:nvPr/>
        </p:nvSpPr>
        <p:spPr>
          <a:xfrm>
            <a:off x="6522188" y="2690998"/>
            <a:ext cx="1746304" cy="318787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1600" b="1" dirty="0">
                <a:solidFill>
                  <a:schemeClr val="tx1"/>
                </a:solidFill>
              </a:rPr>
              <a:t>July - November</a:t>
            </a:r>
            <a:endParaRPr lang="en-US" sz="1600" b="1" noProof="0" dirty="0">
              <a:solidFill>
                <a:schemeClr val="tx1"/>
              </a:solidFill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A47961D0-C446-F4E2-27F6-69F46426EA6D}"/>
              </a:ext>
            </a:extLst>
          </p:cNvPr>
          <p:cNvSpPr/>
          <p:nvPr/>
        </p:nvSpPr>
        <p:spPr>
          <a:xfrm>
            <a:off x="7035340" y="3861441"/>
            <a:ext cx="720000" cy="72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en-US" sz="2000" noProof="0" dirty="0"/>
          </a:p>
        </p:txBody>
      </p:sp>
      <p:pic>
        <p:nvPicPr>
          <p:cNvPr id="46" name="Graphic 45" descr="Fast Forward outline">
            <a:extLst>
              <a:ext uri="{FF2B5EF4-FFF2-40B4-BE49-F238E27FC236}">
                <a16:creationId xmlns:a16="http://schemas.microsoft.com/office/drawing/2014/main" id="{3DA94756-2781-CF99-02FE-8917553756F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20178" y="3916641"/>
            <a:ext cx="609600" cy="6096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A20A6501-2E63-5BB4-2BD6-724530FD40F2}"/>
              </a:ext>
            </a:extLst>
          </p:cNvPr>
          <p:cNvSpPr/>
          <p:nvPr/>
        </p:nvSpPr>
        <p:spPr>
          <a:xfrm>
            <a:off x="9986085" y="3205916"/>
            <a:ext cx="252000" cy="252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1200" b="1" noProof="0" dirty="0"/>
              <a:t>4</a:t>
            </a:r>
          </a:p>
        </p:txBody>
      </p:sp>
      <p:sp>
        <p:nvSpPr>
          <p:cNvPr id="34" name="Flowchart: Process 33">
            <a:extLst>
              <a:ext uri="{FF2B5EF4-FFF2-40B4-BE49-F238E27FC236}">
                <a16:creationId xmlns:a16="http://schemas.microsoft.com/office/drawing/2014/main" id="{847631DF-EB42-E036-5733-9ADAD52611C2}"/>
              </a:ext>
            </a:extLst>
          </p:cNvPr>
          <p:cNvSpPr/>
          <p:nvPr/>
        </p:nvSpPr>
        <p:spPr>
          <a:xfrm>
            <a:off x="9032085" y="4806740"/>
            <a:ext cx="2160000" cy="869446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1400" dirty="0">
                <a:solidFill>
                  <a:schemeClr val="tx1"/>
                </a:solidFill>
              </a:rPr>
              <a:t>I</a:t>
            </a:r>
            <a:r>
              <a:rPr lang="en-US" sz="1400" noProof="0" dirty="0" err="1">
                <a:solidFill>
                  <a:schemeClr val="tx1"/>
                </a:solidFill>
              </a:rPr>
              <a:t>nitiating</a:t>
            </a:r>
            <a:r>
              <a:rPr lang="en-US" sz="1400" noProof="0" dirty="0">
                <a:solidFill>
                  <a:schemeClr val="tx1"/>
                </a:solidFill>
              </a:rPr>
              <a:t> ordinary monthly invoice process</a:t>
            </a:r>
          </a:p>
        </p:txBody>
      </p:sp>
      <p:sp>
        <p:nvSpPr>
          <p:cNvPr id="38" name="Flowchart: Process 37">
            <a:extLst>
              <a:ext uri="{FF2B5EF4-FFF2-40B4-BE49-F238E27FC236}">
                <a16:creationId xmlns:a16="http://schemas.microsoft.com/office/drawing/2014/main" id="{F757819E-8376-4236-4F56-6C7D1858E3DD}"/>
              </a:ext>
            </a:extLst>
          </p:cNvPr>
          <p:cNvSpPr/>
          <p:nvPr/>
        </p:nvSpPr>
        <p:spPr>
          <a:xfrm>
            <a:off x="9286996" y="2690998"/>
            <a:ext cx="1650178" cy="318787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1600" b="1" dirty="0">
                <a:solidFill>
                  <a:schemeClr val="tx1"/>
                </a:solidFill>
              </a:rPr>
              <a:t>December  - </a:t>
            </a:r>
            <a:endParaRPr lang="en-US" sz="1600" b="1" noProof="0" dirty="0">
              <a:solidFill>
                <a:schemeClr val="tx1"/>
              </a:solidFill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E5F010C8-AB1C-427C-B8D2-8D83F8AABFF4}"/>
              </a:ext>
            </a:extLst>
          </p:cNvPr>
          <p:cNvSpPr/>
          <p:nvPr/>
        </p:nvSpPr>
        <p:spPr>
          <a:xfrm>
            <a:off x="9752085" y="3861441"/>
            <a:ext cx="720000" cy="72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en-US" sz="2000" noProof="0" dirty="0"/>
          </a:p>
        </p:txBody>
      </p:sp>
      <p:pic>
        <p:nvPicPr>
          <p:cNvPr id="48" name="Graphic 47" descr="Arrow circle outline">
            <a:extLst>
              <a:ext uri="{FF2B5EF4-FFF2-40B4-BE49-F238E27FC236}">
                <a16:creationId xmlns:a16="http://schemas.microsoft.com/office/drawing/2014/main" id="{C9E9A0C3-880A-0E95-94CB-EBFF563D03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07285" y="3916641"/>
            <a:ext cx="609600" cy="609600"/>
          </a:xfrm>
          <a:prstGeom prst="rect">
            <a:avLst/>
          </a:prstGeom>
        </p:spPr>
      </p:pic>
      <p:sp>
        <p:nvSpPr>
          <p:cNvPr id="72" name="Isosceles Triangle 71">
            <a:extLst>
              <a:ext uri="{FF2B5EF4-FFF2-40B4-BE49-F238E27FC236}">
                <a16:creationId xmlns:a16="http://schemas.microsoft.com/office/drawing/2014/main" id="{2998645A-4232-A664-6766-807372FC92F0}"/>
              </a:ext>
            </a:extLst>
          </p:cNvPr>
          <p:cNvSpPr/>
          <p:nvPr/>
        </p:nvSpPr>
        <p:spPr>
          <a:xfrm rot="5400000">
            <a:off x="3085237" y="3193381"/>
            <a:ext cx="469969" cy="277022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en-US" sz="2000" noProof="0" dirty="0"/>
          </a:p>
        </p:txBody>
      </p:sp>
      <p:sp>
        <p:nvSpPr>
          <p:cNvPr id="73" name="Isosceles Triangle 72">
            <a:extLst>
              <a:ext uri="{FF2B5EF4-FFF2-40B4-BE49-F238E27FC236}">
                <a16:creationId xmlns:a16="http://schemas.microsoft.com/office/drawing/2014/main" id="{F2022390-2083-436F-1CA3-56FED575125E}"/>
              </a:ext>
            </a:extLst>
          </p:cNvPr>
          <p:cNvSpPr/>
          <p:nvPr/>
        </p:nvSpPr>
        <p:spPr>
          <a:xfrm rot="5400000">
            <a:off x="5861015" y="3193382"/>
            <a:ext cx="469969" cy="277022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en-US" sz="2000" noProof="0" dirty="0"/>
          </a:p>
        </p:txBody>
      </p:sp>
      <p:sp>
        <p:nvSpPr>
          <p:cNvPr id="74" name="Isosceles Triangle 73">
            <a:extLst>
              <a:ext uri="{FF2B5EF4-FFF2-40B4-BE49-F238E27FC236}">
                <a16:creationId xmlns:a16="http://schemas.microsoft.com/office/drawing/2014/main" id="{7C2EE104-104C-7240-7FF9-1CE72E20CF83}"/>
              </a:ext>
            </a:extLst>
          </p:cNvPr>
          <p:cNvSpPr/>
          <p:nvPr/>
        </p:nvSpPr>
        <p:spPr>
          <a:xfrm rot="5400000">
            <a:off x="8518727" y="3193381"/>
            <a:ext cx="469969" cy="277022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en-US" sz="2000" noProof="0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E6C4B0F-8BFA-F896-1E6A-76159C7CCC25}"/>
              </a:ext>
            </a:extLst>
          </p:cNvPr>
          <p:cNvGrpSpPr/>
          <p:nvPr/>
        </p:nvGrpSpPr>
        <p:grpSpPr>
          <a:xfrm>
            <a:off x="1601850" y="3861441"/>
            <a:ext cx="720000" cy="720000"/>
            <a:chOff x="1601850" y="3861441"/>
            <a:chExt cx="720000" cy="720000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F47B447F-ADAF-1A47-0CA1-908692543892}"/>
                </a:ext>
              </a:extLst>
            </p:cNvPr>
            <p:cNvSpPr/>
            <p:nvPr/>
          </p:nvSpPr>
          <p:spPr>
            <a:xfrm>
              <a:off x="1601850" y="3861441"/>
              <a:ext cx="720000" cy="72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750"/>
                </a:spcBef>
              </a:pPr>
              <a:endParaRPr lang="en-US" sz="2000" noProof="0" dirty="0"/>
            </a:p>
          </p:txBody>
        </p:sp>
        <p:pic>
          <p:nvPicPr>
            <p:cNvPr id="8" name="Graphic 7" descr="Checklist outline">
              <a:extLst>
                <a:ext uri="{FF2B5EF4-FFF2-40B4-BE49-F238E27FC236}">
                  <a16:creationId xmlns:a16="http://schemas.microsoft.com/office/drawing/2014/main" id="{A54D1EA9-B340-81FB-C1AF-64E486BCD0B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673850" y="3933441"/>
              <a:ext cx="576000" cy="576000"/>
            </a:xfrm>
            <a:prstGeom prst="rect">
              <a:avLst/>
            </a:prstGeom>
          </p:spPr>
        </p:pic>
      </p:grpSp>
      <p:cxnSp>
        <p:nvCxnSpPr>
          <p:cNvPr id="11" name="Lige forbindelse 9">
            <a:extLst>
              <a:ext uri="{FF2B5EF4-FFF2-40B4-BE49-F238E27FC236}">
                <a16:creationId xmlns:a16="http://schemas.microsoft.com/office/drawing/2014/main" id="{1252A0C5-CEC0-321E-2B07-1A015E9BB163}"/>
              </a:ext>
            </a:extLst>
          </p:cNvPr>
          <p:cNvCxnSpPr>
            <a:cxnSpLocks/>
          </p:cNvCxnSpPr>
          <p:nvPr/>
        </p:nvCxnSpPr>
        <p:spPr>
          <a:xfrm>
            <a:off x="682923" y="2039236"/>
            <a:ext cx="10836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2" name="Pladsholder til tekst 10">
            <a:extLst>
              <a:ext uri="{FF2B5EF4-FFF2-40B4-BE49-F238E27FC236}">
                <a16:creationId xmlns:a16="http://schemas.microsoft.com/office/drawing/2014/main" id="{331AB03B-2634-94E2-53A5-9B084702C23E}"/>
              </a:ext>
            </a:extLst>
          </p:cNvPr>
          <p:cNvSpPr txBox="1">
            <a:spLocks/>
          </p:cNvSpPr>
          <p:nvPr/>
        </p:nvSpPr>
        <p:spPr>
          <a:xfrm>
            <a:off x="682923" y="1708691"/>
            <a:ext cx="10836000" cy="2916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Calibri Light"/>
                <a:ea typeface="+mn-ea"/>
                <a:cs typeface="+mn-cs"/>
              </a:rPr>
              <a:t>Balance invoice timeline and process flow </a:t>
            </a:r>
          </a:p>
        </p:txBody>
      </p:sp>
    </p:spTree>
    <p:extLst>
      <p:ext uri="{BB962C8B-B14F-4D97-AF65-F5344CB8AC3E}">
        <p14:creationId xmlns:p14="http://schemas.microsoft.com/office/powerpoint/2010/main" val="10834150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Rektangel: afrundede hjørner 7">
            <a:extLst>
              <a:ext uri="{FF2B5EF4-FFF2-40B4-BE49-F238E27FC236}">
                <a16:creationId xmlns:a16="http://schemas.microsoft.com/office/drawing/2014/main" id="{BEB7AC00-5175-5949-408E-9F7123337540}"/>
              </a:ext>
            </a:extLst>
          </p:cNvPr>
          <p:cNvSpPr/>
          <p:nvPr/>
        </p:nvSpPr>
        <p:spPr>
          <a:xfrm>
            <a:off x="684000" y="2217600"/>
            <a:ext cx="10836000" cy="392989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4CC162-FAC5-1A49-0A38-3B44DDCD3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4780" y="573076"/>
            <a:ext cx="10214464" cy="712414"/>
          </a:xfrm>
        </p:spPr>
        <p:txBody>
          <a:bodyPr/>
          <a:lstStyle/>
          <a:p>
            <a:r>
              <a:rPr lang="en-US" sz="3200" dirty="0"/>
              <a:t>Status on Green Zone Flexibility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1E5F368-05D5-4788-6EE6-74680125FD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96CE2C7-422E-0B1D-6F45-7AA9DA905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mtClean="0"/>
              <a:pPr/>
              <a:t>64</a:t>
            </a:fld>
            <a:endParaRPr lang="da-DK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80D14586-C700-C1C4-4A17-9C24CD06E47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74780" y="1308597"/>
            <a:ext cx="10214464" cy="720725"/>
          </a:xfrm>
        </p:spPr>
        <p:txBody>
          <a:bodyPr/>
          <a:lstStyle/>
          <a:p>
            <a:r>
              <a:rPr lang="en-US" sz="1800" dirty="0">
                <a:solidFill>
                  <a:schemeClr val="accent1"/>
                </a:solidFill>
              </a:rPr>
              <a:t>Fundamentally, the size of the green zone reflects the available flexibility in the transmission system and the integrity of the system must be considered when determining its size.</a:t>
            </a:r>
          </a:p>
        </p:txBody>
      </p:sp>
      <p:grpSp>
        <p:nvGrpSpPr>
          <p:cNvPr id="46" name="Gruppe 45">
            <a:extLst>
              <a:ext uri="{FF2B5EF4-FFF2-40B4-BE49-F238E27FC236}">
                <a16:creationId xmlns:a16="http://schemas.microsoft.com/office/drawing/2014/main" id="{C4D4D10C-58E8-6F1F-5385-D9F6048F8D79}"/>
              </a:ext>
            </a:extLst>
          </p:cNvPr>
          <p:cNvGrpSpPr/>
          <p:nvPr/>
        </p:nvGrpSpPr>
        <p:grpSpPr>
          <a:xfrm>
            <a:off x="5471004" y="4373624"/>
            <a:ext cx="2204286" cy="1221875"/>
            <a:chOff x="1194063" y="330915"/>
            <a:chExt cx="3042938" cy="1061358"/>
          </a:xfrm>
        </p:grpSpPr>
        <p:sp>
          <p:nvSpPr>
            <p:cNvPr id="49" name="Cylinder 48">
              <a:extLst>
                <a:ext uri="{FF2B5EF4-FFF2-40B4-BE49-F238E27FC236}">
                  <a16:creationId xmlns:a16="http://schemas.microsoft.com/office/drawing/2014/main" id="{FD14DD92-2EA7-FBD1-549B-9E988EBD220C}"/>
                </a:ext>
              </a:extLst>
            </p:cNvPr>
            <p:cNvSpPr/>
            <p:nvPr/>
          </p:nvSpPr>
          <p:spPr>
            <a:xfrm rot="5400000">
              <a:off x="2184853" y="-659875"/>
              <a:ext cx="1061358" cy="3042938"/>
            </a:xfrm>
            <a:prstGeom prst="can">
              <a:avLst>
                <a:gd name="adj" fmla="val 22308"/>
              </a:avLst>
            </a:prstGeom>
            <a:solidFill>
              <a:schemeClr val="accent2"/>
            </a:solidFill>
            <a:ln w="12700" cap="flat" cmpd="sng" algn="ctr">
              <a:solidFill>
                <a:srgbClr val="008B8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endParaRPr lang="da-DK" sz="1200"/>
            </a:p>
          </p:txBody>
        </p:sp>
        <p:sp>
          <p:nvSpPr>
            <p:cNvPr id="50" name="Rektangel 49">
              <a:extLst>
                <a:ext uri="{FF2B5EF4-FFF2-40B4-BE49-F238E27FC236}">
                  <a16:creationId xmlns:a16="http://schemas.microsoft.com/office/drawing/2014/main" id="{1504A397-6780-81F6-A08B-01A1FA5796FA}"/>
                </a:ext>
              </a:extLst>
            </p:cNvPr>
            <p:cNvSpPr/>
            <p:nvPr/>
          </p:nvSpPr>
          <p:spPr>
            <a:xfrm>
              <a:off x="1389741" y="681601"/>
              <a:ext cx="2346557" cy="375248"/>
            </a:xfrm>
            <a:prstGeom prst="rect">
              <a:avLst/>
            </a:prstGeom>
            <a:pattFill prst="dkUpDiag">
              <a:fgClr>
                <a:srgbClr val="A0CD92">
                  <a:lumMod val="60000"/>
                  <a:lumOff val="40000"/>
                </a:srgbClr>
              </a:fgClr>
              <a:bgClr>
                <a:srgbClr val="FFFFFF"/>
              </a:bgClr>
            </a:patt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lnSpc>
                  <a:spcPct val="120000"/>
                </a:lnSpc>
              </a:pPr>
              <a:endParaRPr lang="da-DK" sz="1200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1" name="Rektangel 50">
              <a:extLst>
                <a:ext uri="{FF2B5EF4-FFF2-40B4-BE49-F238E27FC236}">
                  <a16:creationId xmlns:a16="http://schemas.microsoft.com/office/drawing/2014/main" id="{3C7F92BC-3B49-99B6-354B-3191CC64A877}"/>
                </a:ext>
              </a:extLst>
            </p:cNvPr>
            <p:cNvSpPr/>
            <p:nvPr/>
          </p:nvSpPr>
          <p:spPr>
            <a:xfrm>
              <a:off x="1389741" y="391367"/>
              <a:ext cx="2346208" cy="281436"/>
            </a:xfrm>
            <a:prstGeom prst="rect">
              <a:avLst/>
            </a:prstGeom>
            <a:pattFill prst="dkUpDiag">
              <a:fgClr>
                <a:srgbClr val="FFE57C"/>
              </a:fgClr>
              <a:bgClr>
                <a:srgbClr val="FFFFFF"/>
              </a:bgClr>
            </a:patt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750"/>
                </a:spcBef>
              </a:pPr>
              <a:endParaRPr lang="da-DK" sz="1200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52" name="Lige forbindelse 51">
              <a:extLst>
                <a:ext uri="{FF2B5EF4-FFF2-40B4-BE49-F238E27FC236}">
                  <a16:creationId xmlns:a16="http://schemas.microsoft.com/office/drawing/2014/main" id="{BEF7AECC-39D5-7346-AFCB-0F9F38CB8EDB}"/>
                </a:ext>
              </a:extLst>
            </p:cNvPr>
            <p:cNvCxnSpPr>
              <a:cxnSpLocks/>
            </p:cNvCxnSpPr>
            <p:nvPr/>
          </p:nvCxnSpPr>
          <p:spPr>
            <a:xfrm>
              <a:off x="1389741" y="868421"/>
              <a:ext cx="2346208" cy="0"/>
            </a:xfrm>
            <a:prstGeom prst="line">
              <a:avLst/>
            </a:prstGeom>
            <a:noFill/>
            <a:ln w="28575" cap="flat" cmpd="sng" algn="ctr">
              <a:solidFill>
                <a:srgbClr val="008B8B"/>
              </a:solidFill>
              <a:prstDash val="solid"/>
              <a:miter lim="800000"/>
            </a:ln>
            <a:effectLst/>
          </p:spPr>
        </p:cxnSp>
        <p:sp>
          <p:nvSpPr>
            <p:cNvPr id="53" name="Rektangel 52">
              <a:extLst>
                <a:ext uri="{FF2B5EF4-FFF2-40B4-BE49-F238E27FC236}">
                  <a16:creationId xmlns:a16="http://schemas.microsoft.com/office/drawing/2014/main" id="{9D63A674-E409-0009-8A64-DED6E9854227}"/>
                </a:ext>
              </a:extLst>
            </p:cNvPr>
            <p:cNvSpPr/>
            <p:nvPr/>
          </p:nvSpPr>
          <p:spPr>
            <a:xfrm>
              <a:off x="1389741" y="1061492"/>
              <a:ext cx="2346208" cy="281436"/>
            </a:xfrm>
            <a:prstGeom prst="rect">
              <a:avLst/>
            </a:prstGeom>
            <a:pattFill prst="dkUpDiag">
              <a:fgClr>
                <a:srgbClr val="FFE57C"/>
              </a:fgClr>
              <a:bgClr>
                <a:srgbClr val="FFFFFF"/>
              </a:bgClr>
            </a:patt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750"/>
                </a:spcBef>
              </a:pPr>
              <a:endParaRPr lang="da-DK" sz="1200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cxnSp>
        <p:nvCxnSpPr>
          <p:cNvPr id="47" name="Lige forbindelse 46">
            <a:extLst>
              <a:ext uri="{FF2B5EF4-FFF2-40B4-BE49-F238E27FC236}">
                <a16:creationId xmlns:a16="http://schemas.microsoft.com/office/drawing/2014/main" id="{B4996ECC-8374-B57D-18CF-29A2EFC571A1}"/>
              </a:ext>
            </a:extLst>
          </p:cNvPr>
          <p:cNvCxnSpPr>
            <a:cxnSpLocks/>
          </p:cNvCxnSpPr>
          <p:nvPr/>
        </p:nvCxnSpPr>
        <p:spPr>
          <a:xfrm flipV="1">
            <a:off x="5612752" y="4772978"/>
            <a:ext cx="1697715" cy="2273"/>
          </a:xfrm>
          <a:prstGeom prst="line">
            <a:avLst/>
          </a:prstGeom>
          <a:ln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Lige forbindelse 47">
            <a:extLst>
              <a:ext uri="{FF2B5EF4-FFF2-40B4-BE49-F238E27FC236}">
                <a16:creationId xmlns:a16="http://schemas.microsoft.com/office/drawing/2014/main" id="{47F821DD-20A7-2628-1733-6B6DC1277249}"/>
              </a:ext>
            </a:extLst>
          </p:cNvPr>
          <p:cNvCxnSpPr>
            <a:cxnSpLocks/>
          </p:cNvCxnSpPr>
          <p:nvPr/>
        </p:nvCxnSpPr>
        <p:spPr>
          <a:xfrm flipV="1">
            <a:off x="5614869" y="5210393"/>
            <a:ext cx="1697715" cy="2273"/>
          </a:xfrm>
          <a:prstGeom prst="line">
            <a:avLst/>
          </a:prstGeom>
          <a:ln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ylinder 34">
            <a:extLst>
              <a:ext uri="{FF2B5EF4-FFF2-40B4-BE49-F238E27FC236}">
                <a16:creationId xmlns:a16="http://schemas.microsoft.com/office/drawing/2014/main" id="{B9FE2AE9-26B9-A4A9-0290-C3203001C573}"/>
              </a:ext>
            </a:extLst>
          </p:cNvPr>
          <p:cNvSpPr/>
          <p:nvPr/>
        </p:nvSpPr>
        <p:spPr>
          <a:xfrm rot="5400000">
            <a:off x="2923605" y="3170874"/>
            <a:ext cx="1221869" cy="3643951"/>
          </a:xfrm>
          <a:prstGeom prst="can">
            <a:avLst>
              <a:gd name="adj" fmla="val 22308"/>
            </a:avLst>
          </a:prstGeom>
          <a:solidFill>
            <a:schemeClr val="accent2"/>
          </a:solidFill>
          <a:ln w="12700" cap="flat" cmpd="sng" algn="ctr">
            <a:solidFill>
              <a:srgbClr val="008B8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endParaRPr lang="da-DK" sz="1200" dirty="0"/>
          </a:p>
        </p:txBody>
      </p:sp>
      <p:sp>
        <p:nvSpPr>
          <p:cNvPr id="36" name="Rektangel 35">
            <a:extLst>
              <a:ext uri="{FF2B5EF4-FFF2-40B4-BE49-F238E27FC236}">
                <a16:creationId xmlns:a16="http://schemas.microsoft.com/office/drawing/2014/main" id="{CD81CD7B-78E2-825C-F87C-66B4D2677AC3}"/>
              </a:ext>
            </a:extLst>
          </p:cNvPr>
          <p:cNvSpPr/>
          <p:nvPr/>
        </p:nvSpPr>
        <p:spPr>
          <a:xfrm>
            <a:off x="1827516" y="4822467"/>
            <a:ext cx="3168163" cy="358228"/>
          </a:xfrm>
          <a:prstGeom prst="rect">
            <a:avLst/>
          </a:prstGeom>
          <a:pattFill prst="dkUpDiag">
            <a:fgClr>
              <a:srgbClr val="A0CD92">
                <a:lumMod val="60000"/>
                <a:lumOff val="40000"/>
              </a:srgbClr>
            </a:fgClr>
            <a:bgClr>
              <a:srgbClr val="FFFFFF"/>
            </a:bgClr>
          </a:patt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a-DK" sz="1200" dirty="0"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636D2B50-9BD8-3990-5FDD-DE529CD49C61}"/>
              </a:ext>
            </a:extLst>
          </p:cNvPr>
          <p:cNvSpPr/>
          <p:nvPr/>
        </p:nvSpPr>
        <p:spPr>
          <a:xfrm>
            <a:off x="1827516" y="4451509"/>
            <a:ext cx="3167694" cy="360000"/>
          </a:xfrm>
          <a:prstGeom prst="rect">
            <a:avLst/>
          </a:prstGeom>
          <a:pattFill prst="dkUpDiag">
            <a:fgClr>
              <a:srgbClr val="FFE57C"/>
            </a:fgClr>
            <a:bgClr>
              <a:srgbClr val="FFFFFF"/>
            </a:bgClr>
          </a:patt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1200" dirty="0"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8" name="Lige forbindelse 37">
            <a:extLst>
              <a:ext uri="{FF2B5EF4-FFF2-40B4-BE49-F238E27FC236}">
                <a16:creationId xmlns:a16="http://schemas.microsoft.com/office/drawing/2014/main" id="{665A4DFB-823B-D7CE-5E98-7599FD511914}"/>
              </a:ext>
            </a:extLst>
          </p:cNvPr>
          <p:cNvCxnSpPr>
            <a:cxnSpLocks/>
          </p:cNvCxnSpPr>
          <p:nvPr/>
        </p:nvCxnSpPr>
        <p:spPr>
          <a:xfrm>
            <a:off x="1823994" y="5000709"/>
            <a:ext cx="3167694" cy="0"/>
          </a:xfrm>
          <a:prstGeom prst="line">
            <a:avLst/>
          </a:prstGeom>
          <a:noFill/>
          <a:ln w="28575" cap="flat" cmpd="sng" algn="ctr">
            <a:solidFill>
              <a:srgbClr val="008B8B"/>
            </a:solidFill>
            <a:prstDash val="solid"/>
            <a:miter lim="800000"/>
          </a:ln>
          <a:effectLst/>
        </p:spPr>
      </p:cxnSp>
      <p:sp>
        <p:nvSpPr>
          <p:cNvPr id="39" name="Tekstfelt 51">
            <a:extLst>
              <a:ext uri="{FF2B5EF4-FFF2-40B4-BE49-F238E27FC236}">
                <a16:creationId xmlns:a16="http://schemas.microsoft.com/office/drawing/2014/main" id="{6ABDC322-1F5B-F4ED-6232-7AFFCEFB4760}"/>
              </a:ext>
            </a:extLst>
          </p:cNvPr>
          <p:cNvSpPr txBox="1"/>
          <p:nvPr/>
        </p:nvSpPr>
        <p:spPr>
          <a:xfrm>
            <a:off x="1499649" y="4912873"/>
            <a:ext cx="78548" cy="20685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a-DK" sz="1200" kern="12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endParaRPr lang="da-DK" sz="1200" dirty="0"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0" name="Lige forbindelse 39">
            <a:extLst>
              <a:ext uri="{FF2B5EF4-FFF2-40B4-BE49-F238E27FC236}">
                <a16:creationId xmlns:a16="http://schemas.microsoft.com/office/drawing/2014/main" id="{1ABD1943-CCE9-90B3-AE99-0848452B3992}"/>
              </a:ext>
            </a:extLst>
          </p:cNvPr>
          <p:cNvCxnSpPr>
            <a:cxnSpLocks/>
          </p:cNvCxnSpPr>
          <p:nvPr/>
        </p:nvCxnSpPr>
        <p:spPr>
          <a:xfrm>
            <a:off x="1827518" y="5464984"/>
            <a:ext cx="3116897" cy="0"/>
          </a:xfrm>
          <a:prstGeom prst="line">
            <a:avLst/>
          </a:prstGeom>
          <a:noFill/>
          <a:ln w="28575" cap="flat" cmpd="sng" algn="ctr">
            <a:solidFill>
              <a:srgbClr val="00B050"/>
            </a:solidFill>
            <a:prstDash val="sysDash"/>
            <a:miter lim="800000"/>
          </a:ln>
          <a:effectLst/>
        </p:spPr>
      </p:cxnSp>
      <p:sp>
        <p:nvSpPr>
          <p:cNvPr id="41" name="Tekstfelt 54">
            <a:extLst>
              <a:ext uri="{FF2B5EF4-FFF2-40B4-BE49-F238E27FC236}">
                <a16:creationId xmlns:a16="http://schemas.microsoft.com/office/drawing/2014/main" id="{21877335-EBFB-3BDA-02AF-E8DD282B7695}"/>
              </a:ext>
            </a:extLst>
          </p:cNvPr>
          <p:cNvSpPr txBox="1"/>
          <p:nvPr/>
        </p:nvSpPr>
        <p:spPr>
          <a:xfrm>
            <a:off x="774035" y="4604585"/>
            <a:ext cx="849591" cy="18094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a-DK" sz="105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Upper band(+x)</a:t>
            </a:r>
            <a:endParaRPr lang="da-DK" sz="105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Tekstfelt 55">
            <a:extLst>
              <a:ext uri="{FF2B5EF4-FFF2-40B4-BE49-F238E27FC236}">
                <a16:creationId xmlns:a16="http://schemas.microsoft.com/office/drawing/2014/main" id="{9DAD8F4A-9406-4286-EE2A-CA8ADA953B72}"/>
              </a:ext>
            </a:extLst>
          </p:cNvPr>
          <p:cNvSpPr txBox="1"/>
          <p:nvPr/>
        </p:nvSpPr>
        <p:spPr>
          <a:xfrm>
            <a:off x="779752" y="5234605"/>
            <a:ext cx="849591" cy="18094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050" kern="12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ower band (-x)</a:t>
            </a:r>
            <a:endParaRPr lang="en-US" sz="1050" dirty="0"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3" name="Lige pilforbindelse 42">
            <a:extLst>
              <a:ext uri="{FF2B5EF4-FFF2-40B4-BE49-F238E27FC236}">
                <a16:creationId xmlns:a16="http://schemas.microsoft.com/office/drawing/2014/main" id="{BD015A47-DB72-F7E6-2057-A640AA130E30}"/>
              </a:ext>
            </a:extLst>
          </p:cNvPr>
          <p:cNvCxnSpPr>
            <a:cxnSpLocks/>
          </p:cNvCxnSpPr>
          <p:nvPr/>
        </p:nvCxnSpPr>
        <p:spPr>
          <a:xfrm flipV="1">
            <a:off x="1625056" y="5687411"/>
            <a:ext cx="9794514" cy="0"/>
          </a:xfrm>
          <a:prstGeom prst="straightConnector1">
            <a:avLst/>
          </a:prstGeom>
          <a:noFill/>
          <a:ln w="6350" cap="flat" cmpd="sng" algn="ctr">
            <a:solidFill>
              <a:srgbClr val="008B8B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4" name="Rektangel 43">
            <a:extLst>
              <a:ext uri="{FF2B5EF4-FFF2-40B4-BE49-F238E27FC236}">
                <a16:creationId xmlns:a16="http://schemas.microsoft.com/office/drawing/2014/main" id="{16CB7C48-B6A9-219C-E7C1-F30A1B392F7C}"/>
              </a:ext>
            </a:extLst>
          </p:cNvPr>
          <p:cNvSpPr/>
          <p:nvPr/>
        </p:nvSpPr>
        <p:spPr>
          <a:xfrm>
            <a:off x="1827516" y="5190248"/>
            <a:ext cx="3167693" cy="360000"/>
          </a:xfrm>
          <a:prstGeom prst="rect">
            <a:avLst/>
          </a:prstGeom>
          <a:pattFill prst="dkUpDiag">
            <a:fgClr>
              <a:srgbClr val="FFE57C"/>
            </a:fgClr>
            <a:bgClr>
              <a:srgbClr val="FFFFFF"/>
            </a:bgClr>
          </a:patt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1200" dirty="0"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5" name="Lige pilforbindelse 44">
            <a:extLst>
              <a:ext uri="{FF2B5EF4-FFF2-40B4-BE49-F238E27FC236}">
                <a16:creationId xmlns:a16="http://schemas.microsoft.com/office/drawing/2014/main" id="{98E84E43-765D-EF38-C3F9-52302890F6DC}"/>
              </a:ext>
            </a:extLst>
          </p:cNvPr>
          <p:cNvCxnSpPr>
            <a:cxnSpLocks/>
          </p:cNvCxnSpPr>
          <p:nvPr/>
        </p:nvCxnSpPr>
        <p:spPr>
          <a:xfrm flipH="1" flipV="1">
            <a:off x="1638979" y="4329334"/>
            <a:ext cx="196" cy="1310451"/>
          </a:xfrm>
          <a:prstGeom prst="straightConnector1">
            <a:avLst/>
          </a:prstGeom>
          <a:noFill/>
          <a:ln w="6350" cap="flat" cmpd="sng" algn="ctr">
            <a:solidFill>
              <a:srgbClr val="008B8B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3" name="Lige forbindelse 32">
            <a:extLst>
              <a:ext uri="{FF2B5EF4-FFF2-40B4-BE49-F238E27FC236}">
                <a16:creationId xmlns:a16="http://schemas.microsoft.com/office/drawing/2014/main" id="{8A3E580E-9753-EFAC-0DBA-183369E45FC6}"/>
              </a:ext>
            </a:extLst>
          </p:cNvPr>
          <p:cNvCxnSpPr>
            <a:cxnSpLocks/>
          </p:cNvCxnSpPr>
          <p:nvPr/>
        </p:nvCxnSpPr>
        <p:spPr>
          <a:xfrm>
            <a:off x="1830078" y="4815521"/>
            <a:ext cx="3164222" cy="4215"/>
          </a:xfrm>
          <a:prstGeom prst="line">
            <a:avLst/>
          </a:prstGeom>
          <a:ln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Lige forbindelse 33">
            <a:extLst>
              <a:ext uri="{FF2B5EF4-FFF2-40B4-BE49-F238E27FC236}">
                <a16:creationId xmlns:a16="http://schemas.microsoft.com/office/drawing/2014/main" id="{016241CA-584E-A94F-DBDD-787E97DD097A}"/>
              </a:ext>
            </a:extLst>
          </p:cNvPr>
          <p:cNvCxnSpPr>
            <a:cxnSpLocks/>
          </p:cNvCxnSpPr>
          <p:nvPr/>
        </p:nvCxnSpPr>
        <p:spPr>
          <a:xfrm>
            <a:off x="1830078" y="5182412"/>
            <a:ext cx="3164222" cy="4215"/>
          </a:xfrm>
          <a:prstGeom prst="line">
            <a:avLst/>
          </a:prstGeom>
          <a:ln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kstfelt 75">
            <a:extLst>
              <a:ext uri="{FF2B5EF4-FFF2-40B4-BE49-F238E27FC236}">
                <a16:creationId xmlns:a16="http://schemas.microsoft.com/office/drawing/2014/main" id="{DA4506EE-C0CB-A631-6C43-40AD35906858}"/>
              </a:ext>
            </a:extLst>
          </p:cNvPr>
          <p:cNvSpPr txBox="1"/>
          <p:nvPr/>
        </p:nvSpPr>
        <p:spPr>
          <a:xfrm>
            <a:off x="1709889" y="5706780"/>
            <a:ext cx="3643957" cy="2068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200" i="1" kern="12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ctober - January 2023</a:t>
            </a:r>
            <a:endParaRPr lang="en-US" sz="1200" i="1" dirty="0"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Tekstfelt 75">
            <a:extLst>
              <a:ext uri="{FF2B5EF4-FFF2-40B4-BE49-F238E27FC236}">
                <a16:creationId xmlns:a16="http://schemas.microsoft.com/office/drawing/2014/main" id="{B0C92C55-0AEC-9A94-8AC3-DFF15D11D2DC}"/>
              </a:ext>
            </a:extLst>
          </p:cNvPr>
          <p:cNvSpPr txBox="1"/>
          <p:nvPr/>
        </p:nvSpPr>
        <p:spPr>
          <a:xfrm>
            <a:off x="5471003" y="5706780"/>
            <a:ext cx="2204155" cy="2068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da-DK" sz="1200" i="1" kern="1200" dirty="0" err="1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ebruary</a:t>
            </a:r>
            <a:r>
              <a:rPr lang="da-DK" sz="1200" i="1" kern="12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2023 - </a:t>
            </a:r>
            <a:r>
              <a:rPr lang="da-DK" sz="1200" i="1" kern="1200" dirty="0" err="1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oday</a:t>
            </a:r>
            <a:endParaRPr lang="da-DK" sz="1200" i="1" dirty="0"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57" name="Lige pilforbindelse 56">
            <a:extLst>
              <a:ext uri="{FF2B5EF4-FFF2-40B4-BE49-F238E27FC236}">
                <a16:creationId xmlns:a16="http://schemas.microsoft.com/office/drawing/2014/main" id="{6812F362-86B4-916A-B08C-79E6AEDB6ED9}"/>
              </a:ext>
            </a:extLst>
          </p:cNvPr>
          <p:cNvCxnSpPr>
            <a:cxnSpLocks/>
          </p:cNvCxnSpPr>
          <p:nvPr/>
        </p:nvCxnSpPr>
        <p:spPr>
          <a:xfrm>
            <a:off x="3447027" y="3657685"/>
            <a:ext cx="0" cy="3960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kstfelt 58">
            <a:extLst>
              <a:ext uri="{FF2B5EF4-FFF2-40B4-BE49-F238E27FC236}">
                <a16:creationId xmlns:a16="http://schemas.microsoft.com/office/drawing/2014/main" id="{BE2CF9F0-6AFF-288D-73C4-A6A4997F137F}"/>
              </a:ext>
            </a:extLst>
          </p:cNvPr>
          <p:cNvSpPr txBox="1"/>
          <p:nvPr/>
        </p:nvSpPr>
        <p:spPr>
          <a:xfrm>
            <a:off x="6124404" y="4992421"/>
            <a:ext cx="74472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/>
              <a:t>Green zone</a:t>
            </a:r>
          </a:p>
        </p:txBody>
      </p:sp>
      <p:sp>
        <p:nvSpPr>
          <p:cNvPr id="60" name="Tekstfelt 59">
            <a:extLst>
              <a:ext uri="{FF2B5EF4-FFF2-40B4-BE49-F238E27FC236}">
                <a16:creationId xmlns:a16="http://schemas.microsoft.com/office/drawing/2014/main" id="{BC840181-A5B7-87A6-BC1F-91215FD5332F}"/>
              </a:ext>
            </a:extLst>
          </p:cNvPr>
          <p:cNvSpPr txBox="1"/>
          <p:nvPr/>
        </p:nvSpPr>
        <p:spPr>
          <a:xfrm>
            <a:off x="3081725" y="4992421"/>
            <a:ext cx="74472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/>
              <a:t>Green zone</a:t>
            </a:r>
          </a:p>
        </p:txBody>
      </p:sp>
      <p:sp>
        <p:nvSpPr>
          <p:cNvPr id="62" name="Rektangel 61">
            <a:extLst>
              <a:ext uri="{FF2B5EF4-FFF2-40B4-BE49-F238E27FC236}">
                <a16:creationId xmlns:a16="http://schemas.microsoft.com/office/drawing/2014/main" id="{FEF4E2E3-A794-FA0F-1BB0-81A369A9BC0D}"/>
              </a:ext>
            </a:extLst>
          </p:cNvPr>
          <p:cNvSpPr/>
          <p:nvPr/>
        </p:nvSpPr>
        <p:spPr>
          <a:xfrm>
            <a:off x="1625050" y="4075911"/>
            <a:ext cx="3643954" cy="310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1200" i="1" noProof="0" dirty="0">
                <a:solidFill>
                  <a:schemeClr val="tx1"/>
                </a:solidFill>
              </a:rPr>
              <a:t>Flexibility (15 GWh)</a:t>
            </a:r>
          </a:p>
        </p:txBody>
      </p:sp>
      <p:sp>
        <p:nvSpPr>
          <p:cNvPr id="66" name="Rektangel 65">
            <a:extLst>
              <a:ext uri="{FF2B5EF4-FFF2-40B4-BE49-F238E27FC236}">
                <a16:creationId xmlns:a16="http://schemas.microsoft.com/office/drawing/2014/main" id="{A28649BD-1C48-6006-9CF6-8BCF19140749}"/>
              </a:ext>
            </a:extLst>
          </p:cNvPr>
          <p:cNvSpPr/>
          <p:nvPr/>
        </p:nvSpPr>
        <p:spPr>
          <a:xfrm>
            <a:off x="1823013" y="2338001"/>
            <a:ext cx="3083403" cy="160367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750"/>
              </a:spcBef>
            </a:pPr>
            <a:r>
              <a:rPr lang="en-US" sz="1200" dirty="0">
                <a:solidFill>
                  <a:schemeClr val="tx1"/>
                </a:solidFill>
              </a:rPr>
              <a:t>The green zone has in beginning been limited due to: </a:t>
            </a:r>
          </a:p>
          <a:p>
            <a:pPr marL="228600" indent="-2286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r>
              <a:rPr lang="en-US" sz="1200" dirty="0">
                <a:solidFill>
                  <a:schemeClr val="tx1"/>
                </a:solidFill>
              </a:rPr>
              <a:t>Operational issues with the </a:t>
            </a:r>
            <a:r>
              <a:rPr lang="en-US" sz="1200" dirty="0" err="1">
                <a:solidFill>
                  <a:schemeClr val="tx1"/>
                </a:solidFill>
              </a:rPr>
              <a:t>Everdrup</a:t>
            </a:r>
            <a:r>
              <a:rPr lang="en-US" sz="1200" dirty="0">
                <a:solidFill>
                  <a:schemeClr val="tx1"/>
                </a:solidFill>
              </a:rPr>
              <a:t> compressor station </a:t>
            </a:r>
          </a:p>
          <a:p>
            <a:pPr marL="228600" indent="-228600">
              <a:lnSpc>
                <a:spcPct val="90000"/>
              </a:lnSpc>
              <a:spcBef>
                <a:spcPts val="750"/>
              </a:spcBef>
              <a:buFont typeface="+mj-lt"/>
              <a:buAutoNum type="arabicPeriod"/>
            </a:pPr>
            <a:r>
              <a:rPr lang="en-US" sz="1200" dirty="0">
                <a:solidFill>
                  <a:schemeClr val="tx1"/>
                </a:solidFill>
              </a:rPr>
              <a:t>Calibration of IT tools needed for the control center to properly operate</a:t>
            </a:r>
          </a:p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68" name="Lige forbindelse 67">
            <a:extLst>
              <a:ext uri="{FF2B5EF4-FFF2-40B4-BE49-F238E27FC236}">
                <a16:creationId xmlns:a16="http://schemas.microsoft.com/office/drawing/2014/main" id="{551D5FAF-D076-7CC1-C8C4-E0A9689D5510}"/>
              </a:ext>
            </a:extLst>
          </p:cNvPr>
          <p:cNvCxnSpPr>
            <a:cxnSpLocks/>
          </p:cNvCxnSpPr>
          <p:nvPr/>
        </p:nvCxnSpPr>
        <p:spPr>
          <a:xfrm>
            <a:off x="974780" y="1953906"/>
            <a:ext cx="9635307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8" name="Pladsholder til dato 3">
            <a:extLst>
              <a:ext uri="{FF2B5EF4-FFF2-40B4-BE49-F238E27FC236}">
                <a16:creationId xmlns:a16="http://schemas.microsoft.com/office/drawing/2014/main" id="{C2864778-9754-6C82-ED6D-5DD1321824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grpSp>
        <p:nvGrpSpPr>
          <p:cNvPr id="23" name="Gruppe 45">
            <a:extLst>
              <a:ext uri="{FF2B5EF4-FFF2-40B4-BE49-F238E27FC236}">
                <a16:creationId xmlns:a16="http://schemas.microsoft.com/office/drawing/2014/main" id="{D6856535-4EFA-4017-F3B3-F9B7E5EBF674}"/>
              </a:ext>
            </a:extLst>
          </p:cNvPr>
          <p:cNvGrpSpPr/>
          <p:nvPr/>
        </p:nvGrpSpPr>
        <p:grpSpPr>
          <a:xfrm>
            <a:off x="7796800" y="4374363"/>
            <a:ext cx="3480033" cy="1221875"/>
            <a:chOff x="1194063" y="330915"/>
            <a:chExt cx="3042938" cy="1061358"/>
          </a:xfrm>
        </p:grpSpPr>
        <p:sp>
          <p:nvSpPr>
            <p:cNvPr id="26" name="Cylinder 25">
              <a:extLst>
                <a:ext uri="{FF2B5EF4-FFF2-40B4-BE49-F238E27FC236}">
                  <a16:creationId xmlns:a16="http://schemas.microsoft.com/office/drawing/2014/main" id="{FD0479C2-EE70-2E3B-5760-E95F1B9DC6E9}"/>
                </a:ext>
              </a:extLst>
            </p:cNvPr>
            <p:cNvSpPr/>
            <p:nvPr/>
          </p:nvSpPr>
          <p:spPr>
            <a:xfrm rot="5400000">
              <a:off x="2184853" y="-659875"/>
              <a:ext cx="1061358" cy="3042938"/>
            </a:xfrm>
            <a:prstGeom prst="can">
              <a:avLst>
                <a:gd name="adj" fmla="val 22308"/>
              </a:avLst>
            </a:prstGeom>
            <a:solidFill>
              <a:schemeClr val="accent2"/>
            </a:solidFill>
            <a:ln w="12700" cap="flat" cmpd="sng" algn="ctr">
              <a:solidFill>
                <a:srgbClr val="008B8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endParaRPr lang="da-DK" sz="1200" dirty="0"/>
            </a:p>
          </p:txBody>
        </p:sp>
        <p:sp>
          <p:nvSpPr>
            <p:cNvPr id="27" name="Rektangel 49">
              <a:extLst>
                <a:ext uri="{FF2B5EF4-FFF2-40B4-BE49-F238E27FC236}">
                  <a16:creationId xmlns:a16="http://schemas.microsoft.com/office/drawing/2014/main" id="{063656D8-86DD-63C4-B59A-56F9381ADE71}"/>
                </a:ext>
              </a:extLst>
            </p:cNvPr>
            <p:cNvSpPr/>
            <p:nvPr/>
          </p:nvSpPr>
          <p:spPr>
            <a:xfrm>
              <a:off x="1337495" y="630370"/>
              <a:ext cx="2572418" cy="469061"/>
            </a:xfrm>
            <a:prstGeom prst="rect">
              <a:avLst/>
            </a:prstGeom>
            <a:pattFill prst="dkUpDiag">
              <a:fgClr>
                <a:srgbClr val="A0CD92">
                  <a:lumMod val="60000"/>
                  <a:lumOff val="40000"/>
                </a:srgbClr>
              </a:fgClr>
              <a:bgClr>
                <a:srgbClr val="FFFFFF"/>
              </a:bgClr>
            </a:patt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lnSpc>
                  <a:spcPct val="120000"/>
                </a:lnSpc>
              </a:pPr>
              <a:endParaRPr lang="da-DK" sz="1200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Rektangel 50">
              <a:extLst>
                <a:ext uri="{FF2B5EF4-FFF2-40B4-BE49-F238E27FC236}">
                  <a16:creationId xmlns:a16="http://schemas.microsoft.com/office/drawing/2014/main" id="{22B2618C-BB92-5A69-C7B0-4679F7C7FC07}"/>
                </a:ext>
              </a:extLst>
            </p:cNvPr>
            <p:cNvSpPr/>
            <p:nvPr/>
          </p:nvSpPr>
          <p:spPr>
            <a:xfrm>
              <a:off x="1337495" y="390725"/>
              <a:ext cx="2572036" cy="234530"/>
            </a:xfrm>
            <a:prstGeom prst="rect">
              <a:avLst/>
            </a:prstGeom>
            <a:pattFill prst="dkUpDiag">
              <a:fgClr>
                <a:srgbClr val="FFE57C"/>
              </a:fgClr>
              <a:bgClr>
                <a:srgbClr val="FFFFFF"/>
              </a:bgClr>
            </a:patt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750"/>
                </a:spcBef>
              </a:pPr>
              <a:endParaRPr lang="da-DK" sz="1200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69" name="Lige forbindelse 51">
              <a:extLst>
                <a:ext uri="{FF2B5EF4-FFF2-40B4-BE49-F238E27FC236}">
                  <a16:creationId xmlns:a16="http://schemas.microsoft.com/office/drawing/2014/main" id="{DBE1DF99-F949-3324-4EA4-22397C3AF1A5}"/>
                </a:ext>
              </a:extLst>
            </p:cNvPr>
            <p:cNvCxnSpPr>
              <a:cxnSpLocks/>
            </p:cNvCxnSpPr>
            <p:nvPr/>
          </p:nvCxnSpPr>
          <p:spPr>
            <a:xfrm>
              <a:off x="1337495" y="861574"/>
              <a:ext cx="2572036" cy="0"/>
            </a:xfrm>
            <a:prstGeom prst="line">
              <a:avLst/>
            </a:prstGeom>
            <a:noFill/>
            <a:ln w="28575" cap="flat" cmpd="sng" algn="ctr">
              <a:solidFill>
                <a:srgbClr val="008B8B"/>
              </a:solidFill>
              <a:prstDash val="solid"/>
              <a:miter lim="800000"/>
            </a:ln>
            <a:effectLst/>
          </p:spPr>
        </p:cxnSp>
        <p:sp>
          <p:nvSpPr>
            <p:cNvPr id="70" name="Rektangel 52">
              <a:extLst>
                <a:ext uri="{FF2B5EF4-FFF2-40B4-BE49-F238E27FC236}">
                  <a16:creationId xmlns:a16="http://schemas.microsoft.com/office/drawing/2014/main" id="{BCA99FDC-A9AD-7BFD-870A-CD3A58C65740}"/>
                </a:ext>
              </a:extLst>
            </p:cNvPr>
            <p:cNvSpPr/>
            <p:nvPr/>
          </p:nvSpPr>
          <p:spPr>
            <a:xfrm>
              <a:off x="1337495" y="1107393"/>
              <a:ext cx="2572036" cy="234530"/>
            </a:xfrm>
            <a:prstGeom prst="rect">
              <a:avLst/>
            </a:prstGeom>
            <a:pattFill prst="dkUpDiag">
              <a:fgClr>
                <a:srgbClr val="FFE57C"/>
              </a:fgClr>
              <a:bgClr>
                <a:srgbClr val="FFFFFF"/>
              </a:bgClr>
            </a:patt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750"/>
                </a:spcBef>
              </a:pPr>
              <a:endParaRPr lang="da-DK" sz="1200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cxnSp>
        <p:nvCxnSpPr>
          <p:cNvPr id="24" name="Lige forbindelse 46">
            <a:extLst>
              <a:ext uri="{FF2B5EF4-FFF2-40B4-BE49-F238E27FC236}">
                <a16:creationId xmlns:a16="http://schemas.microsoft.com/office/drawing/2014/main" id="{ADC0DF4D-56A4-B999-6078-052B5D42403B}"/>
              </a:ext>
            </a:extLst>
          </p:cNvPr>
          <p:cNvCxnSpPr>
            <a:cxnSpLocks/>
          </p:cNvCxnSpPr>
          <p:nvPr/>
        </p:nvCxnSpPr>
        <p:spPr>
          <a:xfrm flipV="1">
            <a:off x="7960835" y="4715673"/>
            <a:ext cx="2938263" cy="3410"/>
          </a:xfrm>
          <a:prstGeom prst="line">
            <a:avLst/>
          </a:prstGeom>
          <a:ln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Lige forbindelse 47">
            <a:extLst>
              <a:ext uri="{FF2B5EF4-FFF2-40B4-BE49-F238E27FC236}">
                <a16:creationId xmlns:a16="http://schemas.microsoft.com/office/drawing/2014/main" id="{3E273E26-684F-61EB-8646-5A65611CC1B0}"/>
              </a:ext>
            </a:extLst>
          </p:cNvPr>
          <p:cNvCxnSpPr>
            <a:cxnSpLocks/>
          </p:cNvCxnSpPr>
          <p:nvPr/>
        </p:nvCxnSpPr>
        <p:spPr>
          <a:xfrm flipV="1">
            <a:off x="7960835" y="5258024"/>
            <a:ext cx="2938263" cy="3410"/>
          </a:xfrm>
          <a:prstGeom prst="line">
            <a:avLst/>
          </a:prstGeom>
          <a:ln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ktangel 61">
            <a:extLst>
              <a:ext uri="{FF2B5EF4-FFF2-40B4-BE49-F238E27FC236}">
                <a16:creationId xmlns:a16="http://schemas.microsoft.com/office/drawing/2014/main" id="{05FE5981-1672-EEE7-C858-7BDC6FE81DF7}"/>
              </a:ext>
            </a:extLst>
          </p:cNvPr>
          <p:cNvSpPr/>
          <p:nvPr/>
        </p:nvSpPr>
        <p:spPr>
          <a:xfrm>
            <a:off x="5386161" y="4075911"/>
            <a:ext cx="2204287" cy="310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1200" i="1" noProof="0" dirty="0">
                <a:solidFill>
                  <a:schemeClr val="tx1"/>
                </a:solidFill>
              </a:rPr>
              <a:t>Flexibility (25 GWh)</a:t>
            </a:r>
          </a:p>
        </p:txBody>
      </p:sp>
      <p:sp>
        <p:nvSpPr>
          <p:cNvPr id="72" name="Rektangel 65">
            <a:extLst>
              <a:ext uri="{FF2B5EF4-FFF2-40B4-BE49-F238E27FC236}">
                <a16:creationId xmlns:a16="http://schemas.microsoft.com/office/drawing/2014/main" id="{4387D689-3864-8EFA-87B1-C85D73D19FDA}"/>
              </a:ext>
            </a:extLst>
          </p:cNvPr>
          <p:cNvSpPr/>
          <p:nvPr/>
        </p:nvSpPr>
        <p:spPr>
          <a:xfrm>
            <a:off x="5446700" y="2338001"/>
            <a:ext cx="2479008" cy="160367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750"/>
              </a:spcBef>
            </a:pPr>
            <a:r>
              <a:rPr lang="en-US" sz="1200" dirty="0">
                <a:solidFill>
                  <a:schemeClr val="tx1"/>
                </a:solidFill>
              </a:rPr>
              <a:t>On February 14 Energinet implemented an operational bypass solution with Gaz-system which increased flexibilit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Tekstfelt 58">
            <a:extLst>
              <a:ext uri="{FF2B5EF4-FFF2-40B4-BE49-F238E27FC236}">
                <a16:creationId xmlns:a16="http://schemas.microsoft.com/office/drawing/2014/main" id="{FA2C5613-4B9A-B8A0-99C5-14CD9D839844}"/>
              </a:ext>
            </a:extLst>
          </p:cNvPr>
          <p:cNvSpPr txBox="1"/>
          <p:nvPr/>
        </p:nvSpPr>
        <p:spPr>
          <a:xfrm>
            <a:off x="9077433" y="4992421"/>
            <a:ext cx="74472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/>
              <a:t>Green zone</a:t>
            </a:r>
          </a:p>
        </p:txBody>
      </p:sp>
      <p:sp>
        <p:nvSpPr>
          <p:cNvPr id="75" name="Rektangel 61">
            <a:extLst>
              <a:ext uri="{FF2B5EF4-FFF2-40B4-BE49-F238E27FC236}">
                <a16:creationId xmlns:a16="http://schemas.microsoft.com/office/drawing/2014/main" id="{1FBEEDC0-F3FE-ECF2-A48D-AF98C2DEA93A}"/>
              </a:ext>
            </a:extLst>
          </p:cNvPr>
          <p:cNvSpPr/>
          <p:nvPr/>
        </p:nvSpPr>
        <p:spPr>
          <a:xfrm>
            <a:off x="7711957" y="4075911"/>
            <a:ext cx="3475680" cy="310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1200" i="1" noProof="0" dirty="0">
                <a:solidFill>
                  <a:schemeClr val="tx1"/>
                </a:solidFill>
              </a:rPr>
              <a:t>Flexibility (max. </a:t>
            </a:r>
            <a:r>
              <a:rPr lang="en-US" sz="1200" i="1" dirty="0">
                <a:solidFill>
                  <a:schemeClr val="tx1"/>
                </a:solidFill>
              </a:rPr>
              <a:t>40</a:t>
            </a:r>
            <a:r>
              <a:rPr lang="en-US" sz="1200" i="1" noProof="0" dirty="0">
                <a:solidFill>
                  <a:schemeClr val="tx1"/>
                </a:solidFill>
              </a:rPr>
              <a:t> GWh)</a:t>
            </a:r>
          </a:p>
        </p:txBody>
      </p:sp>
      <p:cxnSp>
        <p:nvCxnSpPr>
          <p:cNvPr id="76" name="Lige pilforbindelse 56">
            <a:extLst>
              <a:ext uri="{FF2B5EF4-FFF2-40B4-BE49-F238E27FC236}">
                <a16:creationId xmlns:a16="http://schemas.microsoft.com/office/drawing/2014/main" id="{8CE62EA9-AE00-E400-DEA8-5B71F3BC5E53}"/>
              </a:ext>
            </a:extLst>
          </p:cNvPr>
          <p:cNvCxnSpPr>
            <a:cxnSpLocks/>
          </p:cNvCxnSpPr>
          <p:nvPr/>
        </p:nvCxnSpPr>
        <p:spPr>
          <a:xfrm>
            <a:off x="6488304" y="3657685"/>
            <a:ext cx="0" cy="3960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ktangel 65">
            <a:extLst>
              <a:ext uri="{FF2B5EF4-FFF2-40B4-BE49-F238E27FC236}">
                <a16:creationId xmlns:a16="http://schemas.microsoft.com/office/drawing/2014/main" id="{ED6B64F8-E92C-30AE-4DBF-F836EA9FC999}"/>
              </a:ext>
            </a:extLst>
          </p:cNvPr>
          <p:cNvSpPr/>
          <p:nvPr/>
        </p:nvSpPr>
        <p:spPr>
          <a:xfrm>
            <a:off x="8303586" y="2338001"/>
            <a:ext cx="2479008" cy="160367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750"/>
              </a:spcBef>
            </a:pPr>
            <a:r>
              <a:rPr lang="en-US" sz="1200" dirty="0">
                <a:solidFill>
                  <a:schemeClr val="tx1"/>
                </a:solidFill>
              </a:rPr>
              <a:t>Full flexibility will be reached when point 2 is resolved – expectation is within the coming months</a:t>
            </a:r>
          </a:p>
        </p:txBody>
      </p:sp>
      <p:cxnSp>
        <p:nvCxnSpPr>
          <p:cNvPr id="88" name="Lige pilforbindelse 56">
            <a:extLst>
              <a:ext uri="{FF2B5EF4-FFF2-40B4-BE49-F238E27FC236}">
                <a16:creationId xmlns:a16="http://schemas.microsoft.com/office/drawing/2014/main" id="{509D6FEC-628C-2479-73FF-6AC2CE6E5BD8}"/>
              </a:ext>
            </a:extLst>
          </p:cNvPr>
          <p:cNvCxnSpPr>
            <a:cxnSpLocks/>
          </p:cNvCxnSpPr>
          <p:nvPr/>
        </p:nvCxnSpPr>
        <p:spPr>
          <a:xfrm>
            <a:off x="9449797" y="3657685"/>
            <a:ext cx="0" cy="39600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Isosceles Triangle 90">
            <a:extLst>
              <a:ext uri="{FF2B5EF4-FFF2-40B4-BE49-F238E27FC236}">
                <a16:creationId xmlns:a16="http://schemas.microsoft.com/office/drawing/2014/main" id="{96EEE014-F0CC-436C-3132-5BED35618180}"/>
              </a:ext>
            </a:extLst>
          </p:cNvPr>
          <p:cNvSpPr/>
          <p:nvPr/>
        </p:nvSpPr>
        <p:spPr>
          <a:xfrm rot="5400000">
            <a:off x="5046591" y="3121054"/>
            <a:ext cx="281395" cy="112848"/>
          </a:xfrm>
          <a:prstGeom prst="triangle">
            <a:avLst/>
          </a:prstGeom>
          <a:solidFill>
            <a:schemeClr val="accent1">
              <a:alpha val="80000"/>
            </a:schemeClr>
          </a:solidFill>
          <a:ln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en-US" sz="2000" noProof="0" dirty="0"/>
          </a:p>
        </p:txBody>
      </p:sp>
      <p:sp>
        <p:nvSpPr>
          <p:cNvPr id="94" name="Isosceles Triangle 93">
            <a:extLst>
              <a:ext uri="{FF2B5EF4-FFF2-40B4-BE49-F238E27FC236}">
                <a16:creationId xmlns:a16="http://schemas.microsoft.com/office/drawing/2014/main" id="{4F3F3963-67A2-57BA-7EA6-6FFAE71C28A3}"/>
              </a:ext>
            </a:extLst>
          </p:cNvPr>
          <p:cNvSpPr/>
          <p:nvPr/>
        </p:nvSpPr>
        <p:spPr>
          <a:xfrm rot="5400000">
            <a:off x="7907567" y="3123505"/>
            <a:ext cx="281395" cy="112848"/>
          </a:xfrm>
          <a:prstGeom prst="triangle">
            <a:avLst/>
          </a:prstGeom>
          <a:solidFill>
            <a:schemeClr val="accent1">
              <a:alpha val="80000"/>
            </a:schemeClr>
          </a:solidFill>
          <a:ln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en-US" sz="2000" noProof="0" dirty="0"/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8B530333-CDE6-B2AF-4F45-A51929EE6C4A}"/>
              </a:ext>
            </a:extLst>
          </p:cNvPr>
          <p:cNvSpPr/>
          <p:nvPr/>
        </p:nvSpPr>
        <p:spPr>
          <a:xfrm>
            <a:off x="10677313" y="3461986"/>
            <a:ext cx="1418442" cy="668846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1100" noProof="0" dirty="0"/>
              <a:t>Green </a:t>
            </a:r>
            <a:r>
              <a:rPr lang="en-US" sz="1100" noProof="0" dirty="0" err="1"/>
              <a:t>zon</a:t>
            </a:r>
            <a:r>
              <a:rPr lang="en-US" sz="1100" dirty="0"/>
              <a:t>e lower than previously communicated</a:t>
            </a:r>
            <a:endParaRPr lang="en-US" sz="1100" noProof="0" dirty="0"/>
          </a:p>
        </p:txBody>
      </p:sp>
      <p:cxnSp>
        <p:nvCxnSpPr>
          <p:cNvPr id="98" name="Lige pilforbindelse 56">
            <a:extLst>
              <a:ext uri="{FF2B5EF4-FFF2-40B4-BE49-F238E27FC236}">
                <a16:creationId xmlns:a16="http://schemas.microsoft.com/office/drawing/2014/main" id="{49BD1CF8-66F0-0321-156D-6397D5E41810}"/>
              </a:ext>
            </a:extLst>
          </p:cNvPr>
          <p:cNvCxnSpPr>
            <a:cxnSpLocks/>
          </p:cNvCxnSpPr>
          <p:nvPr/>
        </p:nvCxnSpPr>
        <p:spPr>
          <a:xfrm flipH="1">
            <a:off x="10101558" y="3796409"/>
            <a:ext cx="508529" cy="265664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kstfelt 75">
            <a:extLst>
              <a:ext uri="{FF2B5EF4-FFF2-40B4-BE49-F238E27FC236}">
                <a16:creationId xmlns:a16="http://schemas.microsoft.com/office/drawing/2014/main" id="{2E71E360-AEDD-D65D-338F-0A3675E33F2A}"/>
              </a:ext>
            </a:extLst>
          </p:cNvPr>
          <p:cNvSpPr txBox="1"/>
          <p:nvPr/>
        </p:nvSpPr>
        <p:spPr>
          <a:xfrm>
            <a:off x="8327888" y="5698966"/>
            <a:ext cx="2204155" cy="2068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da-DK" sz="1200" i="1" kern="1200" dirty="0" err="1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eady</a:t>
            </a:r>
            <a:r>
              <a:rPr lang="da-DK" sz="1200" i="1" kern="12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a-DK" sz="1200" i="1" kern="1200" dirty="0" err="1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ate</a:t>
            </a:r>
            <a:endParaRPr lang="da-DK" sz="1200" i="1" dirty="0"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ktangel 36">
            <a:extLst>
              <a:ext uri="{FF2B5EF4-FFF2-40B4-BE49-F238E27FC236}">
                <a16:creationId xmlns:a16="http://schemas.microsoft.com/office/drawing/2014/main" id="{34425FAA-E743-08B3-B019-77877A123615}"/>
              </a:ext>
            </a:extLst>
          </p:cNvPr>
          <p:cNvSpPr/>
          <p:nvPr/>
        </p:nvSpPr>
        <p:spPr>
          <a:xfrm>
            <a:off x="1830078" y="4452298"/>
            <a:ext cx="3167694" cy="357943"/>
          </a:xfrm>
          <a:prstGeom prst="rect">
            <a:avLst/>
          </a:prstGeom>
          <a:solidFill>
            <a:srgbClr val="FFE57C">
              <a:alpha val="5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da-DK" sz="1200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Yellow zone</a:t>
            </a:r>
          </a:p>
        </p:txBody>
      </p:sp>
      <p:sp>
        <p:nvSpPr>
          <p:cNvPr id="4" name="Rektangel 36">
            <a:extLst>
              <a:ext uri="{FF2B5EF4-FFF2-40B4-BE49-F238E27FC236}">
                <a16:creationId xmlns:a16="http://schemas.microsoft.com/office/drawing/2014/main" id="{7013D374-B8A1-CF19-A0AB-7FEE6580B4CF}"/>
              </a:ext>
            </a:extLst>
          </p:cNvPr>
          <p:cNvSpPr/>
          <p:nvPr/>
        </p:nvSpPr>
        <p:spPr>
          <a:xfrm>
            <a:off x="1830078" y="5192438"/>
            <a:ext cx="3167694" cy="357943"/>
          </a:xfrm>
          <a:prstGeom prst="rect">
            <a:avLst/>
          </a:prstGeom>
          <a:solidFill>
            <a:srgbClr val="FFE57C">
              <a:alpha val="5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da-DK" sz="1200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Yellow zone</a:t>
            </a:r>
          </a:p>
        </p:txBody>
      </p:sp>
      <p:sp>
        <p:nvSpPr>
          <p:cNvPr id="10" name="Rektangel 36">
            <a:extLst>
              <a:ext uri="{FF2B5EF4-FFF2-40B4-BE49-F238E27FC236}">
                <a16:creationId xmlns:a16="http://schemas.microsoft.com/office/drawing/2014/main" id="{C96F5598-5BA2-F42C-0427-35FD26689170}"/>
              </a:ext>
            </a:extLst>
          </p:cNvPr>
          <p:cNvSpPr/>
          <p:nvPr/>
        </p:nvSpPr>
        <p:spPr>
          <a:xfrm>
            <a:off x="5612752" y="4437113"/>
            <a:ext cx="1697716" cy="330105"/>
          </a:xfrm>
          <a:prstGeom prst="rect">
            <a:avLst/>
          </a:prstGeom>
          <a:solidFill>
            <a:srgbClr val="FFE57C">
              <a:alpha val="5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da-DK" sz="1200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Yellow zone</a:t>
            </a:r>
          </a:p>
        </p:txBody>
      </p:sp>
      <p:sp>
        <p:nvSpPr>
          <p:cNvPr id="11" name="Rektangel 36">
            <a:extLst>
              <a:ext uri="{FF2B5EF4-FFF2-40B4-BE49-F238E27FC236}">
                <a16:creationId xmlns:a16="http://schemas.microsoft.com/office/drawing/2014/main" id="{E2CD3985-F61E-450A-5019-893E6926D8BF}"/>
              </a:ext>
            </a:extLst>
          </p:cNvPr>
          <p:cNvSpPr/>
          <p:nvPr/>
        </p:nvSpPr>
        <p:spPr>
          <a:xfrm>
            <a:off x="5612751" y="5218272"/>
            <a:ext cx="1697716" cy="317730"/>
          </a:xfrm>
          <a:prstGeom prst="rect">
            <a:avLst/>
          </a:prstGeom>
          <a:solidFill>
            <a:srgbClr val="FFE57C">
              <a:alpha val="5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da-DK" sz="1200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Yellow zone</a:t>
            </a:r>
          </a:p>
        </p:txBody>
      </p:sp>
      <p:sp>
        <p:nvSpPr>
          <p:cNvPr id="12" name="Rektangel 36">
            <a:extLst>
              <a:ext uri="{FF2B5EF4-FFF2-40B4-BE49-F238E27FC236}">
                <a16:creationId xmlns:a16="http://schemas.microsoft.com/office/drawing/2014/main" id="{BA64089F-78FE-CCDB-9D45-E9945FA2724D}"/>
              </a:ext>
            </a:extLst>
          </p:cNvPr>
          <p:cNvSpPr/>
          <p:nvPr/>
        </p:nvSpPr>
        <p:spPr>
          <a:xfrm>
            <a:off x="7959552" y="4444394"/>
            <a:ext cx="2938263" cy="267053"/>
          </a:xfrm>
          <a:prstGeom prst="rect">
            <a:avLst/>
          </a:prstGeom>
          <a:solidFill>
            <a:srgbClr val="FFE57C">
              <a:alpha val="5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da-DK" sz="1200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Yellow zone</a:t>
            </a:r>
          </a:p>
        </p:txBody>
      </p:sp>
      <p:sp>
        <p:nvSpPr>
          <p:cNvPr id="13" name="Rektangel 36">
            <a:extLst>
              <a:ext uri="{FF2B5EF4-FFF2-40B4-BE49-F238E27FC236}">
                <a16:creationId xmlns:a16="http://schemas.microsoft.com/office/drawing/2014/main" id="{32FD66D8-A374-BF97-3C31-9ACFBE70BE5C}"/>
              </a:ext>
            </a:extLst>
          </p:cNvPr>
          <p:cNvSpPr/>
          <p:nvPr/>
        </p:nvSpPr>
        <p:spPr>
          <a:xfrm>
            <a:off x="7964061" y="5270212"/>
            <a:ext cx="2938263" cy="267053"/>
          </a:xfrm>
          <a:prstGeom prst="rect">
            <a:avLst/>
          </a:prstGeom>
          <a:solidFill>
            <a:srgbClr val="FFE57C">
              <a:alpha val="57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da-DK" sz="1200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Yellow zone</a:t>
            </a:r>
          </a:p>
        </p:txBody>
      </p:sp>
    </p:spTree>
    <p:extLst>
      <p:ext uri="{BB962C8B-B14F-4D97-AF65-F5344CB8AC3E}">
        <p14:creationId xmlns:p14="http://schemas.microsoft.com/office/powerpoint/2010/main" val="187519367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Rektangel: afrundede hjørner 7">
            <a:extLst>
              <a:ext uri="{FF2B5EF4-FFF2-40B4-BE49-F238E27FC236}">
                <a16:creationId xmlns:a16="http://schemas.microsoft.com/office/drawing/2014/main" id="{BEB7AC00-5175-5949-408E-9F7123337540}"/>
              </a:ext>
            </a:extLst>
          </p:cNvPr>
          <p:cNvSpPr/>
          <p:nvPr/>
        </p:nvSpPr>
        <p:spPr>
          <a:xfrm>
            <a:off x="684000" y="2208075"/>
            <a:ext cx="10836000" cy="392989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4CC162-FAC5-1A49-0A38-3B44DDCD3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4780" y="573076"/>
            <a:ext cx="10214464" cy="712414"/>
          </a:xfrm>
        </p:spPr>
        <p:txBody>
          <a:bodyPr/>
          <a:lstStyle/>
          <a:p>
            <a:r>
              <a:rPr lang="en-US" sz="3200" dirty="0"/>
              <a:t>Perspectives on the flexibility after 1 October 2022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1E5F368-05D5-4788-6EE6-74680125FD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96CE2C7-422E-0B1D-6F45-7AA9DA905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mtClean="0"/>
              <a:pPr/>
              <a:t>65</a:t>
            </a:fld>
            <a:endParaRPr lang="da-DK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80D14586-C700-C1C4-4A17-9C24CD06E47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74780" y="1308597"/>
            <a:ext cx="10214464" cy="720725"/>
          </a:xfrm>
        </p:spPr>
        <p:txBody>
          <a:bodyPr/>
          <a:lstStyle/>
          <a:p>
            <a:r>
              <a:rPr lang="en-US" sz="1800" dirty="0">
                <a:solidFill>
                  <a:schemeClr val="accent1"/>
                </a:solidFill>
              </a:rPr>
              <a:t>Energinet agrees that the previous communication should have been more precise, and should have included a disclaimer, as the calculations were made well in advance of the commencement of the Baltic Pipe. However:</a:t>
            </a:r>
          </a:p>
        </p:txBody>
      </p:sp>
      <p:sp>
        <p:nvSpPr>
          <p:cNvPr id="8" name="Pladsholder til dato 3">
            <a:extLst>
              <a:ext uri="{FF2B5EF4-FFF2-40B4-BE49-F238E27FC236}">
                <a16:creationId xmlns:a16="http://schemas.microsoft.com/office/drawing/2014/main" id="{C2864778-9754-6C82-ED6D-5DD1321824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3" name="Tekstfelt 10">
            <a:extLst>
              <a:ext uri="{FF2B5EF4-FFF2-40B4-BE49-F238E27FC236}">
                <a16:creationId xmlns:a16="http://schemas.microsoft.com/office/drawing/2014/main" id="{C4347E0E-6895-3682-F0C3-6F02E5226FB6}"/>
              </a:ext>
            </a:extLst>
          </p:cNvPr>
          <p:cNvSpPr txBox="1"/>
          <p:nvPr/>
        </p:nvSpPr>
        <p:spPr>
          <a:xfrm>
            <a:off x="1250738" y="2325839"/>
            <a:ext cx="414000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F</a:t>
            </a:r>
            <a:r>
              <a:rPr lang="en-US" sz="14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ull flexibility after October 2022 will in all scenarios be larger than </a:t>
            </a:r>
            <a:r>
              <a:rPr lang="en-US" sz="14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January-September 2022 (max. 16 GW)</a:t>
            </a:r>
            <a:endParaRPr lang="en-US" sz="1200" i="1" dirty="0">
              <a:latin typeface="+mj-lt"/>
            </a:endParaRPr>
          </a:p>
        </p:txBody>
      </p:sp>
      <p:cxnSp>
        <p:nvCxnSpPr>
          <p:cNvPr id="4" name="Lige forbindelse 11">
            <a:extLst>
              <a:ext uri="{FF2B5EF4-FFF2-40B4-BE49-F238E27FC236}">
                <a16:creationId xmlns:a16="http://schemas.microsoft.com/office/drawing/2014/main" id="{8B70EE2B-2177-A473-17EC-368EBFFD9862}"/>
              </a:ext>
            </a:extLst>
          </p:cNvPr>
          <p:cNvCxnSpPr>
            <a:cxnSpLocks/>
          </p:cNvCxnSpPr>
          <p:nvPr/>
        </p:nvCxnSpPr>
        <p:spPr>
          <a:xfrm>
            <a:off x="1250738" y="2838504"/>
            <a:ext cx="4113114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kstfelt 13">
            <a:extLst>
              <a:ext uri="{FF2B5EF4-FFF2-40B4-BE49-F238E27FC236}">
                <a16:creationId xmlns:a16="http://schemas.microsoft.com/office/drawing/2014/main" id="{9507F34A-4FD0-1C1D-E200-173FE4B07659}"/>
              </a:ext>
            </a:extLst>
          </p:cNvPr>
          <p:cNvSpPr txBox="1"/>
          <p:nvPr/>
        </p:nvSpPr>
        <p:spPr>
          <a:xfrm>
            <a:off x="6470087" y="2332202"/>
            <a:ext cx="414000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 new balancing model indirectly increases flexibility in the first part of the gas day. </a:t>
            </a:r>
            <a:endParaRPr lang="en-US" sz="1200" i="1" dirty="0">
              <a:latin typeface="+mj-lt"/>
            </a:endParaRPr>
          </a:p>
        </p:txBody>
      </p:sp>
      <p:cxnSp>
        <p:nvCxnSpPr>
          <p:cNvPr id="10" name="Lige forbindelse 14">
            <a:extLst>
              <a:ext uri="{FF2B5EF4-FFF2-40B4-BE49-F238E27FC236}">
                <a16:creationId xmlns:a16="http://schemas.microsoft.com/office/drawing/2014/main" id="{3CE7FD07-FB5D-DA5A-1E48-AF5C1A9AA8FF}"/>
              </a:ext>
            </a:extLst>
          </p:cNvPr>
          <p:cNvCxnSpPr>
            <a:cxnSpLocks/>
          </p:cNvCxnSpPr>
          <p:nvPr/>
        </p:nvCxnSpPr>
        <p:spPr>
          <a:xfrm>
            <a:off x="6470087" y="2838504"/>
            <a:ext cx="414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E7865866-7A48-AE3E-DF34-78B6B42A545B}"/>
              </a:ext>
            </a:extLst>
          </p:cNvPr>
          <p:cNvSpPr txBox="1"/>
          <p:nvPr/>
        </p:nvSpPr>
        <p:spPr>
          <a:xfrm>
            <a:off x="6527252" y="4910742"/>
            <a:ext cx="444851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i="1" dirty="0"/>
              <a:t>The figure illustrates that the nature of the fixed green zone value for the full gas day indirectly increases the flexibility in the first part of the gas day.</a:t>
            </a:r>
          </a:p>
        </p:txBody>
      </p:sp>
      <p:cxnSp>
        <p:nvCxnSpPr>
          <p:cNvPr id="16" name="Lige forbindelse 67">
            <a:extLst>
              <a:ext uri="{FF2B5EF4-FFF2-40B4-BE49-F238E27FC236}">
                <a16:creationId xmlns:a16="http://schemas.microsoft.com/office/drawing/2014/main" id="{B1ACFA8C-AC26-E414-9342-B78978A9C7AC}"/>
              </a:ext>
            </a:extLst>
          </p:cNvPr>
          <p:cNvCxnSpPr>
            <a:cxnSpLocks/>
          </p:cNvCxnSpPr>
          <p:nvPr/>
        </p:nvCxnSpPr>
        <p:spPr>
          <a:xfrm>
            <a:off x="974780" y="1953906"/>
            <a:ext cx="9635307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grpSp>
        <p:nvGrpSpPr>
          <p:cNvPr id="61" name="Group 60">
            <a:extLst>
              <a:ext uri="{FF2B5EF4-FFF2-40B4-BE49-F238E27FC236}">
                <a16:creationId xmlns:a16="http://schemas.microsoft.com/office/drawing/2014/main" id="{353B3E56-B806-B159-84E5-A633D6C2A87B}"/>
              </a:ext>
            </a:extLst>
          </p:cNvPr>
          <p:cNvGrpSpPr/>
          <p:nvPr/>
        </p:nvGrpSpPr>
        <p:grpSpPr>
          <a:xfrm>
            <a:off x="6068787" y="3217185"/>
            <a:ext cx="5040074" cy="1550489"/>
            <a:chOff x="1516105" y="2804660"/>
            <a:chExt cx="8565084" cy="2409023"/>
          </a:xfrm>
        </p:grpSpPr>
        <p:sp>
          <p:nvSpPr>
            <p:cNvPr id="63" name="Rektangel 65">
              <a:extLst>
                <a:ext uri="{FF2B5EF4-FFF2-40B4-BE49-F238E27FC236}">
                  <a16:creationId xmlns:a16="http://schemas.microsoft.com/office/drawing/2014/main" id="{4E3C7C67-A847-21ED-A856-2C14F8296052}"/>
                </a:ext>
              </a:extLst>
            </p:cNvPr>
            <p:cNvSpPr/>
            <p:nvPr/>
          </p:nvSpPr>
          <p:spPr>
            <a:xfrm>
              <a:off x="1516105" y="3684202"/>
              <a:ext cx="1695232" cy="1173304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750"/>
                </a:spcBef>
              </a:pPr>
              <a:r>
                <a:rPr lang="en-US" sz="1100" b="1" dirty="0">
                  <a:solidFill>
                    <a:schemeClr val="tx1"/>
                  </a:solidFill>
                </a:rPr>
                <a:t>Full green zone size for all gas day</a:t>
              </a:r>
            </a:p>
          </p:txBody>
        </p:sp>
        <p:sp>
          <p:nvSpPr>
            <p:cNvPr id="64" name="Cylinder 63">
              <a:extLst>
                <a:ext uri="{FF2B5EF4-FFF2-40B4-BE49-F238E27FC236}">
                  <a16:creationId xmlns:a16="http://schemas.microsoft.com/office/drawing/2014/main" id="{AA6FBF00-CECB-570C-2FD8-859046DE71B2}"/>
                </a:ext>
              </a:extLst>
            </p:cNvPr>
            <p:cNvSpPr/>
            <p:nvPr/>
          </p:nvSpPr>
          <p:spPr>
            <a:xfrm rot="5400000">
              <a:off x="5363963" y="1344110"/>
              <a:ext cx="1896336" cy="5776035"/>
            </a:xfrm>
            <a:prstGeom prst="can">
              <a:avLst>
                <a:gd name="adj" fmla="val 22308"/>
              </a:avLst>
            </a:prstGeom>
            <a:solidFill>
              <a:schemeClr val="accent2"/>
            </a:solidFill>
            <a:ln w="12700" cap="flat" cmpd="sng" algn="ctr">
              <a:solidFill>
                <a:srgbClr val="008B8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endParaRPr lang="da-DK" sz="1100"/>
            </a:p>
          </p:txBody>
        </p:sp>
        <p:cxnSp>
          <p:nvCxnSpPr>
            <p:cNvPr id="65" name="Lige forbindelse 14">
              <a:extLst>
                <a:ext uri="{FF2B5EF4-FFF2-40B4-BE49-F238E27FC236}">
                  <a16:creationId xmlns:a16="http://schemas.microsoft.com/office/drawing/2014/main" id="{9E23141B-F495-3A7C-966B-0DB42D7962E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29578" y="4230066"/>
              <a:ext cx="4912500" cy="14927"/>
            </a:xfrm>
            <a:prstGeom prst="line">
              <a:avLst/>
            </a:prstGeom>
            <a:noFill/>
            <a:ln w="28575" cap="flat" cmpd="sng" algn="ctr">
              <a:solidFill>
                <a:srgbClr val="008B8B"/>
              </a:solidFill>
              <a:prstDash val="solid"/>
              <a:miter lim="800000"/>
            </a:ln>
            <a:effectLst/>
          </p:spPr>
        </p:cxn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43C47A77-DBDA-EDA7-062A-61888DBD9C4D}"/>
                </a:ext>
              </a:extLst>
            </p:cNvPr>
            <p:cNvSpPr/>
            <p:nvPr/>
          </p:nvSpPr>
          <p:spPr>
            <a:xfrm>
              <a:off x="3629578" y="3328701"/>
              <a:ext cx="4912500" cy="1783963"/>
            </a:xfrm>
            <a:prstGeom prst="rect">
              <a:avLst/>
            </a:prstGeom>
            <a:pattFill prst="pct60">
              <a:fgClr>
                <a:schemeClr val="bg2">
                  <a:lumMod val="60000"/>
                  <a:lumOff val="40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750"/>
                </a:spcBef>
              </a:pPr>
              <a:endParaRPr lang="da-DK" sz="1100" noProof="0" dirty="0"/>
            </a:p>
          </p:txBody>
        </p:sp>
        <p:sp>
          <p:nvSpPr>
            <p:cNvPr id="74" name="Rektangel: øverste hjørner afklippet 63">
              <a:extLst>
                <a:ext uri="{FF2B5EF4-FFF2-40B4-BE49-F238E27FC236}">
                  <a16:creationId xmlns:a16="http://schemas.microsoft.com/office/drawing/2014/main" id="{55E8486F-2A11-19CD-0858-92B098D4D287}"/>
                </a:ext>
              </a:extLst>
            </p:cNvPr>
            <p:cNvSpPr/>
            <p:nvPr/>
          </p:nvSpPr>
          <p:spPr>
            <a:xfrm rot="16200000">
              <a:off x="5173145" y="1785136"/>
              <a:ext cx="1825371" cy="4912498"/>
            </a:xfrm>
            <a:custGeom>
              <a:avLst/>
              <a:gdLst>
                <a:gd name="connsiteX0" fmla="*/ 119063 w 352425"/>
                <a:gd name="connsiteY0" fmla="*/ 0 h 1733551"/>
                <a:gd name="connsiteX1" fmla="*/ 233362 w 352425"/>
                <a:gd name="connsiteY1" fmla="*/ 0 h 1733551"/>
                <a:gd name="connsiteX2" fmla="*/ 352425 w 352425"/>
                <a:gd name="connsiteY2" fmla="*/ 119063 h 1733551"/>
                <a:gd name="connsiteX3" fmla="*/ 352425 w 352425"/>
                <a:gd name="connsiteY3" fmla="*/ 1733551 h 1733551"/>
                <a:gd name="connsiteX4" fmla="*/ 352425 w 352425"/>
                <a:gd name="connsiteY4" fmla="*/ 1733551 h 1733551"/>
                <a:gd name="connsiteX5" fmla="*/ 0 w 352425"/>
                <a:gd name="connsiteY5" fmla="*/ 1733551 h 1733551"/>
                <a:gd name="connsiteX6" fmla="*/ 0 w 352425"/>
                <a:gd name="connsiteY6" fmla="*/ 1733551 h 1733551"/>
                <a:gd name="connsiteX7" fmla="*/ 0 w 352425"/>
                <a:gd name="connsiteY7" fmla="*/ 119063 h 1733551"/>
                <a:gd name="connsiteX8" fmla="*/ 119063 w 352425"/>
                <a:gd name="connsiteY8" fmla="*/ 0 h 1733551"/>
                <a:gd name="connsiteX0" fmla="*/ 119063 w 352425"/>
                <a:gd name="connsiteY0" fmla="*/ 0 h 1735932"/>
                <a:gd name="connsiteX1" fmla="*/ 233362 w 352425"/>
                <a:gd name="connsiteY1" fmla="*/ 0 h 1735932"/>
                <a:gd name="connsiteX2" fmla="*/ 352425 w 352425"/>
                <a:gd name="connsiteY2" fmla="*/ 119063 h 1735932"/>
                <a:gd name="connsiteX3" fmla="*/ 352425 w 352425"/>
                <a:gd name="connsiteY3" fmla="*/ 1733551 h 1735932"/>
                <a:gd name="connsiteX4" fmla="*/ 352425 w 352425"/>
                <a:gd name="connsiteY4" fmla="*/ 1733551 h 1735932"/>
                <a:gd name="connsiteX5" fmla="*/ 0 w 352425"/>
                <a:gd name="connsiteY5" fmla="*/ 1733551 h 1735932"/>
                <a:gd name="connsiteX6" fmla="*/ 0 w 352425"/>
                <a:gd name="connsiteY6" fmla="*/ 1733551 h 1735932"/>
                <a:gd name="connsiteX7" fmla="*/ 2382 w 352425"/>
                <a:gd name="connsiteY7" fmla="*/ 1735932 h 1735932"/>
                <a:gd name="connsiteX8" fmla="*/ 119063 w 352425"/>
                <a:gd name="connsiteY8" fmla="*/ 0 h 1735932"/>
                <a:gd name="connsiteX0" fmla="*/ 119063 w 352425"/>
                <a:gd name="connsiteY0" fmla="*/ 0 h 1735932"/>
                <a:gd name="connsiteX1" fmla="*/ 233362 w 352425"/>
                <a:gd name="connsiteY1" fmla="*/ 0 h 1735932"/>
                <a:gd name="connsiteX2" fmla="*/ 350043 w 352425"/>
                <a:gd name="connsiteY2" fmla="*/ 1731173 h 1735932"/>
                <a:gd name="connsiteX3" fmla="*/ 352425 w 352425"/>
                <a:gd name="connsiteY3" fmla="*/ 1733551 h 1735932"/>
                <a:gd name="connsiteX4" fmla="*/ 352425 w 352425"/>
                <a:gd name="connsiteY4" fmla="*/ 1733551 h 1735932"/>
                <a:gd name="connsiteX5" fmla="*/ 0 w 352425"/>
                <a:gd name="connsiteY5" fmla="*/ 1733551 h 1735932"/>
                <a:gd name="connsiteX6" fmla="*/ 0 w 352425"/>
                <a:gd name="connsiteY6" fmla="*/ 1733551 h 1735932"/>
                <a:gd name="connsiteX7" fmla="*/ 2382 w 352425"/>
                <a:gd name="connsiteY7" fmla="*/ 1735932 h 1735932"/>
                <a:gd name="connsiteX8" fmla="*/ 119063 w 352425"/>
                <a:gd name="connsiteY8" fmla="*/ 0 h 1735932"/>
                <a:gd name="connsiteX0" fmla="*/ 119063 w 352425"/>
                <a:gd name="connsiteY0" fmla="*/ 0 h 1733551"/>
                <a:gd name="connsiteX1" fmla="*/ 233362 w 352425"/>
                <a:gd name="connsiteY1" fmla="*/ 0 h 1733551"/>
                <a:gd name="connsiteX2" fmla="*/ 350043 w 352425"/>
                <a:gd name="connsiteY2" fmla="*/ 1731173 h 1733551"/>
                <a:gd name="connsiteX3" fmla="*/ 352425 w 352425"/>
                <a:gd name="connsiteY3" fmla="*/ 1733551 h 1733551"/>
                <a:gd name="connsiteX4" fmla="*/ 352425 w 352425"/>
                <a:gd name="connsiteY4" fmla="*/ 1733551 h 1733551"/>
                <a:gd name="connsiteX5" fmla="*/ 0 w 352425"/>
                <a:gd name="connsiteY5" fmla="*/ 1733551 h 1733551"/>
                <a:gd name="connsiteX6" fmla="*/ 0 w 352425"/>
                <a:gd name="connsiteY6" fmla="*/ 1733551 h 1733551"/>
                <a:gd name="connsiteX7" fmla="*/ 70166 w 352425"/>
                <a:gd name="connsiteY7" fmla="*/ 1731172 h 1733551"/>
                <a:gd name="connsiteX8" fmla="*/ 119063 w 352425"/>
                <a:gd name="connsiteY8" fmla="*/ 0 h 1733551"/>
                <a:gd name="connsiteX0" fmla="*/ 119063 w 352425"/>
                <a:gd name="connsiteY0" fmla="*/ 0 h 1733551"/>
                <a:gd name="connsiteX1" fmla="*/ 233362 w 352425"/>
                <a:gd name="connsiteY1" fmla="*/ 0 h 1733551"/>
                <a:gd name="connsiteX2" fmla="*/ 350043 w 352425"/>
                <a:gd name="connsiteY2" fmla="*/ 1731173 h 1733551"/>
                <a:gd name="connsiteX3" fmla="*/ 352425 w 352425"/>
                <a:gd name="connsiteY3" fmla="*/ 1733551 h 1733551"/>
                <a:gd name="connsiteX4" fmla="*/ 352425 w 352425"/>
                <a:gd name="connsiteY4" fmla="*/ 1733551 h 1733551"/>
                <a:gd name="connsiteX5" fmla="*/ 0 w 352425"/>
                <a:gd name="connsiteY5" fmla="*/ 1733551 h 1733551"/>
                <a:gd name="connsiteX6" fmla="*/ 215084 w 352425"/>
                <a:gd name="connsiteY6" fmla="*/ 1716882 h 1733551"/>
                <a:gd name="connsiteX7" fmla="*/ 70166 w 352425"/>
                <a:gd name="connsiteY7" fmla="*/ 1731172 h 1733551"/>
                <a:gd name="connsiteX8" fmla="*/ 119063 w 352425"/>
                <a:gd name="connsiteY8" fmla="*/ 0 h 1733551"/>
                <a:gd name="connsiteX0" fmla="*/ 48897 w 282259"/>
                <a:gd name="connsiteY0" fmla="*/ 0 h 1733551"/>
                <a:gd name="connsiteX1" fmla="*/ 163196 w 282259"/>
                <a:gd name="connsiteY1" fmla="*/ 0 h 1733551"/>
                <a:gd name="connsiteX2" fmla="*/ 279877 w 282259"/>
                <a:gd name="connsiteY2" fmla="*/ 1731173 h 1733551"/>
                <a:gd name="connsiteX3" fmla="*/ 282259 w 282259"/>
                <a:gd name="connsiteY3" fmla="*/ 1733551 h 1733551"/>
                <a:gd name="connsiteX4" fmla="*/ 282259 w 282259"/>
                <a:gd name="connsiteY4" fmla="*/ 1733551 h 1733551"/>
                <a:gd name="connsiteX5" fmla="*/ 24992 w 282259"/>
                <a:gd name="connsiteY5" fmla="*/ 1716882 h 1733551"/>
                <a:gd name="connsiteX6" fmla="*/ 144918 w 282259"/>
                <a:gd name="connsiteY6" fmla="*/ 1716882 h 1733551"/>
                <a:gd name="connsiteX7" fmla="*/ 0 w 282259"/>
                <a:gd name="connsiteY7" fmla="*/ 1731172 h 1733551"/>
                <a:gd name="connsiteX8" fmla="*/ 48897 w 282259"/>
                <a:gd name="connsiteY8" fmla="*/ 0 h 1733551"/>
                <a:gd name="connsiteX0" fmla="*/ 52583 w 285945"/>
                <a:gd name="connsiteY0" fmla="*/ 0 h 1735932"/>
                <a:gd name="connsiteX1" fmla="*/ 166882 w 285945"/>
                <a:gd name="connsiteY1" fmla="*/ 0 h 1735932"/>
                <a:gd name="connsiteX2" fmla="*/ 283563 w 285945"/>
                <a:gd name="connsiteY2" fmla="*/ 1731173 h 1735932"/>
                <a:gd name="connsiteX3" fmla="*/ 285945 w 285945"/>
                <a:gd name="connsiteY3" fmla="*/ 1733551 h 1735932"/>
                <a:gd name="connsiteX4" fmla="*/ 285945 w 285945"/>
                <a:gd name="connsiteY4" fmla="*/ 1733551 h 1735932"/>
                <a:gd name="connsiteX5" fmla="*/ 0 w 285945"/>
                <a:gd name="connsiteY5" fmla="*/ 1735932 h 1735932"/>
                <a:gd name="connsiteX6" fmla="*/ 148604 w 285945"/>
                <a:gd name="connsiteY6" fmla="*/ 1716882 h 1735932"/>
                <a:gd name="connsiteX7" fmla="*/ 3686 w 285945"/>
                <a:gd name="connsiteY7" fmla="*/ 1731172 h 1735932"/>
                <a:gd name="connsiteX8" fmla="*/ 52583 w 285945"/>
                <a:gd name="connsiteY8" fmla="*/ 0 h 1735932"/>
                <a:gd name="connsiteX0" fmla="*/ 52583 w 285945"/>
                <a:gd name="connsiteY0" fmla="*/ 0 h 1735965"/>
                <a:gd name="connsiteX1" fmla="*/ 166882 w 285945"/>
                <a:gd name="connsiteY1" fmla="*/ 0 h 1735965"/>
                <a:gd name="connsiteX2" fmla="*/ 283563 w 285945"/>
                <a:gd name="connsiteY2" fmla="*/ 1731173 h 1735965"/>
                <a:gd name="connsiteX3" fmla="*/ 285945 w 285945"/>
                <a:gd name="connsiteY3" fmla="*/ 1733551 h 1735965"/>
                <a:gd name="connsiteX4" fmla="*/ 285945 w 285945"/>
                <a:gd name="connsiteY4" fmla="*/ 1733551 h 1735965"/>
                <a:gd name="connsiteX5" fmla="*/ 0 w 285945"/>
                <a:gd name="connsiteY5" fmla="*/ 1735932 h 1735965"/>
                <a:gd name="connsiteX6" fmla="*/ 148604 w 285945"/>
                <a:gd name="connsiteY6" fmla="*/ 1716882 h 1735965"/>
                <a:gd name="connsiteX7" fmla="*/ 3686 w 285945"/>
                <a:gd name="connsiteY7" fmla="*/ 1731172 h 1735965"/>
                <a:gd name="connsiteX8" fmla="*/ 52583 w 285945"/>
                <a:gd name="connsiteY8" fmla="*/ 0 h 1735965"/>
                <a:gd name="connsiteX0" fmla="*/ 52583 w 285945"/>
                <a:gd name="connsiteY0" fmla="*/ 0 h 1737429"/>
                <a:gd name="connsiteX1" fmla="*/ 166882 w 285945"/>
                <a:gd name="connsiteY1" fmla="*/ 0 h 1737429"/>
                <a:gd name="connsiteX2" fmla="*/ 283563 w 285945"/>
                <a:gd name="connsiteY2" fmla="*/ 1731173 h 1737429"/>
                <a:gd name="connsiteX3" fmla="*/ 285945 w 285945"/>
                <a:gd name="connsiteY3" fmla="*/ 1733551 h 1737429"/>
                <a:gd name="connsiteX4" fmla="*/ 285945 w 285945"/>
                <a:gd name="connsiteY4" fmla="*/ 1733551 h 1737429"/>
                <a:gd name="connsiteX5" fmla="*/ 0 w 285945"/>
                <a:gd name="connsiteY5" fmla="*/ 1735932 h 1737429"/>
                <a:gd name="connsiteX6" fmla="*/ 148605 w 285945"/>
                <a:gd name="connsiteY6" fmla="*/ 1733554 h 1737429"/>
                <a:gd name="connsiteX7" fmla="*/ 3686 w 285945"/>
                <a:gd name="connsiteY7" fmla="*/ 1731172 h 1737429"/>
                <a:gd name="connsiteX8" fmla="*/ 52583 w 285945"/>
                <a:gd name="connsiteY8" fmla="*/ 0 h 1737429"/>
                <a:gd name="connsiteX0" fmla="*/ 52583 w 285945"/>
                <a:gd name="connsiteY0" fmla="*/ 0 h 1737429"/>
                <a:gd name="connsiteX1" fmla="*/ 166882 w 285945"/>
                <a:gd name="connsiteY1" fmla="*/ 0 h 1737429"/>
                <a:gd name="connsiteX2" fmla="*/ 283563 w 285945"/>
                <a:gd name="connsiteY2" fmla="*/ 1731173 h 1737429"/>
                <a:gd name="connsiteX3" fmla="*/ 285945 w 285945"/>
                <a:gd name="connsiteY3" fmla="*/ 1733551 h 1737429"/>
                <a:gd name="connsiteX4" fmla="*/ 285945 w 285945"/>
                <a:gd name="connsiteY4" fmla="*/ 1733551 h 1737429"/>
                <a:gd name="connsiteX5" fmla="*/ 0 w 285945"/>
                <a:gd name="connsiteY5" fmla="*/ 1735932 h 1737429"/>
                <a:gd name="connsiteX6" fmla="*/ 148605 w 285945"/>
                <a:gd name="connsiteY6" fmla="*/ 1733554 h 1737429"/>
                <a:gd name="connsiteX7" fmla="*/ 1731 w 285945"/>
                <a:gd name="connsiteY7" fmla="*/ 1735938 h 1737429"/>
                <a:gd name="connsiteX8" fmla="*/ 52583 w 285945"/>
                <a:gd name="connsiteY8" fmla="*/ 0 h 1737429"/>
                <a:gd name="connsiteX0" fmla="*/ 52583 w 285945"/>
                <a:gd name="connsiteY0" fmla="*/ 0 h 1737429"/>
                <a:gd name="connsiteX1" fmla="*/ 166882 w 285945"/>
                <a:gd name="connsiteY1" fmla="*/ 0 h 1737429"/>
                <a:gd name="connsiteX2" fmla="*/ 283563 w 285945"/>
                <a:gd name="connsiteY2" fmla="*/ 1731173 h 1737429"/>
                <a:gd name="connsiteX3" fmla="*/ 285945 w 285945"/>
                <a:gd name="connsiteY3" fmla="*/ 1733551 h 1737429"/>
                <a:gd name="connsiteX4" fmla="*/ 147119 w 285945"/>
                <a:gd name="connsiteY4" fmla="*/ 1733554 h 1737429"/>
                <a:gd name="connsiteX5" fmla="*/ 0 w 285945"/>
                <a:gd name="connsiteY5" fmla="*/ 1735932 h 1737429"/>
                <a:gd name="connsiteX6" fmla="*/ 148605 w 285945"/>
                <a:gd name="connsiteY6" fmla="*/ 1733554 h 1737429"/>
                <a:gd name="connsiteX7" fmla="*/ 1731 w 285945"/>
                <a:gd name="connsiteY7" fmla="*/ 1735938 h 1737429"/>
                <a:gd name="connsiteX8" fmla="*/ 52583 w 285945"/>
                <a:gd name="connsiteY8" fmla="*/ 0 h 1737429"/>
                <a:gd name="connsiteX0" fmla="*/ 52583 w 283563"/>
                <a:gd name="connsiteY0" fmla="*/ 0 h 1737429"/>
                <a:gd name="connsiteX1" fmla="*/ 166882 w 283563"/>
                <a:gd name="connsiteY1" fmla="*/ 0 h 1737429"/>
                <a:gd name="connsiteX2" fmla="*/ 283563 w 283563"/>
                <a:gd name="connsiteY2" fmla="*/ 1731173 h 1737429"/>
                <a:gd name="connsiteX3" fmla="*/ 136690 w 283563"/>
                <a:gd name="connsiteY3" fmla="*/ 1731173 h 1737429"/>
                <a:gd name="connsiteX4" fmla="*/ 147119 w 283563"/>
                <a:gd name="connsiteY4" fmla="*/ 1733554 h 1737429"/>
                <a:gd name="connsiteX5" fmla="*/ 0 w 283563"/>
                <a:gd name="connsiteY5" fmla="*/ 1735932 h 1737429"/>
                <a:gd name="connsiteX6" fmla="*/ 148605 w 283563"/>
                <a:gd name="connsiteY6" fmla="*/ 1733554 h 1737429"/>
                <a:gd name="connsiteX7" fmla="*/ 1731 w 283563"/>
                <a:gd name="connsiteY7" fmla="*/ 1735938 h 1737429"/>
                <a:gd name="connsiteX8" fmla="*/ 52583 w 283563"/>
                <a:gd name="connsiteY8" fmla="*/ 0 h 1737429"/>
                <a:gd name="connsiteX0" fmla="*/ 52583 w 216431"/>
                <a:gd name="connsiteY0" fmla="*/ 0 h 1737429"/>
                <a:gd name="connsiteX1" fmla="*/ 166882 w 216431"/>
                <a:gd name="connsiteY1" fmla="*/ 0 h 1737429"/>
                <a:gd name="connsiteX2" fmla="*/ 216431 w 216431"/>
                <a:gd name="connsiteY2" fmla="*/ 1733554 h 1737429"/>
                <a:gd name="connsiteX3" fmla="*/ 136690 w 216431"/>
                <a:gd name="connsiteY3" fmla="*/ 1731173 h 1737429"/>
                <a:gd name="connsiteX4" fmla="*/ 147119 w 216431"/>
                <a:gd name="connsiteY4" fmla="*/ 1733554 h 1737429"/>
                <a:gd name="connsiteX5" fmla="*/ 0 w 216431"/>
                <a:gd name="connsiteY5" fmla="*/ 1735932 h 1737429"/>
                <a:gd name="connsiteX6" fmla="*/ 148605 w 216431"/>
                <a:gd name="connsiteY6" fmla="*/ 1733554 h 1737429"/>
                <a:gd name="connsiteX7" fmla="*/ 1731 w 216431"/>
                <a:gd name="connsiteY7" fmla="*/ 1735938 h 1737429"/>
                <a:gd name="connsiteX8" fmla="*/ 52583 w 216431"/>
                <a:gd name="connsiteY8" fmla="*/ 0 h 1737429"/>
                <a:gd name="connsiteX0" fmla="*/ 52583 w 216431"/>
                <a:gd name="connsiteY0" fmla="*/ 0 h 1737429"/>
                <a:gd name="connsiteX1" fmla="*/ 123063 w 216431"/>
                <a:gd name="connsiteY1" fmla="*/ 9945 h 1737429"/>
                <a:gd name="connsiteX2" fmla="*/ 216431 w 216431"/>
                <a:gd name="connsiteY2" fmla="*/ 1733554 h 1737429"/>
                <a:gd name="connsiteX3" fmla="*/ 136690 w 216431"/>
                <a:gd name="connsiteY3" fmla="*/ 1731173 h 1737429"/>
                <a:gd name="connsiteX4" fmla="*/ 147119 w 216431"/>
                <a:gd name="connsiteY4" fmla="*/ 1733554 h 1737429"/>
                <a:gd name="connsiteX5" fmla="*/ 0 w 216431"/>
                <a:gd name="connsiteY5" fmla="*/ 1735932 h 1737429"/>
                <a:gd name="connsiteX6" fmla="*/ 148605 w 216431"/>
                <a:gd name="connsiteY6" fmla="*/ 1733554 h 1737429"/>
                <a:gd name="connsiteX7" fmla="*/ 1731 w 216431"/>
                <a:gd name="connsiteY7" fmla="*/ 1735938 h 1737429"/>
                <a:gd name="connsiteX8" fmla="*/ 52583 w 216431"/>
                <a:gd name="connsiteY8" fmla="*/ 0 h 1737429"/>
                <a:gd name="connsiteX0" fmla="*/ 84133 w 216431"/>
                <a:gd name="connsiteY0" fmla="*/ 4974 h 1727484"/>
                <a:gd name="connsiteX1" fmla="*/ 123063 w 216431"/>
                <a:gd name="connsiteY1" fmla="*/ 0 h 1727484"/>
                <a:gd name="connsiteX2" fmla="*/ 216431 w 216431"/>
                <a:gd name="connsiteY2" fmla="*/ 1723609 h 1727484"/>
                <a:gd name="connsiteX3" fmla="*/ 136690 w 216431"/>
                <a:gd name="connsiteY3" fmla="*/ 1721228 h 1727484"/>
                <a:gd name="connsiteX4" fmla="*/ 147119 w 216431"/>
                <a:gd name="connsiteY4" fmla="*/ 1723609 h 1727484"/>
                <a:gd name="connsiteX5" fmla="*/ 0 w 216431"/>
                <a:gd name="connsiteY5" fmla="*/ 1725987 h 1727484"/>
                <a:gd name="connsiteX6" fmla="*/ 148605 w 216431"/>
                <a:gd name="connsiteY6" fmla="*/ 1723609 h 1727484"/>
                <a:gd name="connsiteX7" fmla="*/ 1731 w 216431"/>
                <a:gd name="connsiteY7" fmla="*/ 1725993 h 1727484"/>
                <a:gd name="connsiteX8" fmla="*/ 84133 w 216431"/>
                <a:gd name="connsiteY8" fmla="*/ 4974 h 1727484"/>
                <a:gd name="connsiteX0" fmla="*/ 89391 w 216431"/>
                <a:gd name="connsiteY0" fmla="*/ 4976 h 1727484"/>
                <a:gd name="connsiteX1" fmla="*/ 123063 w 216431"/>
                <a:gd name="connsiteY1" fmla="*/ 0 h 1727484"/>
                <a:gd name="connsiteX2" fmla="*/ 216431 w 216431"/>
                <a:gd name="connsiteY2" fmla="*/ 1723609 h 1727484"/>
                <a:gd name="connsiteX3" fmla="*/ 136690 w 216431"/>
                <a:gd name="connsiteY3" fmla="*/ 1721228 h 1727484"/>
                <a:gd name="connsiteX4" fmla="*/ 147119 w 216431"/>
                <a:gd name="connsiteY4" fmla="*/ 1723609 h 1727484"/>
                <a:gd name="connsiteX5" fmla="*/ 0 w 216431"/>
                <a:gd name="connsiteY5" fmla="*/ 1725987 h 1727484"/>
                <a:gd name="connsiteX6" fmla="*/ 148605 w 216431"/>
                <a:gd name="connsiteY6" fmla="*/ 1723609 h 1727484"/>
                <a:gd name="connsiteX7" fmla="*/ 1731 w 216431"/>
                <a:gd name="connsiteY7" fmla="*/ 1725993 h 1727484"/>
                <a:gd name="connsiteX8" fmla="*/ 89391 w 216431"/>
                <a:gd name="connsiteY8" fmla="*/ 4976 h 172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431" h="1727484">
                  <a:moveTo>
                    <a:pt x="89391" y="4976"/>
                  </a:moveTo>
                  <a:lnTo>
                    <a:pt x="123063" y="0"/>
                  </a:lnTo>
                  <a:lnTo>
                    <a:pt x="216431" y="1723609"/>
                  </a:lnTo>
                  <a:lnTo>
                    <a:pt x="136690" y="1721228"/>
                  </a:lnTo>
                  <a:lnTo>
                    <a:pt x="147119" y="1723609"/>
                  </a:lnTo>
                  <a:lnTo>
                    <a:pt x="0" y="1725987"/>
                  </a:lnTo>
                  <a:cubicBezTo>
                    <a:pt x="50839" y="1726780"/>
                    <a:pt x="99070" y="1729959"/>
                    <a:pt x="148605" y="1723609"/>
                  </a:cubicBezTo>
                  <a:lnTo>
                    <a:pt x="1731" y="1725993"/>
                  </a:lnTo>
                  <a:lnTo>
                    <a:pt x="89391" y="4976"/>
                  </a:lnTo>
                  <a:close/>
                </a:path>
              </a:pathLst>
            </a:custGeom>
            <a:pattFill prst="trellis">
              <a:fgClr>
                <a:schemeClr val="bg2">
                  <a:lumMod val="75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750"/>
                </a:spcBef>
              </a:pPr>
              <a:endParaRPr lang="da-DK" sz="1100" noProof="0" dirty="0"/>
            </a:p>
          </p:txBody>
        </p:sp>
        <p:cxnSp>
          <p:nvCxnSpPr>
            <p:cNvPr id="78" name="Lige forbindelse 14">
              <a:extLst>
                <a:ext uri="{FF2B5EF4-FFF2-40B4-BE49-F238E27FC236}">
                  <a16:creationId xmlns:a16="http://schemas.microsoft.com/office/drawing/2014/main" id="{DBD9739A-63BD-EA3D-21D2-83A8D04FA631}"/>
                </a:ext>
              </a:extLst>
            </p:cNvPr>
            <p:cNvCxnSpPr>
              <a:cxnSpLocks/>
            </p:cNvCxnSpPr>
            <p:nvPr/>
          </p:nvCxnSpPr>
          <p:spPr>
            <a:xfrm>
              <a:off x="3608144" y="4230066"/>
              <a:ext cx="4933934" cy="2062"/>
            </a:xfrm>
            <a:prstGeom prst="line">
              <a:avLst/>
            </a:prstGeom>
            <a:noFill/>
            <a:ln w="28575" cap="flat" cmpd="sng" algn="ctr">
              <a:solidFill>
                <a:srgbClr val="008B8B"/>
              </a:solidFill>
              <a:prstDash val="solid"/>
              <a:miter lim="800000"/>
            </a:ln>
            <a:effectLst/>
          </p:spPr>
        </p:cxnSp>
        <p:sp>
          <p:nvSpPr>
            <p:cNvPr id="79" name="Left Brace 78">
              <a:extLst>
                <a:ext uri="{FF2B5EF4-FFF2-40B4-BE49-F238E27FC236}">
                  <a16:creationId xmlns:a16="http://schemas.microsoft.com/office/drawing/2014/main" id="{A64C27BB-666A-6293-9D3C-3F0807554CB4}"/>
                </a:ext>
              </a:extLst>
            </p:cNvPr>
            <p:cNvSpPr/>
            <p:nvPr/>
          </p:nvSpPr>
          <p:spPr>
            <a:xfrm>
              <a:off x="3244639" y="3290930"/>
              <a:ext cx="72510" cy="1922753"/>
            </a:xfrm>
            <a:prstGeom prst="leftBrac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 sz="1100"/>
            </a:p>
          </p:txBody>
        </p:sp>
        <p:sp>
          <p:nvSpPr>
            <p:cNvPr id="83" name="Rektangel 65">
              <a:extLst>
                <a:ext uri="{FF2B5EF4-FFF2-40B4-BE49-F238E27FC236}">
                  <a16:creationId xmlns:a16="http://schemas.microsoft.com/office/drawing/2014/main" id="{58386C4E-5D4C-917E-5E91-71EB09106E4C}"/>
                </a:ext>
              </a:extLst>
            </p:cNvPr>
            <p:cNvSpPr/>
            <p:nvPr/>
          </p:nvSpPr>
          <p:spPr>
            <a:xfrm>
              <a:off x="2363720" y="2804660"/>
              <a:ext cx="1695231" cy="395546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750"/>
                </a:spcBef>
              </a:pPr>
              <a:r>
                <a:rPr lang="en-US" sz="1100" b="1" dirty="0">
                  <a:solidFill>
                    <a:schemeClr val="tx1"/>
                  </a:solidFill>
                </a:rPr>
                <a:t>Start of gas day</a:t>
              </a:r>
            </a:p>
          </p:txBody>
        </p:sp>
        <p:sp>
          <p:nvSpPr>
            <p:cNvPr id="84" name="Rektangel 65">
              <a:extLst>
                <a:ext uri="{FF2B5EF4-FFF2-40B4-BE49-F238E27FC236}">
                  <a16:creationId xmlns:a16="http://schemas.microsoft.com/office/drawing/2014/main" id="{FAD11668-E947-366E-9A0C-40452B263521}"/>
                </a:ext>
              </a:extLst>
            </p:cNvPr>
            <p:cNvSpPr/>
            <p:nvPr/>
          </p:nvSpPr>
          <p:spPr>
            <a:xfrm>
              <a:off x="8385958" y="2804660"/>
              <a:ext cx="1695231" cy="395546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750"/>
                </a:spcBef>
              </a:pPr>
              <a:r>
                <a:rPr lang="en-US" sz="1100" b="1" dirty="0">
                  <a:solidFill>
                    <a:schemeClr val="tx1"/>
                  </a:solidFill>
                </a:rPr>
                <a:t>End of of gas day</a:t>
              </a:r>
            </a:p>
          </p:txBody>
        </p:sp>
        <p:sp>
          <p:nvSpPr>
            <p:cNvPr id="81" name="Tekstfelt 58">
              <a:extLst>
                <a:ext uri="{FF2B5EF4-FFF2-40B4-BE49-F238E27FC236}">
                  <a16:creationId xmlns:a16="http://schemas.microsoft.com/office/drawing/2014/main" id="{389EB107-368C-3064-857F-D4F016238031}"/>
                </a:ext>
              </a:extLst>
            </p:cNvPr>
            <p:cNvSpPr txBox="1"/>
            <p:nvPr/>
          </p:nvSpPr>
          <p:spPr>
            <a:xfrm>
              <a:off x="3734225" y="4765991"/>
              <a:ext cx="2578741" cy="2630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/>
                <a:t>Indirecty added flexibility</a:t>
              </a:r>
            </a:p>
          </p:txBody>
        </p:sp>
        <p:sp>
          <p:nvSpPr>
            <p:cNvPr id="82" name="Tekstfelt 58">
              <a:extLst>
                <a:ext uri="{FF2B5EF4-FFF2-40B4-BE49-F238E27FC236}">
                  <a16:creationId xmlns:a16="http://schemas.microsoft.com/office/drawing/2014/main" id="{99267CBB-6EAC-4FC7-4C02-308021AF7DD3}"/>
                </a:ext>
              </a:extLst>
            </p:cNvPr>
            <p:cNvSpPr txBox="1"/>
            <p:nvPr/>
          </p:nvSpPr>
          <p:spPr>
            <a:xfrm>
              <a:off x="6312126" y="3868952"/>
              <a:ext cx="2578741" cy="2630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/>
                <a:t>Hourly flexibility need</a:t>
              </a:r>
            </a:p>
          </p:txBody>
        </p:sp>
        <p:sp>
          <p:nvSpPr>
            <p:cNvPr id="80" name="Tekstfelt 58">
              <a:extLst>
                <a:ext uri="{FF2B5EF4-FFF2-40B4-BE49-F238E27FC236}">
                  <a16:creationId xmlns:a16="http://schemas.microsoft.com/office/drawing/2014/main" id="{F3AD0B33-C3A5-2E5A-00C6-5DBC6E4FAC3B}"/>
                </a:ext>
              </a:extLst>
            </p:cNvPr>
            <p:cNvSpPr txBox="1"/>
            <p:nvPr/>
          </p:nvSpPr>
          <p:spPr>
            <a:xfrm>
              <a:off x="3734225" y="3392676"/>
              <a:ext cx="2578741" cy="2630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100" b="1" dirty="0"/>
                <a:t>Indirecty added flexibility</a:t>
              </a:r>
            </a:p>
          </p:txBody>
        </p:sp>
      </p:grpSp>
      <p:sp>
        <p:nvSpPr>
          <p:cNvPr id="87" name="Rectangle 86">
            <a:extLst>
              <a:ext uri="{FF2B5EF4-FFF2-40B4-BE49-F238E27FC236}">
                <a16:creationId xmlns:a16="http://schemas.microsoft.com/office/drawing/2014/main" id="{3B935971-005B-9401-8D66-00DE0BA788AB}"/>
              </a:ext>
            </a:extLst>
          </p:cNvPr>
          <p:cNvSpPr/>
          <p:nvPr/>
        </p:nvSpPr>
        <p:spPr>
          <a:xfrm>
            <a:off x="7312448" y="3534058"/>
            <a:ext cx="2917402" cy="1203637"/>
          </a:xfrm>
          <a:prstGeom prst="rect">
            <a:avLst/>
          </a:prstGeom>
          <a:solidFill>
            <a:schemeClr val="accent2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en-US" sz="2000" noProof="0" dirty="0"/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18FF6B71-42A8-3196-A86C-D7D50D1078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3634189"/>
              </p:ext>
            </p:extLst>
          </p:nvPr>
        </p:nvGraphicFramePr>
        <p:xfrm>
          <a:off x="1250736" y="3354031"/>
          <a:ext cx="4113116" cy="2582192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028279">
                  <a:extLst>
                    <a:ext uri="{9D8B030D-6E8A-4147-A177-3AD203B41FA5}">
                      <a16:colId xmlns:a16="http://schemas.microsoft.com/office/drawing/2014/main" val="1359087564"/>
                    </a:ext>
                  </a:extLst>
                </a:gridCol>
                <a:gridCol w="1028279">
                  <a:extLst>
                    <a:ext uri="{9D8B030D-6E8A-4147-A177-3AD203B41FA5}">
                      <a16:colId xmlns:a16="http://schemas.microsoft.com/office/drawing/2014/main" val="2725931703"/>
                    </a:ext>
                  </a:extLst>
                </a:gridCol>
                <a:gridCol w="1028279">
                  <a:extLst>
                    <a:ext uri="{9D8B030D-6E8A-4147-A177-3AD203B41FA5}">
                      <a16:colId xmlns:a16="http://schemas.microsoft.com/office/drawing/2014/main" val="1431739308"/>
                    </a:ext>
                  </a:extLst>
                </a:gridCol>
                <a:gridCol w="1028279">
                  <a:extLst>
                    <a:ext uri="{9D8B030D-6E8A-4147-A177-3AD203B41FA5}">
                      <a16:colId xmlns:a16="http://schemas.microsoft.com/office/drawing/2014/main" val="2936342557"/>
                    </a:ext>
                  </a:extLst>
                </a:gridCol>
              </a:tblGrid>
              <a:tr h="508388">
                <a:tc>
                  <a:txBody>
                    <a:bodyPr/>
                    <a:lstStyle/>
                    <a:p>
                      <a:r>
                        <a:rPr lang="da-DK" sz="1500" dirty="0"/>
                        <a:t>BP f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 dirty="0"/>
                        <a:t>Green zone (</a:t>
                      </a:r>
                      <a:r>
                        <a:rPr lang="da-DK" sz="1500" dirty="0" err="1"/>
                        <a:t>avr</a:t>
                      </a:r>
                      <a:r>
                        <a:rPr lang="da-DK" sz="1500" dirty="0"/>
                        <a:t>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 dirty="0" err="1"/>
                        <a:t>Smoothing</a:t>
                      </a:r>
                      <a:endParaRPr lang="da-DK" sz="1500" dirty="0"/>
                    </a:p>
                    <a:p>
                      <a:r>
                        <a:rPr lang="da-DK" sz="1500" dirty="0"/>
                        <a:t>(</a:t>
                      </a:r>
                      <a:r>
                        <a:rPr lang="da-DK" sz="1500" dirty="0" err="1"/>
                        <a:t>fixed</a:t>
                      </a:r>
                      <a:r>
                        <a:rPr lang="da-DK" sz="15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500" dirty="0"/>
                        <a:t>Total </a:t>
                      </a:r>
                      <a:r>
                        <a:rPr lang="da-DK" sz="1500" dirty="0" err="1"/>
                        <a:t>flexibility</a:t>
                      </a:r>
                      <a:endParaRPr lang="da-DK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1379877"/>
                  </a:ext>
                </a:extLst>
              </a:tr>
              <a:tr h="508388">
                <a:tc>
                  <a:txBody>
                    <a:bodyPr/>
                    <a:lstStyle/>
                    <a:p>
                      <a:pPr algn="ctr"/>
                      <a:r>
                        <a:rPr lang="da-DK" sz="1500" dirty="0"/>
                        <a:t>20 pc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/>
                        <a:t>35 </a:t>
                      </a:r>
                      <a:r>
                        <a:rPr lang="da-DK" sz="1500" dirty="0" err="1"/>
                        <a:t>GWh</a:t>
                      </a:r>
                      <a:endParaRPr lang="da-DK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/>
                        <a:t>5 </a:t>
                      </a:r>
                      <a:r>
                        <a:rPr lang="da-DK" sz="1500" dirty="0" err="1"/>
                        <a:t>GWh</a:t>
                      </a:r>
                      <a:endParaRPr lang="da-DK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b="1" dirty="0"/>
                        <a:t>40 </a:t>
                      </a:r>
                      <a:r>
                        <a:rPr lang="da-DK" sz="1500" b="1" dirty="0" err="1"/>
                        <a:t>GWh</a:t>
                      </a:r>
                      <a:endParaRPr lang="da-DK" sz="15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9737621"/>
                  </a:ext>
                </a:extLst>
              </a:tr>
              <a:tr h="508388">
                <a:tc>
                  <a:txBody>
                    <a:bodyPr/>
                    <a:lstStyle/>
                    <a:p>
                      <a:pPr algn="ctr"/>
                      <a:r>
                        <a:rPr lang="da-DK" sz="1500" dirty="0"/>
                        <a:t>50 pc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/>
                        <a:t>29 </a:t>
                      </a:r>
                      <a:r>
                        <a:rPr lang="da-DK" sz="1500" dirty="0" err="1"/>
                        <a:t>GWh</a:t>
                      </a:r>
                      <a:endParaRPr lang="da-DK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/>
                        <a:t>5 </a:t>
                      </a:r>
                      <a:r>
                        <a:rPr lang="da-DK" sz="1500" dirty="0" err="1"/>
                        <a:t>GWh</a:t>
                      </a:r>
                      <a:endParaRPr lang="da-DK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b="1" dirty="0"/>
                        <a:t>34 </a:t>
                      </a:r>
                      <a:r>
                        <a:rPr lang="da-DK" sz="1500" b="1" dirty="0" err="1"/>
                        <a:t>GWh</a:t>
                      </a:r>
                      <a:endParaRPr lang="da-DK" sz="15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3539661"/>
                  </a:ext>
                </a:extLst>
              </a:tr>
              <a:tr h="508388">
                <a:tc>
                  <a:txBody>
                    <a:bodyPr/>
                    <a:lstStyle/>
                    <a:p>
                      <a:pPr algn="ctr"/>
                      <a:r>
                        <a:rPr lang="da-DK" sz="1500" dirty="0"/>
                        <a:t>80 pc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/>
                        <a:t>21 </a:t>
                      </a:r>
                      <a:r>
                        <a:rPr lang="da-DK" sz="1500" dirty="0" err="1"/>
                        <a:t>GWh</a:t>
                      </a:r>
                      <a:endParaRPr lang="da-DK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/>
                        <a:t>5 </a:t>
                      </a:r>
                      <a:r>
                        <a:rPr lang="da-DK" sz="1500" dirty="0" err="1"/>
                        <a:t>GWh</a:t>
                      </a:r>
                      <a:endParaRPr lang="da-DK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b="1" dirty="0"/>
                        <a:t>26 </a:t>
                      </a:r>
                      <a:r>
                        <a:rPr lang="da-DK" sz="1500" b="1" dirty="0" err="1"/>
                        <a:t>GWh</a:t>
                      </a:r>
                      <a:endParaRPr lang="da-DK" sz="15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2689890"/>
                  </a:ext>
                </a:extLst>
              </a:tr>
              <a:tr h="508388">
                <a:tc>
                  <a:txBody>
                    <a:bodyPr/>
                    <a:lstStyle/>
                    <a:p>
                      <a:pPr algn="ctr"/>
                      <a:r>
                        <a:rPr lang="da-DK" sz="1500" dirty="0"/>
                        <a:t>100 pc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/>
                        <a:t>16 </a:t>
                      </a:r>
                      <a:r>
                        <a:rPr lang="da-DK" sz="1500" dirty="0" err="1"/>
                        <a:t>GWh</a:t>
                      </a:r>
                      <a:endParaRPr lang="da-DK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dirty="0"/>
                        <a:t>5 </a:t>
                      </a:r>
                      <a:r>
                        <a:rPr lang="da-DK" sz="1500" dirty="0" err="1"/>
                        <a:t>GWh</a:t>
                      </a:r>
                      <a:endParaRPr lang="da-DK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500" b="1" dirty="0"/>
                        <a:t>21 </a:t>
                      </a:r>
                      <a:r>
                        <a:rPr lang="da-DK" sz="1500" b="1" dirty="0" err="1"/>
                        <a:t>GWh</a:t>
                      </a:r>
                      <a:endParaRPr lang="da-DK" sz="15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5293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715470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Rektangel: afrundede hjørner 7">
            <a:extLst>
              <a:ext uri="{FF2B5EF4-FFF2-40B4-BE49-F238E27FC236}">
                <a16:creationId xmlns:a16="http://schemas.microsoft.com/office/drawing/2014/main" id="{BEB7AC00-5175-5949-408E-9F7123337540}"/>
              </a:ext>
            </a:extLst>
          </p:cNvPr>
          <p:cNvSpPr/>
          <p:nvPr/>
        </p:nvSpPr>
        <p:spPr>
          <a:xfrm>
            <a:off x="552025" y="2208173"/>
            <a:ext cx="10836000" cy="392989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1600" noProof="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14CC162-FAC5-1A49-0A38-3B44DDCD3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4780" y="573076"/>
            <a:ext cx="10214464" cy="712414"/>
          </a:xfrm>
        </p:spPr>
        <p:txBody>
          <a:bodyPr/>
          <a:lstStyle/>
          <a:p>
            <a:r>
              <a:rPr lang="en-US" sz="3200" dirty="0"/>
              <a:t>Neutralization of imbalance fees after go-live</a:t>
            </a: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1E5F368-05D5-4788-6EE6-74680125FD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96CE2C7-422E-0B1D-6F45-7AA9DA905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mtClean="0"/>
              <a:pPr/>
              <a:t>66</a:t>
            </a:fld>
            <a:endParaRPr lang="da-DK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80D14586-C700-C1C4-4A17-9C24CD06E47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74780" y="1308597"/>
            <a:ext cx="10214464" cy="720725"/>
          </a:xfrm>
        </p:spPr>
        <p:txBody>
          <a:bodyPr/>
          <a:lstStyle/>
          <a:p>
            <a:r>
              <a:rPr lang="en-US" sz="1800" dirty="0"/>
              <a:t>Energinet has settled on principles that will guide the neutralization of imbalance fees in the period </a:t>
            </a:r>
            <a:br>
              <a:rPr lang="en-US" sz="1800" dirty="0"/>
            </a:br>
            <a:r>
              <a:rPr lang="en-US" sz="1800" dirty="0"/>
              <a:t>1 October 2022 – 8 January 2023. </a:t>
            </a:r>
            <a:endParaRPr lang="en-US" sz="1800" dirty="0">
              <a:solidFill>
                <a:schemeClr val="accent1"/>
              </a:solidFill>
            </a:endParaRPr>
          </a:p>
        </p:txBody>
      </p:sp>
      <p:sp>
        <p:nvSpPr>
          <p:cNvPr id="8" name="Pladsholder til dato 3">
            <a:extLst>
              <a:ext uri="{FF2B5EF4-FFF2-40B4-BE49-F238E27FC236}">
                <a16:creationId xmlns:a16="http://schemas.microsoft.com/office/drawing/2014/main" id="{C2864778-9754-6C82-ED6D-5DD1321824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cxnSp>
        <p:nvCxnSpPr>
          <p:cNvPr id="16" name="Lige forbindelse 67">
            <a:extLst>
              <a:ext uri="{FF2B5EF4-FFF2-40B4-BE49-F238E27FC236}">
                <a16:creationId xmlns:a16="http://schemas.microsoft.com/office/drawing/2014/main" id="{B1ACFA8C-AC26-E414-9342-B78978A9C7AC}"/>
              </a:ext>
            </a:extLst>
          </p:cNvPr>
          <p:cNvCxnSpPr>
            <a:cxnSpLocks/>
          </p:cNvCxnSpPr>
          <p:nvPr/>
        </p:nvCxnSpPr>
        <p:spPr>
          <a:xfrm>
            <a:off x="974780" y="1953906"/>
            <a:ext cx="9635307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" name="Tekstfelt 10">
            <a:extLst>
              <a:ext uri="{FF2B5EF4-FFF2-40B4-BE49-F238E27FC236}">
                <a16:creationId xmlns:a16="http://schemas.microsoft.com/office/drawing/2014/main" id="{6A155D0A-2424-ADD3-254D-37EE5E337770}"/>
              </a:ext>
            </a:extLst>
          </p:cNvPr>
          <p:cNvSpPr txBox="1"/>
          <p:nvPr/>
        </p:nvSpPr>
        <p:spPr>
          <a:xfrm>
            <a:off x="1250738" y="2363848"/>
            <a:ext cx="270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i="1" dirty="0"/>
              <a:t>Background</a:t>
            </a:r>
          </a:p>
        </p:txBody>
      </p:sp>
      <p:cxnSp>
        <p:nvCxnSpPr>
          <p:cNvPr id="13" name="Lige forbindelse 11">
            <a:extLst>
              <a:ext uri="{FF2B5EF4-FFF2-40B4-BE49-F238E27FC236}">
                <a16:creationId xmlns:a16="http://schemas.microsoft.com/office/drawing/2014/main" id="{A8A4E4B1-08DB-FB87-9415-D8559E16972A}"/>
              </a:ext>
            </a:extLst>
          </p:cNvPr>
          <p:cNvCxnSpPr>
            <a:cxnSpLocks/>
          </p:cNvCxnSpPr>
          <p:nvPr/>
        </p:nvCxnSpPr>
        <p:spPr>
          <a:xfrm>
            <a:off x="1250738" y="2673851"/>
            <a:ext cx="270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kstfelt 12">
            <a:extLst>
              <a:ext uri="{FF2B5EF4-FFF2-40B4-BE49-F238E27FC236}">
                <a16:creationId xmlns:a16="http://schemas.microsoft.com/office/drawing/2014/main" id="{A82B1D4E-0B4E-64D9-BFAE-6279032EFC2A}"/>
              </a:ext>
            </a:extLst>
          </p:cNvPr>
          <p:cNvSpPr txBox="1"/>
          <p:nvPr/>
        </p:nvSpPr>
        <p:spPr>
          <a:xfrm>
            <a:off x="1250738" y="2762388"/>
            <a:ext cx="2700000" cy="3240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300" dirty="0"/>
              <a:t>Data and IT challenges adversely affected the shipper's ability to properly balance during the start-up phase</a:t>
            </a:r>
            <a:endParaRPr lang="en-US" sz="13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3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da-DK" sz="1300" dirty="0">
                <a:latin typeface="+mj-lt"/>
              </a:rPr>
              <a:t>Energinet has therefore, based on input from the market, put forward a series of principles that will guide neutralization</a:t>
            </a:r>
          </a:p>
          <a:p>
            <a:endParaRPr lang="en-US" altLang="da-DK" sz="13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da-DK" sz="1300" dirty="0">
                <a:latin typeface="+mj-lt"/>
              </a:rPr>
              <a:t>The neutralization is an add-on to the implemented No Punishment principle (NPP), which is applied both during and after the defined perio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da-DK" sz="13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da-DK" sz="13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da-DK" sz="13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da-DK" sz="13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da-DK" sz="13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da-DK" sz="1300" dirty="0"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a-DK" altLang="da-DK" sz="1300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300" dirty="0">
              <a:latin typeface="+mj-lt"/>
            </a:endParaRPr>
          </a:p>
        </p:txBody>
      </p:sp>
      <p:sp>
        <p:nvSpPr>
          <p:cNvPr id="18" name="Tekstfelt 13">
            <a:extLst>
              <a:ext uri="{FF2B5EF4-FFF2-40B4-BE49-F238E27FC236}">
                <a16:creationId xmlns:a16="http://schemas.microsoft.com/office/drawing/2014/main" id="{76974F6E-4760-D0E1-94DE-70FF8EBCF546}"/>
              </a:ext>
            </a:extLst>
          </p:cNvPr>
          <p:cNvSpPr txBox="1"/>
          <p:nvPr/>
        </p:nvSpPr>
        <p:spPr>
          <a:xfrm>
            <a:off x="4844465" y="2363848"/>
            <a:ext cx="272525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i="1" dirty="0"/>
              <a:t>Principles</a:t>
            </a:r>
          </a:p>
        </p:txBody>
      </p:sp>
      <p:cxnSp>
        <p:nvCxnSpPr>
          <p:cNvPr id="19" name="Lige forbindelse 14">
            <a:extLst>
              <a:ext uri="{FF2B5EF4-FFF2-40B4-BE49-F238E27FC236}">
                <a16:creationId xmlns:a16="http://schemas.microsoft.com/office/drawing/2014/main" id="{D57FD3C0-C9BE-3410-6A55-A495112010AE}"/>
              </a:ext>
            </a:extLst>
          </p:cNvPr>
          <p:cNvCxnSpPr>
            <a:cxnSpLocks/>
          </p:cNvCxnSpPr>
          <p:nvPr/>
        </p:nvCxnSpPr>
        <p:spPr>
          <a:xfrm>
            <a:off x="4844466" y="2673851"/>
            <a:ext cx="270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Lige forbindelse 14">
            <a:extLst>
              <a:ext uri="{FF2B5EF4-FFF2-40B4-BE49-F238E27FC236}">
                <a16:creationId xmlns:a16="http://schemas.microsoft.com/office/drawing/2014/main" id="{2A3569DA-E961-C4DF-FA2F-DE8A4D38A523}"/>
              </a:ext>
            </a:extLst>
          </p:cNvPr>
          <p:cNvCxnSpPr>
            <a:cxnSpLocks/>
          </p:cNvCxnSpPr>
          <p:nvPr/>
        </p:nvCxnSpPr>
        <p:spPr>
          <a:xfrm>
            <a:off x="8206909" y="2673851"/>
            <a:ext cx="270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kstfelt 13">
            <a:extLst>
              <a:ext uri="{FF2B5EF4-FFF2-40B4-BE49-F238E27FC236}">
                <a16:creationId xmlns:a16="http://schemas.microsoft.com/office/drawing/2014/main" id="{998EA77F-6D86-3CDF-8FDC-C4F4BB894090}"/>
              </a:ext>
            </a:extLst>
          </p:cNvPr>
          <p:cNvSpPr txBox="1"/>
          <p:nvPr/>
        </p:nvSpPr>
        <p:spPr>
          <a:xfrm>
            <a:off x="4869724" y="2762388"/>
            <a:ext cx="2700000" cy="32399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Individual assessment of all days in the period </a:t>
            </a:r>
          </a:p>
          <a:p>
            <a:endParaRPr lang="en-US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8 January was chosen as the end date since the last known matching issues were resolved on this 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However, Energinet expects that there will be a few gas days after the 8 January that will also be neutraliz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Neutralization will only apply to shippers with JEZ consum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hippers are not assessed individually</a:t>
            </a:r>
            <a:endParaRPr lang="en-US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00" dirty="0"/>
          </a:p>
        </p:txBody>
      </p:sp>
      <p:sp>
        <p:nvSpPr>
          <p:cNvPr id="12" name="Tekstfelt 13">
            <a:extLst>
              <a:ext uri="{FF2B5EF4-FFF2-40B4-BE49-F238E27FC236}">
                <a16:creationId xmlns:a16="http://schemas.microsoft.com/office/drawing/2014/main" id="{0045343D-A388-F120-3E15-8587317FE8A8}"/>
              </a:ext>
            </a:extLst>
          </p:cNvPr>
          <p:cNvSpPr txBox="1"/>
          <p:nvPr/>
        </p:nvSpPr>
        <p:spPr>
          <a:xfrm>
            <a:off x="8206909" y="2363848"/>
            <a:ext cx="270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i="1" dirty="0"/>
              <a:t>Neutralization method</a:t>
            </a:r>
          </a:p>
        </p:txBody>
      </p:sp>
      <p:sp>
        <p:nvSpPr>
          <p:cNvPr id="14" name="Tekstfelt 12">
            <a:extLst>
              <a:ext uri="{FF2B5EF4-FFF2-40B4-BE49-F238E27FC236}">
                <a16:creationId xmlns:a16="http://schemas.microsoft.com/office/drawing/2014/main" id="{E9F0F26C-2D59-92C3-60D4-B3877FAE14C9}"/>
              </a:ext>
            </a:extLst>
          </p:cNvPr>
          <p:cNvSpPr txBox="1"/>
          <p:nvPr/>
        </p:nvSpPr>
        <p:spPr>
          <a:xfrm>
            <a:off x="8241262" y="2762388"/>
            <a:ext cx="2700000" cy="3240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The imbalance price will be replaced by the European Gas Spot Index price (EGSI)</a:t>
            </a:r>
          </a:p>
          <a:p>
            <a:endParaRPr lang="en-US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The EGSI-price is also used in the ordinary NPP settlement for causer alloc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/>
              <a:t>Neutralization will be carried out in parallel with the ordinary balance invoicing</a:t>
            </a:r>
          </a:p>
          <a:p>
            <a:pPr lvl="1"/>
            <a:endParaRPr lang="en-US" sz="1300" dirty="0"/>
          </a:p>
          <a:p>
            <a:endParaRPr lang="en-US" sz="13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3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a-DK" altLang="da-DK" sz="1300" dirty="0">
              <a:latin typeface="inheri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300" dirty="0"/>
          </a:p>
        </p:txBody>
      </p:sp>
    </p:spTree>
    <p:extLst>
      <p:ext uri="{BB962C8B-B14F-4D97-AF65-F5344CB8AC3E}">
        <p14:creationId xmlns:p14="http://schemas.microsoft.com/office/powerpoint/2010/main" val="205998676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1"/>
          </p:nvPr>
        </p:nvSpPr>
        <p:spPr>
          <a:xfrm>
            <a:off x="389377" y="5826642"/>
            <a:ext cx="4777710" cy="373914"/>
          </a:xfrm>
        </p:spPr>
        <p:txBody>
          <a:bodyPr/>
          <a:lstStyle/>
          <a:p>
            <a:r>
              <a:rPr lang="da-DK" dirty="0"/>
              <a:t>Contact: cru@energinet.dk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515399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BE0AB1AB-F000-41C9-B25C-8829AC2584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42964" y="3780149"/>
            <a:ext cx="7106073" cy="1470041"/>
          </a:xfrm>
        </p:spPr>
        <p:txBody>
          <a:bodyPr/>
          <a:lstStyle/>
          <a:p>
            <a:r>
              <a:rPr lang="en-US" dirty="0"/>
              <a:t>Capacity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CBA7BB5-7CCE-43FF-8F1D-1F8ADBF7C97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a-DK" dirty="0"/>
              <a:t>Christian Rutherford, Energinet</a:t>
            </a:r>
            <a:endParaRPr lang="en-US" dirty="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50FDB8B7-3E74-BD8C-BEFF-79AEDCB5885E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7723" y="1818472"/>
            <a:ext cx="1740567" cy="174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47988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7">
            <a:extLst>
              <a:ext uri="{FF2B5EF4-FFF2-40B4-BE49-F238E27FC236}">
                <a16:creationId xmlns:a16="http://schemas.microsoft.com/office/drawing/2014/main" id="{5F25F82D-8A12-4EB0-A7D2-716F7BD941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3240" y="1203699"/>
            <a:ext cx="10214464" cy="712414"/>
          </a:xfrm>
        </p:spPr>
        <p:txBody>
          <a:bodyPr/>
          <a:lstStyle/>
          <a:p>
            <a:br>
              <a:rPr lang="da-DK" dirty="0"/>
            </a:br>
            <a:r>
              <a:rPr lang="en-US" dirty="0"/>
              <a:t>Annual capacity offer for coming gas year </a:t>
            </a:r>
            <a:br>
              <a:rPr lang="en-US" dirty="0"/>
            </a:br>
            <a:r>
              <a:rPr lang="en-US" dirty="0"/>
              <a:t>Baltic Pipe and entry/exit points</a:t>
            </a:r>
            <a:endParaRPr lang="da-DK" dirty="0"/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33474EDB-B839-4A45-95BE-9B21B5C8C48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tretch/>
        </p:blipFill>
        <p:spPr>
          <a:xfrm>
            <a:off x="3380016" y="1911214"/>
            <a:ext cx="7522551" cy="4250503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Pladsholder til slidenummer 5" hidden="1">
            <a:extLst>
              <a:ext uri="{FF2B5EF4-FFF2-40B4-BE49-F238E27FC236}">
                <a16:creationId xmlns:a16="http://schemas.microsoft.com/office/drawing/2014/main" id="{A0A4E545-D6FE-7549-86C9-1BCA120F32F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80813" y="6526213"/>
            <a:ext cx="611187" cy="1793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69</a:t>
            </a:fld>
            <a:endParaRPr lang="da-DK" dirty="0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C600A8CF-EF2F-4DB6-91EB-11D57E88E1DE}"/>
              </a:ext>
            </a:extLst>
          </p:cNvPr>
          <p:cNvSpPr/>
          <p:nvPr/>
        </p:nvSpPr>
        <p:spPr>
          <a:xfrm rot="1586079">
            <a:off x="4894369" y="6504621"/>
            <a:ext cx="57972" cy="17740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FE9A84B-833A-45F7-BB53-8BD4CE1A2666}"/>
              </a:ext>
            </a:extLst>
          </p:cNvPr>
          <p:cNvSpPr/>
          <p:nvPr/>
        </p:nvSpPr>
        <p:spPr>
          <a:xfrm>
            <a:off x="3164621" y="6661136"/>
            <a:ext cx="8680222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51945A6F-843A-4AF6-BB2C-C41A6BBBF799}"/>
              </a:ext>
            </a:extLst>
          </p:cNvPr>
          <p:cNvSpPr txBox="1"/>
          <p:nvPr/>
        </p:nvSpPr>
        <p:spPr>
          <a:xfrm>
            <a:off x="8168027" y="2876745"/>
            <a:ext cx="444173" cy="123111"/>
          </a:xfrm>
          <a:prstGeom prst="rect">
            <a:avLst/>
          </a:prstGeom>
          <a:solidFill>
            <a:srgbClr val="E3E3E3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a-DK" sz="800" dirty="0">
                <a:ln>
                  <a:solidFill>
                    <a:schemeClr val="accent2"/>
                  </a:solidFill>
                </a:ln>
                <a:solidFill>
                  <a:srgbClr val="39717A"/>
                </a:solidFill>
              </a:rPr>
              <a:t>Offshore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6EC6FB9C-925C-4F25-B317-648C387455A5}"/>
              </a:ext>
            </a:extLst>
          </p:cNvPr>
          <p:cNvSpPr txBox="1"/>
          <p:nvPr/>
        </p:nvSpPr>
        <p:spPr>
          <a:xfrm>
            <a:off x="8168027" y="3067965"/>
            <a:ext cx="444173" cy="123111"/>
          </a:xfrm>
          <a:prstGeom prst="rect">
            <a:avLst/>
          </a:prstGeom>
          <a:solidFill>
            <a:srgbClr val="E3E3E3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a-DK" sz="800" dirty="0">
                <a:ln>
                  <a:solidFill>
                    <a:schemeClr val="accent2"/>
                  </a:solidFill>
                </a:ln>
                <a:solidFill>
                  <a:srgbClr val="39717A"/>
                </a:solidFill>
              </a:rPr>
              <a:t>Onshore</a:t>
            </a:r>
            <a:endParaRPr lang="da-DK" sz="1050" dirty="0">
              <a:ln>
                <a:solidFill>
                  <a:schemeClr val="accent2"/>
                </a:solidFill>
              </a:ln>
              <a:solidFill>
                <a:srgbClr val="39717A"/>
              </a:solidFill>
            </a:endParaRPr>
          </a:p>
        </p:txBody>
      </p:sp>
      <p:sp>
        <p:nvSpPr>
          <p:cNvPr id="23" name="Tekstfelt 22">
            <a:extLst>
              <a:ext uri="{FF2B5EF4-FFF2-40B4-BE49-F238E27FC236}">
                <a16:creationId xmlns:a16="http://schemas.microsoft.com/office/drawing/2014/main" id="{7FFB16B4-DE18-491A-9E32-9A907B02EE3F}"/>
              </a:ext>
            </a:extLst>
          </p:cNvPr>
          <p:cNvSpPr txBox="1"/>
          <p:nvPr/>
        </p:nvSpPr>
        <p:spPr>
          <a:xfrm>
            <a:off x="8168024" y="3229199"/>
            <a:ext cx="676355" cy="161583"/>
          </a:xfrm>
          <a:prstGeom prst="rect">
            <a:avLst/>
          </a:prstGeom>
          <a:solidFill>
            <a:srgbClr val="E3E3E3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ln>
                  <a:solidFill>
                    <a:schemeClr val="accent2"/>
                  </a:solidFill>
                </a:ln>
                <a:solidFill>
                  <a:srgbClr val="39717A"/>
                </a:solidFill>
              </a:rPr>
              <a:t>Existing</a:t>
            </a:r>
            <a:r>
              <a:rPr lang="da-DK" sz="1050" dirty="0">
                <a:ln>
                  <a:solidFill>
                    <a:schemeClr val="accent2"/>
                  </a:solidFill>
                </a:ln>
                <a:solidFill>
                  <a:srgbClr val="39717A"/>
                </a:solidFill>
              </a:rPr>
              <a:t> </a:t>
            </a:r>
            <a:r>
              <a:rPr lang="da-DK" sz="800" dirty="0">
                <a:ln>
                  <a:solidFill>
                    <a:schemeClr val="accent2"/>
                  </a:solidFill>
                </a:ln>
                <a:solidFill>
                  <a:srgbClr val="39717A"/>
                </a:solidFill>
              </a:rPr>
              <a:t>pipeline</a:t>
            </a:r>
            <a:endParaRPr lang="da-DK" sz="1050" dirty="0">
              <a:ln>
                <a:solidFill>
                  <a:schemeClr val="accent2"/>
                </a:solidFill>
              </a:ln>
              <a:solidFill>
                <a:srgbClr val="39717A"/>
              </a:solidFill>
            </a:endParaRPr>
          </a:p>
        </p:txBody>
      </p:sp>
      <p:sp>
        <p:nvSpPr>
          <p:cNvPr id="36" name="TextBox 6">
            <a:extLst>
              <a:ext uri="{FF2B5EF4-FFF2-40B4-BE49-F238E27FC236}">
                <a16:creationId xmlns:a16="http://schemas.microsoft.com/office/drawing/2014/main" id="{A127927C-61D2-4C32-99D7-B5AF2A7F3B0E}"/>
              </a:ext>
            </a:extLst>
          </p:cNvPr>
          <p:cNvSpPr txBox="1"/>
          <p:nvPr/>
        </p:nvSpPr>
        <p:spPr>
          <a:xfrm>
            <a:off x="1676389" y="2777311"/>
            <a:ext cx="2625710" cy="67710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600" u="sng" dirty="0"/>
              <a:t>North Sea entry 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otal capacity: 13,400 MWh/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Offer GY 23/24: 1,500 MWh/h</a:t>
            </a:r>
            <a:endParaRPr lang="en-US" sz="1600" dirty="0"/>
          </a:p>
        </p:txBody>
      </p:sp>
      <p:sp>
        <p:nvSpPr>
          <p:cNvPr id="37" name="TextBox 6">
            <a:extLst>
              <a:ext uri="{FF2B5EF4-FFF2-40B4-BE49-F238E27FC236}">
                <a16:creationId xmlns:a16="http://schemas.microsoft.com/office/drawing/2014/main" id="{B3E109B7-C6D3-4764-AAB3-7B8A884CFB58}"/>
              </a:ext>
            </a:extLst>
          </p:cNvPr>
          <p:cNvSpPr txBox="1"/>
          <p:nvPr/>
        </p:nvSpPr>
        <p:spPr>
          <a:xfrm>
            <a:off x="853240" y="3784395"/>
            <a:ext cx="2526776" cy="67710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600" u="sng" dirty="0" err="1"/>
              <a:t>Nybro</a:t>
            </a:r>
            <a:r>
              <a:rPr lang="en-US" sz="1600" u="sng" dirty="0"/>
              <a:t> entry 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otal capacity: 8,600 MWh/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Offer GY 23/24: 8,600 MWh/h</a:t>
            </a:r>
          </a:p>
        </p:txBody>
      </p:sp>
      <p:sp>
        <p:nvSpPr>
          <p:cNvPr id="38" name="TextBox 6">
            <a:extLst>
              <a:ext uri="{FF2B5EF4-FFF2-40B4-BE49-F238E27FC236}">
                <a16:creationId xmlns:a16="http://schemas.microsoft.com/office/drawing/2014/main" id="{A9C38A28-2BB1-49DA-A4BA-5B90BF75F0D4}"/>
              </a:ext>
            </a:extLst>
          </p:cNvPr>
          <p:cNvSpPr txBox="1"/>
          <p:nvPr/>
        </p:nvSpPr>
        <p:spPr>
          <a:xfrm>
            <a:off x="7462807" y="5793105"/>
            <a:ext cx="3373085" cy="67710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600" u="sng" dirty="0"/>
              <a:t>Faxe exit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otal capacity: 13,400 MWh/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Offer GY 23/24: 1,500 MWh/h </a:t>
            </a:r>
          </a:p>
        </p:txBody>
      </p:sp>
      <p:sp>
        <p:nvSpPr>
          <p:cNvPr id="40" name="TextBox 6">
            <a:extLst>
              <a:ext uri="{FF2B5EF4-FFF2-40B4-BE49-F238E27FC236}">
                <a16:creationId xmlns:a16="http://schemas.microsoft.com/office/drawing/2014/main" id="{5D8B311B-AF8E-4B26-AC33-A0D64DCBBB20}"/>
              </a:ext>
            </a:extLst>
          </p:cNvPr>
          <p:cNvSpPr txBox="1"/>
          <p:nvPr/>
        </p:nvSpPr>
        <p:spPr>
          <a:xfrm>
            <a:off x="1684690" y="4791479"/>
            <a:ext cx="2625710" cy="67710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600" u="sng" dirty="0" err="1"/>
              <a:t>Ellund</a:t>
            </a:r>
            <a:r>
              <a:rPr lang="en-US" sz="1600" u="sng" dirty="0"/>
              <a:t> ent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otal capacity: 7,400 MWh/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Offer GY 23/24: 5,600 MWh/h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6" name="TextBox 6">
            <a:extLst>
              <a:ext uri="{FF2B5EF4-FFF2-40B4-BE49-F238E27FC236}">
                <a16:creationId xmlns:a16="http://schemas.microsoft.com/office/drawing/2014/main" id="{9C566EA8-36FC-4F93-B92D-CBA2435E4714}"/>
              </a:ext>
            </a:extLst>
          </p:cNvPr>
          <p:cNvSpPr txBox="1"/>
          <p:nvPr/>
        </p:nvSpPr>
        <p:spPr>
          <a:xfrm>
            <a:off x="2735341" y="5798563"/>
            <a:ext cx="2625711" cy="67710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600" u="sng" dirty="0" err="1"/>
              <a:t>Ellund</a:t>
            </a:r>
            <a:r>
              <a:rPr lang="en-US" sz="1600" u="sng" dirty="0"/>
              <a:t> ex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otal capacity: 7,400 MWh/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Offer GY 23/24: 6,700 MWh/h</a:t>
            </a:r>
          </a:p>
        </p:txBody>
      </p:sp>
      <p:sp>
        <p:nvSpPr>
          <p:cNvPr id="27" name="TextBox 6">
            <a:extLst>
              <a:ext uri="{FF2B5EF4-FFF2-40B4-BE49-F238E27FC236}">
                <a16:creationId xmlns:a16="http://schemas.microsoft.com/office/drawing/2014/main" id="{D8F2D1F3-C6EF-486F-B881-9DE14D2BAB85}"/>
              </a:ext>
            </a:extLst>
          </p:cNvPr>
          <p:cNvSpPr txBox="1"/>
          <p:nvPr/>
        </p:nvSpPr>
        <p:spPr>
          <a:xfrm>
            <a:off x="8381340" y="4791479"/>
            <a:ext cx="3052701" cy="67710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600" u="sng" dirty="0"/>
              <a:t>Faxe entry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otal capacity: 3,900 MWh/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Offer GY 23/24: GWh/h 3,500 MWh/h</a:t>
            </a:r>
          </a:p>
        </p:txBody>
      </p:sp>
      <p:sp>
        <p:nvSpPr>
          <p:cNvPr id="32" name="Tekstfelt 31">
            <a:extLst>
              <a:ext uri="{FF2B5EF4-FFF2-40B4-BE49-F238E27FC236}">
                <a16:creationId xmlns:a16="http://schemas.microsoft.com/office/drawing/2014/main" id="{C8E81C72-314C-4A01-9386-9F52A96EB256}"/>
              </a:ext>
            </a:extLst>
          </p:cNvPr>
          <p:cNvSpPr txBox="1"/>
          <p:nvPr/>
        </p:nvSpPr>
        <p:spPr>
          <a:xfrm>
            <a:off x="8252650" y="3563303"/>
            <a:ext cx="730989" cy="107722"/>
          </a:xfrm>
          <a:prstGeom prst="rect">
            <a:avLst/>
          </a:prstGeom>
          <a:solidFill>
            <a:srgbClr val="E3E3E3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a-DK" sz="700" b="1" dirty="0">
                <a:ln>
                  <a:solidFill>
                    <a:schemeClr val="accent2"/>
                  </a:solidFill>
                </a:ln>
                <a:solidFill>
                  <a:srgbClr val="39717A"/>
                </a:solidFill>
              </a:rPr>
              <a:t>JEZ – Joint Exit Zone</a:t>
            </a:r>
          </a:p>
        </p:txBody>
      </p:sp>
      <p:sp>
        <p:nvSpPr>
          <p:cNvPr id="33" name="Tekstfelt 32">
            <a:extLst>
              <a:ext uri="{FF2B5EF4-FFF2-40B4-BE49-F238E27FC236}">
                <a16:creationId xmlns:a16="http://schemas.microsoft.com/office/drawing/2014/main" id="{A9B325BD-8627-487B-BAFD-2C00892CD98F}"/>
              </a:ext>
            </a:extLst>
          </p:cNvPr>
          <p:cNvSpPr txBox="1"/>
          <p:nvPr/>
        </p:nvSpPr>
        <p:spPr>
          <a:xfrm>
            <a:off x="8603533" y="3744786"/>
            <a:ext cx="1130734" cy="323165"/>
          </a:xfrm>
          <a:prstGeom prst="rect">
            <a:avLst/>
          </a:prstGeom>
          <a:solidFill>
            <a:srgbClr val="E3E3E3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>
                <a:ln>
                  <a:solidFill>
                    <a:schemeClr val="accent2"/>
                  </a:solidFill>
                </a:ln>
                <a:solidFill>
                  <a:schemeClr val="accent2"/>
                </a:solidFill>
              </a:rPr>
              <a:t>JEZ = Danish consumption</a:t>
            </a:r>
          </a:p>
          <a:p>
            <a:r>
              <a:rPr lang="en-US" sz="700" dirty="0">
                <a:ln>
                  <a:solidFill>
                    <a:schemeClr val="accent2"/>
                  </a:solidFill>
                </a:ln>
                <a:solidFill>
                  <a:schemeClr val="accent2"/>
                </a:solidFill>
              </a:rPr>
              <a:t>and Swedish net</a:t>
            </a:r>
          </a:p>
          <a:p>
            <a:r>
              <a:rPr lang="en-US" sz="700" dirty="0">
                <a:ln>
                  <a:solidFill>
                    <a:schemeClr val="accent2"/>
                  </a:solidFill>
                </a:ln>
                <a:solidFill>
                  <a:schemeClr val="accent2"/>
                </a:solidFill>
              </a:rPr>
              <a:t>consumption</a:t>
            </a:r>
          </a:p>
        </p:txBody>
      </p:sp>
      <p:sp>
        <p:nvSpPr>
          <p:cNvPr id="34" name="Tekstfelt 33">
            <a:extLst>
              <a:ext uri="{FF2B5EF4-FFF2-40B4-BE49-F238E27FC236}">
                <a16:creationId xmlns:a16="http://schemas.microsoft.com/office/drawing/2014/main" id="{0B2DD2FA-EEA6-4357-89C1-0A3BB2413876}"/>
              </a:ext>
            </a:extLst>
          </p:cNvPr>
          <p:cNvSpPr txBox="1"/>
          <p:nvPr/>
        </p:nvSpPr>
        <p:spPr>
          <a:xfrm>
            <a:off x="8603533" y="4111155"/>
            <a:ext cx="1130734" cy="323165"/>
          </a:xfrm>
          <a:prstGeom prst="rect">
            <a:avLst/>
          </a:prstGeom>
          <a:solidFill>
            <a:srgbClr val="E3E3E3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>
                <a:ln>
                  <a:solidFill>
                    <a:schemeClr val="accent2"/>
                  </a:solidFill>
                </a:ln>
                <a:solidFill>
                  <a:schemeClr val="accent2"/>
                </a:solidFill>
              </a:rPr>
              <a:t>JEZ = Danish consumption</a:t>
            </a:r>
          </a:p>
          <a:p>
            <a:r>
              <a:rPr lang="en-US" sz="700" dirty="0">
                <a:ln>
                  <a:solidFill>
                    <a:schemeClr val="accent2"/>
                  </a:solidFill>
                </a:ln>
                <a:solidFill>
                  <a:schemeClr val="accent2"/>
                </a:solidFill>
              </a:rPr>
              <a:t>and Swedish net</a:t>
            </a:r>
          </a:p>
          <a:p>
            <a:r>
              <a:rPr lang="en-US" sz="700" dirty="0">
                <a:ln>
                  <a:solidFill>
                    <a:schemeClr val="accent2"/>
                  </a:solidFill>
                </a:ln>
                <a:solidFill>
                  <a:schemeClr val="accent2"/>
                </a:solidFill>
              </a:rPr>
              <a:t>Consumption – reverse flow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C0FA353-CC97-460F-8DAD-01B0E578DD82}"/>
              </a:ext>
            </a:extLst>
          </p:cNvPr>
          <p:cNvSpPr txBox="1"/>
          <p:nvPr/>
        </p:nvSpPr>
        <p:spPr>
          <a:xfrm>
            <a:off x="129802" y="6530331"/>
            <a:ext cx="646238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100" dirty="0">
                <a:latin typeface="Calibri" panose="020F0502020204030204" pitchFamily="34" charset="0"/>
                <a:ea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r more information, please go to</a:t>
            </a:r>
            <a:r>
              <a:rPr lang="da-DK" sz="1100" u="sng" dirty="0">
                <a:solidFill>
                  <a:srgbClr val="00A98F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 </a:t>
            </a:r>
            <a:r>
              <a:rPr lang="da-DK" sz="1100" u="sng" dirty="0" err="1">
                <a:solidFill>
                  <a:srgbClr val="00A98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lculated</a:t>
            </a:r>
            <a:r>
              <a:rPr lang="da-DK" sz="1100" u="sng" dirty="0">
                <a:solidFill>
                  <a:srgbClr val="00A98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da-DK" sz="1100" u="sng" dirty="0" err="1">
                <a:solidFill>
                  <a:srgbClr val="00A98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pacities</a:t>
            </a:r>
            <a:r>
              <a:rPr lang="da-DK" sz="1100" u="sng" dirty="0">
                <a:solidFill>
                  <a:srgbClr val="00A98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in the Danish gas transmission system | Energinet</a:t>
            </a:r>
            <a:endParaRPr lang="da-DK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84B4F63-C327-0BA0-A713-E3019E85324E}"/>
              </a:ext>
            </a:extLst>
          </p:cNvPr>
          <p:cNvSpPr/>
          <p:nvPr/>
        </p:nvSpPr>
        <p:spPr>
          <a:xfrm>
            <a:off x="8304701" y="1270551"/>
            <a:ext cx="3887299" cy="2465196"/>
          </a:xfrm>
          <a:prstGeom prst="star12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da-DK" sz="1930" b="1" dirty="0">
                <a:solidFill>
                  <a:schemeClr val="tx1"/>
                </a:solidFill>
              </a:rPr>
              <a:t>Please note: </a:t>
            </a:r>
            <a:r>
              <a:rPr lang="da-DK" sz="1930" dirty="0" err="1">
                <a:solidFill>
                  <a:schemeClr val="tx1"/>
                </a:solidFill>
              </a:rPr>
              <a:t>annual</a:t>
            </a:r>
            <a:r>
              <a:rPr lang="da-DK" sz="1930" dirty="0">
                <a:solidFill>
                  <a:schemeClr val="tx1"/>
                </a:solidFill>
              </a:rPr>
              <a:t> </a:t>
            </a:r>
            <a:r>
              <a:rPr lang="da-DK" sz="1930" dirty="0" err="1">
                <a:solidFill>
                  <a:schemeClr val="tx1"/>
                </a:solidFill>
              </a:rPr>
              <a:t>tariff</a:t>
            </a:r>
            <a:r>
              <a:rPr lang="da-DK" sz="1930" dirty="0">
                <a:solidFill>
                  <a:schemeClr val="tx1"/>
                </a:solidFill>
              </a:rPr>
              <a:t> </a:t>
            </a:r>
            <a:r>
              <a:rPr lang="da-DK" sz="1930" dirty="0" err="1">
                <a:solidFill>
                  <a:schemeClr val="tx1"/>
                </a:solidFill>
              </a:rPr>
              <a:t>changing</a:t>
            </a:r>
            <a:r>
              <a:rPr lang="da-DK" sz="1930" dirty="0">
                <a:solidFill>
                  <a:schemeClr val="tx1"/>
                </a:solidFill>
              </a:rPr>
              <a:t> from gas </a:t>
            </a:r>
            <a:r>
              <a:rPr lang="da-DK" sz="1930" dirty="0" err="1">
                <a:solidFill>
                  <a:schemeClr val="tx1"/>
                </a:solidFill>
              </a:rPr>
              <a:t>year</a:t>
            </a:r>
            <a:r>
              <a:rPr lang="da-DK" sz="1930" dirty="0">
                <a:solidFill>
                  <a:schemeClr val="tx1"/>
                </a:solidFill>
              </a:rPr>
              <a:t> to </a:t>
            </a:r>
            <a:r>
              <a:rPr lang="da-DK" sz="1930" dirty="0" err="1">
                <a:solidFill>
                  <a:schemeClr val="tx1"/>
                </a:solidFill>
              </a:rPr>
              <a:t>calendar</a:t>
            </a:r>
            <a:r>
              <a:rPr lang="da-DK" sz="1930" dirty="0">
                <a:solidFill>
                  <a:schemeClr val="tx1"/>
                </a:solidFill>
              </a:rPr>
              <a:t> </a:t>
            </a:r>
            <a:r>
              <a:rPr lang="da-DK" sz="1930" dirty="0" err="1">
                <a:solidFill>
                  <a:schemeClr val="tx1"/>
                </a:solidFill>
              </a:rPr>
              <a:t>year</a:t>
            </a:r>
            <a:r>
              <a:rPr lang="da-DK" sz="1930" dirty="0">
                <a:solidFill>
                  <a:schemeClr val="tx1"/>
                </a:solidFill>
              </a:rPr>
              <a:t> from 24 </a:t>
            </a:r>
            <a:r>
              <a:rPr lang="da-DK" sz="1930" dirty="0" err="1">
                <a:solidFill>
                  <a:schemeClr val="tx1"/>
                </a:solidFill>
              </a:rPr>
              <a:t>January</a:t>
            </a:r>
            <a:r>
              <a:rPr lang="da-DK" sz="1930" dirty="0">
                <a:solidFill>
                  <a:schemeClr val="tx1"/>
                </a:solidFill>
              </a:rPr>
              <a:t> </a:t>
            </a:r>
            <a:endParaRPr lang="da-DK" sz="193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8720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38" grpId="0" animBg="1"/>
      <p:bldP spid="40" grpId="0" animBg="1"/>
      <p:bldP spid="26" grpId="0" animBg="1"/>
      <p:bldP spid="27" grpId="0" animBg="1"/>
      <p:bldP spid="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1"/>
          </p:nvPr>
        </p:nvSpPr>
        <p:spPr>
          <a:xfrm>
            <a:off x="389377" y="5826642"/>
            <a:ext cx="4777710" cy="373914"/>
          </a:xfrm>
        </p:spPr>
        <p:txBody>
          <a:bodyPr/>
          <a:lstStyle/>
          <a:p>
            <a:r>
              <a:rPr lang="da-DK" dirty="0"/>
              <a:t>Contact: cju@energinet.dk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48352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ladsholder til billede 8" descr="Streg i sandet med kugler">
            <a:extLst>
              <a:ext uri="{FF2B5EF4-FFF2-40B4-BE49-F238E27FC236}">
                <a16:creationId xmlns:a16="http://schemas.microsoft.com/office/drawing/2014/main" id="{1DFFC5D5-77A7-DE46-6A5A-25E5F3183D52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473" b="16473"/>
          <a:stretch>
            <a:fillRect/>
          </a:stretch>
        </p:blipFill>
        <p:spPr>
          <a:xfrm>
            <a:off x="6275388" y="1196975"/>
            <a:ext cx="4921250" cy="4959350"/>
          </a:xfrm>
        </p:spPr>
      </p:pic>
      <p:sp>
        <p:nvSpPr>
          <p:cNvPr id="19" name="Date Placeholder 2">
            <a:extLst>
              <a:ext uri="{FF2B5EF4-FFF2-40B4-BE49-F238E27FC236}">
                <a16:creationId xmlns:a16="http://schemas.microsoft.com/office/drawing/2014/main" id="{841E366E-8535-6E80-AE9F-7AC7234987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203287D3-6CFC-CC63-4812-5B012448B1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0A4E545-D6FE-7549-86C9-1BCA120F3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70</a:t>
            </a:fld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FDD7652-610B-8542-9C80-6AC2DFCB4C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1196975"/>
            <a:ext cx="4933337" cy="719138"/>
          </a:xfrm>
        </p:spPr>
        <p:txBody>
          <a:bodyPr anchor="b">
            <a:normAutofit fontScale="90000"/>
          </a:bodyPr>
          <a:lstStyle/>
          <a:p>
            <a:r>
              <a:rPr lang="da-DK" sz="2800" dirty="0"/>
              <a:t>Market </a:t>
            </a:r>
            <a:r>
              <a:rPr lang="da-DK" sz="2800" dirty="0" err="1"/>
              <a:t>consultation</a:t>
            </a:r>
            <a:r>
              <a:rPr lang="da-DK" sz="2800" dirty="0"/>
              <a:t> on </a:t>
            </a:r>
            <a:r>
              <a:rPr lang="da-DK" sz="2800" dirty="0" err="1"/>
              <a:t>Congestion</a:t>
            </a:r>
            <a:r>
              <a:rPr lang="da-DK" sz="2800" dirty="0"/>
              <a:t> Management Procedures (CMP) for Faxe 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ABDF4D4-9822-DF43-A7B6-BFDD908D83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4" y="2852739"/>
            <a:ext cx="4933336" cy="330358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A </a:t>
            </a:r>
            <a:r>
              <a:rPr lang="da-DK" dirty="0" err="1"/>
              <a:t>continuation</a:t>
            </a:r>
            <a:r>
              <a:rPr lang="da-DK" dirty="0"/>
              <a:t> of </a:t>
            </a:r>
            <a:r>
              <a:rPr lang="da-DK" dirty="0" err="1"/>
              <a:t>already</a:t>
            </a:r>
            <a:r>
              <a:rPr lang="da-DK" dirty="0"/>
              <a:t> </a:t>
            </a:r>
            <a:r>
              <a:rPr lang="da-DK" dirty="0" err="1"/>
              <a:t>implemented</a:t>
            </a:r>
            <a:r>
              <a:rPr lang="da-DK" dirty="0"/>
              <a:t> CMP </a:t>
            </a:r>
            <a:r>
              <a:rPr lang="da-DK" dirty="0" err="1"/>
              <a:t>tools</a:t>
            </a:r>
            <a:r>
              <a:rPr lang="da-DK" dirty="0"/>
              <a:t> in DK:</a:t>
            </a:r>
          </a:p>
          <a:p>
            <a:pPr marL="774900" lvl="1" indent="-342900"/>
            <a:r>
              <a:rPr lang="da-DK" sz="2000" dirty="0" err="1"/>
              <a:t>Oversubscription</a:t>
            </a:r>
            <a:r>
              <a:rPr lang="da-DK" sz="2000" dirty="0"/>
              <a:t> and </a:t>
            </a:r>
            <a:r>
              <a:rPr lang="da-DK" sz="2000" dirty="0" err="1"/>
              <a:t>buy</a:t>
            </a:r>
            <a:r>
              <a:rPr lang="da-DK" sz="2000" dirty="0"/>
              <a:t>-back</a:t>
            </a:r>
          </a:p>
          <a:p>
            <a:pPr marL="774900" lvl="1" indent="-342900"/>
            <a:r>
              <a:rPr lang="da-DK" sz="2000" dirty="0" err="1"/>
              <a:t>Surrender</a:t>
            </a:r>
            <a:r>
              <a:rPr lang="da-DK" sz="2000" dirty="0"/>
              <a:t> of </a:t>
            </a:r>
            <a:r>
              <a:rPr lang="da-DK" sz="2000" dirty="0" err="1"/>
              <a:t>contracted</a:t>
            </a:r>
            <a:r>
              <a:rPr lang="da-DK" sz="2000" dirty="0"/>
              <a:t> </a:t>
            </a:r>
            <a:r>
              <a:rPr lang="da-DK" sz="2000" dirty="0" err="1"/>
              <a:t>capacity</a:t>
            </a:r>
            <a:endParaRPr lang="da-DK" sz="2000" dirty="0"/>
          </a:p>
          <a:p>
            <a:pPr marL="774900" lvl="1" indent="-342900"/>
            <a:r>
              <a:rPr lang="da-DK" sz="2000" dirty="0" err="1"/>
              <a:t>Use</a:t>
            </a:r>
            <a:r>
              <a:rPr lang="da-DK" sz="2000" dirty="0"/>
              <a:t>-it-or-</a:t>
            </a:r>
            <a:r>
              <a:rPr lang="da-DK" sz="2000" dirty="0" err="1"/>
              <a:t>lose</a:t>
            </a:r>
            <a:r>
              <a:rPr lang="da-DK" sz="2000" dirty="0"/>
              <a:t>-it for long-term </a:t>
            </a:r>
            <a:r>
              <a:rPr lang="da-DK" sz="2000" dirty="0" err="1"/>
              <a:t>capacity</a:t>
            </a:r>
            <a:r>
              <a:rPr lang="da-DK" sz="2000" dirty="0"/>
              <a:t>.</a:t>
            </a:r>
          </a:p>
          <a:p>
            <a:pPr marL="774900" lvl="1" indent="-342900"/>
            <a:endParaRPr lang="da-DK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No </a:t>
            </a:r>
            <a:r>
              <a:rPr lang="da-DK" dirty="0" err="1"/>
              <a:t>comments</a:t>
            </a:r>
            <a:r>
              <a:rPr lang="da-DK" dirty="0"/>
              <a:t> </a:t>
            </a:r>
            <a:r>
              <a:rPr lang="da-DK" dirty="0" err="1"/>
              <a:t>received</a:t>
            </a:r>
            <a:r>
              <a:rPr lang="da-DK" dirty="0"/>
              <a:t> in </a:t>
            </a:r>
            <a:r>
              <a:rPr lang="da-DK" dirty="0" err="1"/>
              <a:t>consultation</a:t>
            </a:r>
            <a:r>
              <a:rPr lang="da-DK" dirty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/>
              <a:t>If </a:t>
            </a:r>
            <a:r>
              <a:rPr lang="da-DK" dirty="0" err="1"/>
              <a:t>approved</a:t>
            </a:r>
            <a:r>
              <a:rPr lang="da-DK" dirty="0"/>
              <a:t> by Danish Utility Regulator – </a:t>
            </a:r>
            <a:r>
              <a:rPr lang="da-DK" dirty="0" err="1"/>
              <a:t>means</a:t>
            </a:r>
            <a:r>
              <a:rPr lang="da-DK" dirty="0"/>
              <a:t> no </a:t>
            </a:r>
            <a:r>
              <a:rPr lang="da-DK" dirty="0" err="1"/>
              <a:t>changes</a:t>
            </a:r>
            <a:r>
              <a:rPr lang="da-DK" dirty="0"/>
              <a:t> to </a:t>
            </a:r>
            <a:r>
              <a:rPr lang="da-DK" dirty="0" err="1"/>
              <a:t>BfG</a:t>
            </a:r>
            <a:r>
              <a:rPr lang="da-DK" dirty="0"/>
              <a:t>.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E9A230AE-3B22-DB4A-B46E-EE4FE697663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82663" y="2024063"/>
            <a:ext cx="4933337" cy="720725"/>
          </a:xfrm>
        </p:spPr>
        <p:txBody>
          <a:bodyPr>
            <a:normAutofit/>
          </a:bodyPr>
          <a:lstStyle/>
          <a:p>
            <a:r>
              <a:rPr lang="da-DK" dirty="0"/>
              <a:t>Energinet proposes:</a:t>
            </a:r>
          </a:p>
        </p:txBody>
      </p:sp>
    </p:spTree>
    <p:extLst>
      <p:ext uri="{BB962C8B-B14F-4D97-AF65-F5344CB8AC3E}">
        <p14:creationId xmlns:p14="http://schemas.microsoft.com/office/powerpoint/2010/main" val="368346306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>
            <a:extLst>
              <a:ext uri="{FF2B5EF4-FFF2-40B4-BE49-F238E27FC236}">
                <a16:creationId xmlns:a16="http://schemas.microsoft.com/office/drawing/2014/main" id="{1E979AE8-EEC0-951B-1AE4-8B196154A2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47944" y="1196975"/>
            <a:ext cx="4376625" cy="4959350"/>
          </a:xfrm>
          <a:prstGeom prst="rect">
            <a:avLst/>
          </a:prstGeom>
          <a:noFill/>
        </p:spPr>
      </p:pic>
      <p:sp>
        <p:nvSpPr>
          <p:cNvPr id="13" name="Date Placeholder 2">
            <a:extLst>
              <a:ext uri="{FF2B5EF4-FFF2-40B4-BE49-F238E27FC236}">
                <a16:creationId xmlns:a16="http://schemas.microsoft.com/office/drawing/2014/main" id="{A91B2664-45C5-BAB8-750F-68D4FDFCAE2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4CDAF4E0-8537-8800-FB28-CFB74CC5C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D96FE0D-CFBC-D5C5-3F39-C078193C9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71</a:t>
            </a:fld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1783B91-109A-1CD6-360A-EAD33AE315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1196975"/>
            <a:ext cx="4933337" cy="719138"/>
          </a:xfrm>
        </p:spPr>
        <p:txBody>
          <a:bodyPr anchor="b">
            <a:normAutofit/>
          </a:bodyPr>
          <a:lstStyle/>
          <a:p>
            <a:r>
              <a:rPr lang="da-DK" sz="2800" dirty="0" err="1"/>
              <a:t>Incremental</a:t>
            </a:r>
            <a:r>
              <a:rPr lang="da-DK" sz="2800" dirty="0"/>
              <a:t> </a:t>
            </a:r>
            <a:r>
              <a:rPr lang="da-DK" sz="2800" dirty="0" err="1"/>
              <a:t>capacity</a:t>
            </a:r>
            <a:r>
              <a:rPr lang="da-DK" sz="2800" dirty="0"/>
              <a:t> </a:t>
            </a:r>
            <a:r>
              <a:rPr lang="da-DK" sz="2800" dirty="0" err="1"/>
              <a:t>process</a:t>
            </a:r>
            <a:endParaRPr lang="da-DK" sz="2800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B621A4EC-48D9-5F73-71A1-CBE68FF0AD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4" y="2852738"/>
            <a:ext cx="5565280" cy="3548061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/>
              <a:t>Shippers have the opportunity to indicate their future potential need for capa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/>
              <a:t>In case the aggregated user demands exceeds capacity in a point, the incremental capacity process gives users the opportunity to enter into contracts for such extra capacity. Thereby, steering Energinet to develop the network furth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/>
              <a:t>After the annual auction on 3 July 2023, Energinet will forward demand assessment questionnaires for all capacity points in the Danish system – to be submitted latest 8 weeks af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b="1" dirty="0"/>
              <a:t>Important to also indicate interest in adjacent systems, when relevant!</a:t>
            </a:r>
          </a:p>
          <a:p>
            <a:endParaRPr lang="en-US" sz="17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14E849E4-C217-D7B3-DCD2-6EB2F3B489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82663" y="2024063"/>
            <a:ext cx="4933337" cy="720725"/>
          </a:xfrm>
        </p:spPr>
        <p:txBody>
          <a:bodyPr>
            <a:normAutofit/>
          </a:bodyPr>
          <a:lstStyle/>
          <a:p>
            <a:r>
              <a:rPr lang="da-DK" dirty="0"/>
              <a:t>Starts </a:t>
            </a:r>
            <a:r>
              <a:rPr lang="da-DK" dirty="0" err="1"/>
              <a:t>beginning</a:t>
            </a:r>
            <a:r>
              <a:rPr lang="da-DK" dirty="0"/>
              <a:t> of </a:t>
            </a:r>
            <a:r>
              <a:rPr lang="da-DK" dirty="0" err="1"/>
              <a:t>July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068908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1CDF75-5B19-C6DC-1243-6E71E9CA5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1203699"/>
            <a:ext cx="10214464" cy="712414"/>
          </a:xfrm>
        </p:spPr>
        <p:txBody>
          <a:bodyPr anchor="b">
            <a:normAutofit/>
          </a:bodyPr>
          <a:lstStyle/>
          <a:p>
            <a:r>
              <a:rPr lang="da-DK" dirty="0"/>
              <a:t>Ellund </a:t>
            </a:r>
            <a:r>
              <a:rPr lang="da-DK" dirty="0" err="1"/>
              <a:t>capacity</a:t>
            </a:r>
            <a:endParaRPr lang="da-DK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26FC26D-478F-10E1-78B9-B6F2996286E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FAF25F1E-EDAD-B9CD-BCE5-59CBC42287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D99653D-9D2C-07B5-20AE-FBB3E4FC2A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72</a:t>
            </a:fld>
            <a:endParaRPr lang="da-DK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7AD36BFA-E90B-7620-B210-F0F825A441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2024063"/>
            <a:ext cx="10214464" cy="720725"/>
          </a:xfrm>
        </p:spPr>
        <p:txBody>
          <a:bodyPr>
            <a:normAutofit/>
          </a:bodyPr>
          <a:lstStyle/>
          <a:p>
            <a:r>
              <a:rPr lang="da-DK" dirty="0"/>
              <a:t>LNG </a:t>
            </a:r>
            <a:r>
              <a:rPr lang="da-DK" dirty="0" err="1"/>
              <a:t>implementation</a:t>
            </a:r>
            <a:r>
              <a:rPr lang="da-DK" dirty="0"/>
              <a:t> in Germany causes Gasunie to </a:t>
            </a:r>
            <a:r>
              <a:rPr lang="da-DK" dirty="0" err="1"/>
              <a:t>reduce</a:t>
            </a:r>
            <a:r>
              <a:rPr lang="da-DK" dirty="0"/>
              <a:t> </a:t>
            </a:r>
            <a:r>
              <a:rPr lang="da-DK" dirty="0" err="1"/>
              <a:t>both</a:t>
            </a:r>
            <a:r>
              <a:rPr lang="da-DK" dirty="0"/>
              <a:t> </a:t>
            </a:r>
            <a:r>
              <a:rPr lang="da-DK" dirty="0" err="1"/>
              <a:t>north</a:t>
            </a:r>
            <a:r>
              <a:rPr lang="da-DK" dirty="0"/>
              <a:t>- and </a:t>
            </a:r>
            <a:r>
              <a:rPr lang="da-DK" dirty="0" err="1"/>
              <a:t>southbound</a:t>
            </a:r>
            <a:r>
              <a:rPr lang="da-DK" dirty="0"/>
              <a:t> </a:t>
            </a:r>
            <a:r>
              <a:rPr lang="da-DK" dirty="0" err="1"/>
              <a:t>capacity</a:t>
            </a:r>
            <a:r>
              <a:rPr lang="da-DK" dirty="0"/>
              <a:t> at Ellund</a:t>
            </a:r>
          </a:p>
        </p:txBody>
      </p:sp>
      <p:graphicFrame>
        <p:nvGraphicFramePr>
          <p:cNvPr id="21" name="Pladsholder til indhold 2">
            <a:extLst>
              <a:ext uri="{FF2B5EF4-FFF2-40B4-BE49-F238E27FC236}">
                <a16:creationId xmlns:a16="http://schemas.microsoft.com/office/drawing/2014/main" id="{EE198DCA-7888-FC8E-FD2C-0D2A5D4B893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47166308"/>
              </p:ext>
            </p:extLst>
          </p:nvPr>
        </p:nvGraphicFramePr>
        <p:xfrm>
          <a:off x="982664" y="2852738"/>
          <a:ext cx="10226674" cy="33035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44609722"/>
      </p:ext>
    </p:extLst>
  </p:cSld>
  <p:clrMapOvr>
    <a:masterClrMapping/>
  </p:clrMapOvr>
  <p:transition spd="slow">
    <p:push dir="u"/>
  </p:transition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billede 1">
            <a:extLst>
              <a:ext uri="{FF2B5EF4-FFF2-40B4-BE49-F238E27FC236}">
                <a16:creationId xmlns:a16="http://schemas.microsoft.com/office/drawing/2014/main" id="{93F9C4D2-439D-A435-A59F-1F346C485FB1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E162D9B4-1AC2-4B62-21FB-ED15466DB1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1231064E-8F81-FB4C-AC0B-BD83FBC915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B4B44509-196C-8993-FE73-8F947470D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73</a:t>
            </a:fld>
            <a:endParaRPr lang="da-DK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6B364D3D-7744-0CD3-61A6-8C64F61DB7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4" y="214481"/>
            <a:ext cx="4204132" cy="1547812"/>
          </a:xfrm>
        </p:spPr>
        <p:txBody>
          <a:bodyPr/>
          <a:lstStyle/>
          <a:p>
            <a:r>
              <a:rPr lang="en-GB" dirty="0"/>
              <a:t>Maintenance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1FFCB07B-B054-6EBF-24F0-0544916095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8001" y="1870244"/>
            <a:ext cx="4214944" cy="330358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aintenance and final tests dominates the activities on </a:t>
            </a:r>
            <a:r>
              <a:rPr lang="en-GB" dirty="0" err="1"/>
              <a:t>Nybro</a:t>
            </a:r>
            <a:r>
              <a:rPr lang="en-GB" dirty="0"/>
              <a:t> </a:t>
            </a:r>
            <a:r>
              <a:rPr lang="en-GB" dirty="0" err="1"/>
              <a:t>Europipe</a:t>
            </a:r>
            <a:r>
              <a:rPr lang="en-GB" dirty="0"/>
              <a:t> II terminal and Compressor station </a:t>
            </a:r>
            <a:r>
              <a:rPr lang="en-GB" dirty="0" err="1"/>
              <a:t>Everdrup</a:t>
            </a: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Most activities do not affect the capac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Next planned activity affecting capacity is CS </a:t>
            </a:r>
            <a:r>
              <a:rPr lang="en-GB" dirty="0" err="1"/>
              <a:t>Everdrup</a:t>
            </a:r>
            <a:r>
              <a:rPr lang="en-GB" dirty="0"/>
              <a:t> (Poland) end of September (3 day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Other planed activities in 2023 has limited or no impact on capac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UMM is issued ahead of planned activities affecting capac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For updated information please visit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10CC9715-49BA-4996-3834-6AC5E166654E}"/>
              </a:ext>
            </a:extLst>
          </p:cNvPr>
          <p:cNvSpPr txBox="1"/>
          <p:nvPr/>
        </p:nvSpPr>
        <p:spPr>
          <a:xfrm>
            <a:off x="648001" y="6336784"/>
            <a:ext cx="61083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dirty="0">
                <a:hlinkClick r:id="rId2"/>
              </a:rPr>
              <a:t>strategic-activity-plan-gas-system-2023.xlsx (</a:t>
            </a:r>
            <a:r>
              <a:rPr lang="da-DK" dirty="0" err="1">
                <a:hlinkClick r:id="rId2"/>
              </a:rPr>
              <a:t>live.com</a:t>
            </a:r>
            <a:r>
              <a:rPr lang="da-DK" dirty="0">
                <a:hlinkClick r:id="rId2"/>
              </a:rPr>
              <a:t>)</a:t>
            </a:r>
            <a:endParaRPr lang="en-GB" dirty="0"/>
          </a:p>
        </p:txBody>
      </p:sp>
      <p:pic>
        <p:nvPicPr>
          <p:cNvPr id="1026" name="Billede 3" descr="Et billede, der indeholder vej/gade, mtorvej&#10;&#10;Automatisk genereret beskrivelse">
            <a:extLst>
              <a:ext uri="{FF2B5EF4-FFF2-40B4-BE49-F238E27FC236}">
                <a16:creationId xmlns:a16="http://schemas.microsoft.com/office/drawing/2014/main" id="{488216AE-E8BD-6012-E65C-A751FE0C9C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1054" y="0"/>
            <a:ext cx="5982245" cy="4489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D6E727DB-47B3-F629-E083-B7ADB5CC68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71053" y="4415152"/>
            <a:ext cx="5960357" cy="2442855"/>
          </a:xfrm>
          <a:prstGeom prst="rect">
            <a:avLst/>
          </a:prstGeom>
        </p:spPr>
      </p:pic>
      <p:cxnSp>
        <p:nvCxnSpPr>
          <p:cNvPr id="13" name="Lige forbindelse 12">
            <a:extLst>
              <a:ext uri="{FF2B5EF4-FFF2-40B4-BE49-F238E27FC236}">
                <a16:creationId xmlns:a16="http://schemas.microsoft.com/office/drawing/2014/main" id="{22BF8198-DFE3-FB69-8859-3095B5C17C8D}"/>
              </a:ext>
            </a:extLst>
          </p:cNvPr>
          <p:cNvCxnSpPr/>
          <p:nvPr/>
        </p:nvCxnSpPr>
        <p:spPr>
          <a:xfrm>
            <a:off x="9685594" y="4591950"/>
            <a:ext cx="0" cy="2266050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2522709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1"/>
          </p:nvPr>
        </p:nvSpPr>
        <p:spPr>
          <a:xfrm>
            <a:off x="389377" y="5826642"/>
            <a:ext cx="4777710" cy="373914"/>
          </a:xfrm>
        </p:spPr>
        <p:txBody>
          <a:bodyPr/>
          <a:lstStyle/>
          <a:p>
            <a:r>
              <a:rPr lang="da-DK" dirty="0"/>
              <a:t>Contact: cru@energinet.dk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566850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8D2636C-1A2D-4D6D-ADFF-B09FA7F964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8D2636C-1A2D-4D6D-ADFF-B09FA7F964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CCF1A1FB-8153-490B-A80C-08D127EEE6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79910" y="3780149"/>
            <a:ext cx="6232180" cy="1470041"/>
          </a:xfrm>
        </p:spPr>
        <p:txBody>
          <a:bodyPr/>
          <a:lstStyle/>
          <a:p>
            <a:r>
              <a:rPr lang="en-GB" dirty="0"/>
              <a:t>Final Remarks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AD072DF8-15A7-4B84-9398-33A93EFC715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a-DK" dirty="0"/>
              <a:t>Clement Johan Ulrichsen, Energinet</a:t>
            </a:r>
            <a:endParaRPr lang="en-US" dirty="0"/>
          </a:p>
        </p:txBody>
      </p:sp>
      <p:pic>
        <p:nvPicPr>
          <p:cNvPr id="5" name="Pladsholder til billede 4">
            <a:extLst>
              <a:ext uri="{FF2B5EF4-FFF2-40B4-BE49-F238E27FC236}">
                <a16:creationId xmlns:a16="http://schemas.microsoft.com/office/drawing/2014/main" id="{2F106BEF-4340-4F43-964D-27E31AED16AC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347725162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ladsholder til billede 8">
            <a:extLst>
              <a:ext uri="{FF2B5EF4-FFF2-40B4-BE49-F238E27FC236}">
                <a16:creationId xmlns:a16="http://schemas.microsoft.com/office/drawing/2014/main" id="{758DFC57-244E-1007-31BE-641462230CEA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42" r="21242"/>
          <a:stretch/>
        </p:blipFill>
        <p:spPr>
          <a:xfrm>
            <a:off x="6275388" y="0"/>
            <a:ext cx="5916612" cy="6858000"/>
          </a:xfrm>
        </p:spPr>
      </p:pic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BB2424AF-C8B4-9E80-6512-E8D1630E66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15EF3ADC-A3A3-48D1-1E1A-7F68E1A8B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8AC14DBB-3866-8D91-5366-A20DF1FC0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76</a:t>
            </a:fld>
            <a:endParaRPr lang="da-DK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C3B8BBE-F382-4959-46D5-C7EE931A2C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4" y="1196976"/>
            <a:ext cx="4591612" cy="1547812"/>
          </a:xfrm>
        </p:spPr>
        <p:txBody>
          <a:bodyPr/>
          <a:lstStyle/>
          <a:p>
            <a:r>
              <a:rPr lang="da-DK" dirty="0" err="1"/>
              <a:t>Next</a:t>
            </a:r>
            <a:r>
              <a:rPr lang="da-DK" dirty="0"/>
              <a:t> </a:t>
            </a:r>
            <a:r>
              <a:rPr lang="da-DK" dirty="0" err="1"/>
              <a:t>Shippers</a:t>
            </a:r>
            <a:r>
              <a:rPr lang="da-DK" dirty="0"/>
              <a:t> forum: 14 Sep. 2023</a:t>
            </a:r>
            <a:br>
              <a:rPr lang="da-DK" dirty="0"/>
            </a:br>
            <a:r>
              <a:rPr lang="da-DK" dirty="0"/>
              <a:t> 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45F48451-2C63-B447-3742-EA2F11FFE0A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ill be located off-sit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timeslot is not fixed – be prepared for a possible morning mee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ore information will be given latest 1 of August.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96139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0"/>
          </p:nvPr>
        </p:nvSpPr>
        <p:spPr>
          <a:xfrm>
            <a:off x="3599723" y="2084851"/>
            <a:ext cx="4992555" cy="3102740"/>
          </a:xfrm>
        </p:spPr>
        <p:txBody>
          <a:bodyPr>
            <a:normAutofit/>
          </a:bodyPr>
          <a:lstStyle/>
          <a:p>
            <a:r>
              <a:rPr lang="da-DK" sz="2933" b="1" dirty="0"/>
              <a:t>Status on Security of Supply</a:t>
            </a:r>
          </a:p>
          <a:p>
            <a:r>
              <a:rPr lang="da-DK" sz="1600" b="1" dirty="0"/>
              <a:t>8th June 2023</a:t>
            </a:r>
          </a:p>
          <a:p>
            <a:endParaRPr lang="da-DK" sz="1600" dirty="0"/>
          </a:p>
          <a:p>
            <a:r>
              <a:rPr lang="da-DK" sz="1600" dirty="0"/>
              <a:t>Head of Division, Jane Glindvad Kristensen</a:t>
            </a:r>
          </a:p>
        </p:txBody>
      </p:sp>
    </p:spTree>
    <p:extLst>
      <p:ext uri="{BB962C8B-B14F-4D97-AF65-F5344CB8AC3E}">
        <p14:creationId xmlns:p14="http://schemas.microsoft.com/office/powerpoint/2010/main" val="3373931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586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General status on </a:t>
            </a:r>
            <a:r>
              <a:rPr lang="da-DK" sz="5867" dirty="0" err="1">
                <a:latin typeface="Segoe UI Semibold" panose="020B0702040204020203" pitchFamily="34" charset="0"/>
                <a:cs typeface="Segoe UI Semibold" panose="020B0702040204020203" pitchFamily="34" charset="0"/>
              </a:rPr>
              <a:t>supply</a:t>
            </a:r>
            <a:endParaRPr lang="da-DK" sz="2667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a-DK" dirty="0"/>
              <a:t>Energy systems </a:t>
            </a:r>
            <a:r>
              <a:rPr lang="da-DK" dirty="0" err="1"/>
              <a:t>are</a:t>
            </a:r>
            <a:r>
              <a:rPr lang="da-DK" dirty="0"/>
              <a:t> </a:t>
            </a:r>
            <a:r>
              <a:rPr lang="da-DK" dirty="0" err="1"/>
              <a:t>connected</a:t>
            </a:r>
            <a:r>
              <a:rPr lang="da-DK" dirty="0"/>
              <a:t> and </a:t>
            </a:r>
            <a:r>
              <a:rPr lang="da-DK" dirty="0" err="1"/>
              <a:t>affect</a:t>
            </a:r>
            <a:r>
              <a:rPr lang="da-DK" dirty="0"/>
              <a:t> </a:t>
            </a:r>
            <a:r>
              <a:rPr lang="da-DK" dirty="0" err="1"/>
              <a:t>each</a:t>
            </a:r>
            <a:r>
              <a:rPr lang="da-DK" dirty="0"/>
              <a:t> </a:t>
            </a:r>
            <a:r>
              <a:rPr lang="da-DK" dirty="0" err="1"/>
              <a:t>other</a:t>
            </a:r>
            <a:endParaRPr lang="da-DK" dirty="0"/>
          </a:p>
          <a:p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prstClr val="white"/>
                </a:solidFill>
              </a:rPr>
              <a:pPr defTabSz="1091563"/>
              <a:t>8. juni 2023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prstClr val="white"/>
                </a:solidFill>
              </a:rPr>
              <a:t>Side </a:t>
            </a:r>
            <a:fld id="{8E044AEF-F590-47CE-BE8F-5C241A59BA2A}" type="slidenum">
              <a:rPr lang="da-DK">
                <a:solidFill>
                  <a:prstClr val="white"/>
                </a:solidFill>
              </a:rPr>
              <a:pPr defTabSz="1091563"/>
              <a:t>9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2393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6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r.pS5dAoYVdg6ZBgMF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b075050\AppData\Local\Temp\Templafy\PowerPointVsto\Assets\Lov om Forsyningstilsynet_turkis.p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b075050\AppData\Local\Temp\Templafy\PowerPointVsto\Assets\Diagram 04_turkis.p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b075050\AppData\Local\Temp\Templafy\PowerPointVsto\Assets\Diagram 06_turkis.p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GLGKREd8FXZrBc8EcX8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k4KgGiEFinqiNprkFxa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6FWFliqduc.vjg7OqR8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IF0nts2Xk8p0gcX2JZJ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zOFWbAGuKjPo8rrb472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yMrxXkCaJy0GQp1bHd_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DPSBRW5xfgv3LVXSBxR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aWSuADGEKTa05sHRbpU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cvPPplMnRylovg9RfDM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TGaHfhnUCfRCdDLz.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4B2EVI3pKvyqS0j4Zpx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tfH8ySfitIq6DrfOWv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5fCoNdwAZGkWoosW3LM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XLwPMIcCtNMTt2d8GzE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j8wWo69jNjGeqHKWHwZ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df4shTfndIdK0sSv.Nd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OShYKXDLHjooY3wRRX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jg5kLO8a2VbJUnGcZQS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qqtUD.vSlNeKWv6rct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VfmiL_K3T7PYwKZEDAZ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s.CHnTXhDjAOo7Gsn8n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NY3SnwwIoJBifZD687m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6YTK5YNCmpldIW4UO3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.p.ABdlJ0qEdQiGB5un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FIOBqzc_EGI2c5c1.60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UG_ccwFl3mJTi3yD_A8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HKOeb6ymPKujoSD8D05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lZs1CpbApFjSkOjRR_D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6wRkyaLKV2EuH6p21pM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X9wRWXVGg.epS3Zoxuy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VxWUe7ivjfBy8F1n3n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TVnTAzKSW0cCDddsT.9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zcK7FVxNPrLgdzbrbaH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PqeL8rmRtH0_lvd5MNW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xGIG.Cd7EoSuJkOytID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vmhyikm3HfqWGMpuxC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K_16.9_Energinet-skabelon">
  <a:themeElements>
    <a:clrScheme name="Energinet-tema 1">
      <a:dk1>
        <a:srgbClr val="000000"/>
      </a:dk1>
      <a:lt1>
        <a:srgbClr val="FFFFFF"/>
      </a:lt1>
      <a:dk2>
        <a:srgbClr val="A0C1C2"/>
      </a:dk2>
      <a:lt2>
        <a:srgbClr val="A0CD92"/>
      </a:lt2>
      <a:accent1>
        <a:srgbClr val="008B8B"/>
      </a:accent1>
      <a:accent2>
        <a:srgbClr val="0A515D"/>
      </a:accent2>
      <a:accent3>
        <a:srgbClr val="FFD424"/>
      </a:accent3>
      <a:accent4>
        <a:srgbClr val="C2E5F1"/>
      </a:accent4>
      <a:accent5>
        <a:srgbClr val="00A98F"/>
      </a:accent5>
      <a:accent6>
        <a:srgbClr val="00A7BD"/>
      </a:accent6>
      <a:hlink>
        <a:srgbClr val="00A98F"/>
      </a:hlink>
      <a:folHlink>
        <a:srgbClr val="00A6BC"/>
      </a:folHlink>
    </a:clrScheme>
    <a:fontScheme name="Energinet.dk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spcBef>
            <a:spcPts val="750"/>
          </a:spcBef>
          <a:defRPr sz="20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UK" id="{D61C05DE-BF6A-1C43-B1A0-63768223C6EE}" vid="{836D1EF7-4EF5-FF49-A1B0-E4901FC932D6}"/>
    </a:ext>
  </a:extLst>
</a:theme>
</file>

<file path=ppt/theme/theme10.xml><?xml version="1.0" encoding="utf-8"?>
<a:theme xmlns:a="http://schemas.openxmlformats.org/drawingml/2006/main" name="2_Energinet templates">
  <a:themeElements>
    <a:clrScheme name="Energinet-tema 1">
      <a:dk1>
        <a:srgbClr val="000000"/>
      </a:dk1>
      <a:lt1>
        <a:srgbClr val="FFFFFF"/>
      </a:lt1>
      <a:dk2>
        <a:srgbClr val="A0C1C2"/>
      </a:dk2>
      <a:lt2>
        <a:srgbClr val="A0CD92"/>
      </a:lt2>
      <a:accent1>
        <a:srgbClr val="008B8B"/>
      </a:accent1>
      <a:accent2>
        <a:srgbClr val="0A515D"/>
      </a:accent2>
      <a:accent3>
        <a:srgbClr val="FFD424"/>
      </a:accent3>
      <a:accent4>
        <a:srgbClr val="C2E5F1"/>
      </a:accent4>
      <a:accent5>
        <a:srgbClr val="00A98F"/>
      </a:accent5>
      <a:accent6>
        <a:srgbClr val="00A7BD"/>
      </a:accent6>
      <a:hlink>
        <a:srgbClr val="00A98F"/>
      </a:hlink>
      <a:folHlink>
        <a:srgbClr val="00A6BC"/>
      </a:folHlink>
    </a:clrScheme>
    <a:fontScheme name="Energinet.dk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spcBef>
            <a:spcPts val="750"/>
          </a:spcBef>
          <a:defRPr sz="20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æsentation4" id="{C86BB850-651B-B547-A5D4-F04B1D1D1E19}" vid="{AAAFD527-505D-594D-AF4A-D6A652B7415F}"/>
    </a:ext>
  </a:extLst>
</a:theme>
</file>

<file path=ppt/theme/theme11.xml><?xml version="1.0" encoding="utf-8"?>
<a:theme xmlns:a="http://schemas.openxmlformats.org/drawingml/2006/main" name="3_Energinet templates">
  <a:themeElements>
    <a:clrScheme name="Energinet-tema 1">
      <a:dk1>
        <a:srgbClr val="000000"/>
      </a:dk1>
      <a:lt1>
        <a:srgbClr val="FFFFFF"/>
      </a:lt1>
      <a:dk2>
        <a:srgbClr val="A0C1C2"/>
      </a:dk2>
      <a:lt2>
        <a:srgbClr val="A0CD92"/>
      </a:lt2>
      <a:accent1>
        <a:srgbClr val="008B8B"/>
      </a:accent1>
      <a:accent2>
        <a:srgbClr val="0A515D"/>
      </a:accent2>
      <a:accent3>
        <a:srgbClr val="FFD424"/>
      </a:accent3>
      <a:accent4>
        <a:srgbClr val="C2E5F1"/>
      </a:accent4>
      <a:accent5>
        <a:srgbClr val="00A98F"/>
      </a:accent5>
      <a:accent6>
        <a:srgbClr val="00A7BD"/>
      </a:accent6>
      <a:hlink>
        <a:srgbClr val="00A98F"/>
      </a:hlink>
      <a:folHlink>
        <a:srgbClr val="00A6BC"/>
      </a:folHlink>
    </a:clrScheme>
    <a:fontScheme name="Energinet.dk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spcBef>
            <a:spcPts val="750"/>
          </a:spcBef>
          <a:defRPr sz="20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æsentation1" id="{2B3D7A74-2AD2-5146-BEBD-8855304F168E}" vid="{2217B3B7-8824-4642-9CB9-AE768D595932}"/>
    </a:ext>
  </a:extLst>
</a:theme>
</file>

<file path=ppt/theme/theme12.xml><?xml version="1.0" encoding="utf-8"?>
<a:theme xmlns:a="http://schemas.openxmlformats.org/drawingml/2006/main" name="2_Miljøstyrelsen PowerPoint Skabelon 16:9">
  <a:themeElements>
    <a:clrScheme name="FST_2020">
      <a:dk1>
        <a:srgbClr val="000000"/>
      </a:dk1>
      <a:lt1>
        <a:srgbClr val="FFFFFF"/>
      </a:lt1>
      <a:dk2>
        <a:srgbClr val="CC514D"/>
      </a:dk2>
      <a:lt2>
        <a:srgbClr val="003856"/>
      </a:lt2>
      <a:accent1>
        <a:srgbClr val="0073B1"/>
      </a:accent1>
      <a:accent2>
        <a:srgbClr val="7CCCBF"/>
      </a:accent2>
      <a:accent3>
        <a:srgbClr val="A38D28"/>
      </a:accent3>
      <a:accent4>
        <a:srgbClr val="325661"/>
      </a:accent4>
      <a:accent5>
        <a:srgbClr val="93988F"/>
      </a:accent5>
      <a:accent6>
        <a:srgbClr val="22955B"/>
      </a:accent6>
      <a:hlink>
        <a:srgbClr val="0073B1"/>
      </a:hlink>
      <a:folHlink>
        <a:srgbClr val="7CCCBF"/>
      </a:folHlink>
    </a:clrScheme>
    <a:fontScheme name="Miljø og Fødevareministeri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ST_DK_2020 V02" id="{7C1A17DD-0D4C-B141-9BCD-BF8DDE9E7E5C}" vid="{FD03CAB5-FC52-1C44-B224-AB26488330C7}"/>
    </a:ext>
  </a:extLst>
</a:theme>
</file>

<file path=ppt/theme/theme13.xml><?xml version="1.0" encoding="utf-8"?>
<a:theme xmlns:a="http://schemas.openxmlformats.org/drawingml/2006/main" name="Blue theme">
  <a:themeElements>
    <a:clrScheme name="Energi farver">
      <a:dk1>
        <a:srgbClr val="FFFFFF"/>
      </a:dk1>
      <a:lt1>
        <a:srgbClr val="FFFFFF"/>
      </a:lt1>
      <a:dk2>
        <a:srgbClr val="FFFFFF"/>
      </a:dk2>
      <a:lt2>
        <a:srgbClr val="FFFFFF"/>
      </a:lt2>
      <a:accent1>
        <a:srgbClr val="69A7B7"/>
      </a:accent1>
      <a:accent2>
        <a:srgbClr val="99C5BD"/>
      </a:accent2>
      <a:accent3>
        <a:srgbClr val="E25644"/>
      </a:accent3>
      <a:accent4>
        <a:srgbClr val="F39090"/>
      </a:accent4>
      <a:accent5>
        <a:srgbClr val="415171"/>
      </a:accent5>
      <a:accent6>
        <a:srgbClr val="7981AD"/>
      </a:accent6>
      <a:hlink>
        <a:srgbClr val="000000"/>
      </a:hlink>
      <a:folHlink>
        <a:srgbClr val="000000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Projekt niestandardowy">
  <a:themeElements>
    <a:clrScheme name="Niestandardowy 18">
      <a:dk1>
        <a:srgbClr val="595959"/>
      </a:dk1>
      <a:lt1>
        <a:srgbClr val="F8F8F8"/>
      </a:lt1>
      <a:dk2>
        <a:srgbClr val="595959"/>
      </a:dk2>
      <a:lt2>
        <a:srgbClr val="F8F8F8"/>
      </a:lt2>
      <a:accent1>
        <a:srgbClr val="FF4C00"/>
      </a:accent1>
      <a:accent2>
        <a:srgbClr val="FAB77B"/>
      </a:accent2>
      <a:accent3>
        <a:srgbClr val="595959"/>
      </a:accent3>
      <a:accent4>
        <a:srgbClr val="9B9B9B"/>
      </a:accent4>
      <a:accent5>
        <a:srgbClr val="BCBCBC"/>
      </a:accent5>
      <a:accent6>
        <a:srgbClr val="DDDDDD"/>
      </a:accent6>
      <a:hlink>
        <a:srgbClr val="FF0000"/>
      </a:hlink>
      <a:folHlink>
        <a:srgbClr val="0070C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strukcja_prezentacji_gaz-system_PL.potx" id="{F6B116BD-FD04-476B-9D7B-76F6C08E3E77}" vid="{65C4989B-EEFF-43BE-B7A6-9B6F9369FC61}"/>
    </a:ext>
  </a:extLst>
</a:theme>
</file>

<file path=ppt/theme/theme15.xml><?xml version="1.0" encoding="utf-8"?>
<a:theme xmlns:a="http://schemas.openxmlformats.org/drawingml/2006/main" name="1_Projekt niestandardowy">
  <a:themeElements>
    <a:clrScheme name="Niestandardowy 18">
      <a:dk1>
        <a:srgbClr val="595959"/>
      </a:dk1>
      <a:lt1>
        <a:srgbClr val="F8F8F8"/>
      </a:lt1>
      <a:dk2>
        <a:srgbClr val="595959"/>
      </a:dk2>
      <a:lt2>
        <a:srgbClr val="F8F8F8"/>
      </a:lt2>
      <a:accent1>
        <a:srgbClr val="FF4C00"/>
      </a:accent1>
      <a:accent2>
        <a:srgbClr val="FAB77B"/>
      </a:accent2>
      <a:accent3>
        <a:srgbClr val="595959"/>
      </a:accent3>
      <a:accent4>
        <a:srgbClr val="9B9B9B"/>
      </a:accent4>
      <a:accent5>
        <a:srgbClr val="BCBCBC"/>
      </a:accent5>
      <a:accent6>
        <a:srgbClr val="DDDDDD"/>
      </a:accent6>
      <a:hlink>
        <a:srgbClr val="FF0000"/>
      </a:hlink>
      <a:folHlink>
        <a:srgbClr val="0070C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strukcja_prezentacji_gaz-system_PL.potx" id="{F6B116BD-FD04-476B-9D7B-76F6C08E3E77}" vid="{65C4989B-EEFF-43BE-B7A6-9B6F9369FC61}"/>
    </a:ext>
  </a:extLst>
</a:theme>
</file>

<file path=ppt/theme/theme16.xml><?xml version="1.0" encoding="utf-8"?>
<a:theme xmlns:a="http://schemas.openxmlformats.org/drawingml/2006/main" name="3_Miljøstyrelsen PowerPoint Skabelon 16:9">
  <a:themeElements>
    <a:clrScheme name="FST_2020">
      <a:dk1>
        <a:srgbClr val="000000"/>
      </a:dk1>
      <a:lt1>
        <a:srgbClr val="FFFFFF"/>
      </a:lt1>
      <a:dk2>
        <a:srgbClr val="CC514D"/>
      </a:dk2>
      <a:lt2>
        <a:srgbClr val="003856"/>
      </a:lt2>
      <a:accent1>
        <a:srgbClr val="0073B1"/>
      </a:accent1>
      <a:accent2>
        <a:srgbClr val="7CCCBF"/>
      </a:accent2>
      <a:accent3>
        <a:srgbClr val="A38D28"/>
      </a:accent3>
      <a:accent4>
        <a:srgbClr val="325661"/>
      </a:accent4>
      <a:accent5>
        <a:srgbClr val="93988F"/>
      </a:accent5>
      <a:accent6>
        <a:srgbClr val="22955B"/>
      </a:accent6>
      <a:hlink>
        <a:srgbClr val="0073B1"/>
      </a:hlink>
      <a:folHlink>
        <a:srgbClr val="7CCCBF"/>
      </a:folHlink>
    </a:clrScheme>
    <a:fontScheme name="Miljø og Fødevareministeri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ST_DK_2020 V02" id="{7C1A17DD-0D4C-B141-9BCD-BF8DDE9E7E5C}" vid="{FD03CAB5-FC52-1C44-B224-AB26488330C7}"/>
    </a:ext>
  </a:extLst>
</a:theme>
</file>

<file path=ppt/theme/theme17.xml><?xml version="1.0" encoding="utf-8"?>
<a:theme xmlns:a="http://schemas.openxmlformats.org/drawingml/2006/main" name="1_Blue theme">
  <a:themeElements>
    <a:clrScheme name="Energi farver">
      <a:dk1>
        <a:srgbClr val="FFFFFF"/>
      </a:dk1>
      <a:lt1>
        <a:srgbClr val="FFFFFF"/>
      </a:lt1>
      <a:dk2>
        <a:srgbClr val="FFFFFF"/>
      </a:dk2>
      <a:lt2>
        <a:srgbClr val="FFFFFF"/>
      </a:lt2>
      <a:accent1>
        <a:srgbClr val="69A7B7"/>
      </a:accent1>
      <a:accent2>
        <a:srgbClr val="99C5BD"/>
      </a:accent2>
      <a:accent3>
        <a:srgbClr val="E25644"/>
      </a:accent3>
      <a:accent4>
        <a:srgbClr val="F39090"/>
      </a:accent4>
      <a:accent5>
        <a:srgbClr val="415171"/>
      </a:accent5>
      <a:accent6>
        <a:srgbClr val="7981AD"/>
      </a:accent6>
      <a:hlink>
        <a:srgbClr val="000000"/>
      </a:hlink>
      <a:folHlink>
        <a:srgbClr val="000000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Breaker, citat, pause og spørgsmål">
  <a:themeElements>
    <a:clrScheme name="EFKM">
      <a:dk1>
        <a:srgbClr val="000000"/>
      </a:dk1>
      <a:lt1>
        <a:sysClr val="window" lastClr="FFFFFF"/>
      </a:lt1>
      <a:dk2>
        <a:srgbClr val="1F497D"/>
      </a:dk2>
      <a:lt2>
        <a:srgbClr val="1DE2CD"/>
      </a:lt2>
      <a:accent1>
        <a:srgbClr val="0097A7"/>
      </a:accent1>
      <a:accent2>
        <a:srgbClr val="045C65"/>
      </a:accent2>
      <a:accent3>
        <a:srgbClr val="FF5252"/>
      </a:accent3>
      <a:accent4>
        <a:srgbClr val="673AB7"/>
      </a:accent4>
      <a:accent5>
        <a:srgbClr val="0C2D83"/>
      </a:accent5>
      <a:accent6>
        <a:srgbClr val="0091EA"/>
      </a:accent6>
      <a:hlink>
        <a:srgbClr val="0000FF"/>
      </a:hlink>
      <a:folHlink>
        <a:srgbClr val="800080"/>
      </a:folHlink>
    </a:clrScheme>
    <a:fontScheme name="EFK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æsentation1" id="{817672FF-E0EE-475C-AAEC-C64779E15DCC}" vid="{5FCCF21A-19AA-44E2-A992-E38DD07F4A32}"/>
    </a:ext>
  </a:extLst>
</a:theme>
</file>

<file path=ppt/theme/theme19.xml><?xml version="1.0" encoding="utf-8"?>
<a:theme xmlns:a="http://schemas.openxmlformats.org/drawingml/2006/main" name="Tekst">
  <a:themeElements>
    <a:clrScheme name="EFKM">
      <a:dk1>
        <a:srgbClr val="000000"/>
      </a:dk1>
      <a:lt1>
        <a:sysClr val="window" lastClr="FFFFFF"/>
      </a:lt1>
      <a:dk2>
        <a:srgbClr val="1F497D"/>
      </a:dk2>
      <a:lt2>
        <a:srgbClr val="1DE2CD"/>
      </a:lt2>
      <a:accent1>
        <a:srgbClr val="0097A7"/>
      </a:accent1>
      <a:accent2>
        <a:srgbClr val="045C65"/>
      </a:accent2>
      <a:accent3>
        <a:srgbClr val="FF5252"/>
      </a:accent3>
      <a:accent4>
        <a:srgbClr val="673AB7"/>
      </a:accent4>
      <a:accent5>
        <a:srgbClr val="0C2D83"/>
      </a:accent5>
      <a:accent6>
        <a:srgbClr val="0091EA"/>
      </a:accent6>
      <a:hlink>
        <a:srgbClr val="0000FF"/>
      </a:hlink>
      <a:folHlink>
        <a:srgbClr val="800080"/>
      </a:folHlink>
    </a:clrScheme>
    <a:fontScheme name="EFK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æsentation1" id="{817672FF-E0EE-475C-AAEC-C64779E15DCC}" vid="{5FCCF21A-19AA-44E2-A992-E38DD07F4A32}"/>
    </a:ext>
  </a:extLst>
</a:theme>
</file>

<file path=ppt/theme/theme2.xml><?xml version="1.0" encoding="utf-8"?>
<a:theme xmlns:a="http://schemas.openxmlformats.org/drawingml/2006/main" name="7_Energinet templates">
  <a:themeElements>
    <a:clrScheme name="Energinet-tema 1">
      <a:dk1>
        <a:srgbClr val="000000"/>
      </a:dk1>
      <a:lt1>
        <a:srgbClr val="FFFFFF"/>
      </a:lt1>
      <a:dk2>
        <a:srgbClr val="A0C1C2"/>
      </a:dk2>
      <a:lt2>
        <a:srgbClr val="A0CD92"/>
      </a:lt2>
      <a:accent1>
        <a:srgbClr val="008B8B"/>
      </a:accent1>
      <a:accent2>
        <a:srgbClr val="0A515D"/>
      </a:accent2>
      <a:accent3>
        <a:srgbClr val="FFD424"/>
      </a:accent3>
      <a:accent4>
        <a:srgbClr val="C2E5F1"/>
      </a:accent4>
      <a:accent5>
        <a:srgbClr val="00A98F"/>
      </a:accent5>
      <a:accent6>
        <a:srgbClr val="00A7BD"/>
      </a:accent6>
      <a:hlink>
        <a:srgbClr val="00A98F"/>
      </a:hlink>
      <a:folHlink>
        <a:srgbClr val="00A6BC"/>
      </a:folHlink>
    </a:clrScheme>
    <a:fontScheme name="Energinet.dk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spcBef>
            <a:spcPts val="750"/>
          </a:spcBef>
          <a:defRPr sz="20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æsentation4" id="{C86BB850-651B-B547-A5D4-F04B1D1D1E19}" vid="{AAAFD527-505D-594D-AF4A-D6A652B7415F}"/>
    </a:ext>
  </a:extLst>
</a:theme>
</file>

<file path=ppt/theme/theme20.xml><?xml version="1.0" encoding="utf-8"?>
<a:theme xmlns:a="http://schemas.openxmlformats.org/drawingml/2006/main" name="Tak for i dag">
  <a:themeElements>
    <a:clrScheme name="EFKM">
      <a:dk1>
        <a:srgbClr val="000000"/>
      </a:dk1>
      <a:lt1>
        <a:sysClr val="window" lastClr="FFFFFF"/>
      </a:lt1>
      <a:dk2>
        <a:srgbClr val="1F497D"/>
      </a:dk2>
      <a:lt2>
        <a:srgbClr val="1DE2CD"/>
      </a:lt2>
      <a:accent1>
        <a:srgbClr val="0097A7"/>
      </a:accent1>
      <a:accent2>
        <a:srgbClr val="045C65"/>
      </a:accent2>
      <a:accent3>
        <a:srgbClr val="FF5252"/>
      </a:accent3>
      <a:accent4>
        <a:srgbClr val="673AB7"/>
      </a:accent4>
      <a:accent5>
        <a:srgbClr val="0C2D83"/>
      </a:accent5>
      <a:accent6>
        <a:srgbClr val="0091EA"/>
      </a:accent6>
      <a:hlink>
        <a:srgbClr val="0000FF"/>
      </a:hlink>
      <a:folHlink>
        <a:srgbClr val="800080"/>
      </a:folHlink>
    </a:clrScheme>
    <a:fontScheme name="EFK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æsentation1" id="{817672FF-E0EE-475C-AAEC-C64779E15DCC}" vid="{5FCCF21A-19AA-44E2-A992-E38DD07F4A32}"/>
    </a:ext>
  </a:extLst>
</a:theme>
</file>

<file path=ppt/theme/theme21.xml><?xml version="1.0" encoding="utf-8"?>
<a:theme xmlns:a="http://schemas.openxmlformats.org/drawingml/2006/main" name="4_Energinet templates">
  <a:themeElements>
    <a:clrScheme name="Energinet-tema 1">
      <a:dk1>
        <a:srgbClr val="000000"/>
      </a:dk1>
      <a:lt1>
        <a:srgbClr val="FFFFFF"/>
      </a:lt1>
      <a:dk2>
        <a:srgbClr val="A0C1C2"/>
      </a:dk2>
      <a:lt2>
        <a:srgbClr val="A0CD92"/>
      </a:lt2>
      <a:accent1>
        <a:srgbClr val="008B8B"/>
      </a:accent1>
      <a:accent2>
        <a:srgbClr val="0A515D"/>
      </a:accent2>
      <a:accent3>
        <a:srgbClr val="FFD424"/>
      </a:accent3>
      <a:accent4>
        <a:srgbClr val="C2E5F1"/>
      </a:accent4>
      <a:accent5>
        <a:srgbClr val="00A98F"/>
      </a:accent5>
      <a:accent6>
        <a:srgbClr val="00A7BD"/>
      </a:accent6>
      <a:hlink>
        <a:srgbClr val="00A98F"/>
      </a:hlink>
      <a:folHlink>
        <a:srgbClr val="00A6BC"/>
      </a:folHlink>
    </a:clrScheme>
    <a:fontScheme name="Energinet.dk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spcBef>
            <a:spcPts val="750"/>
          </a:spcBef>
          <a:defRPr sz="20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æsentation1" id="{2B3D7A74-2AD2-5146-BEBD-8855304F168E}" vid="{2217B3B7-8824-4642-9CB9-AE768D595932}"/>
    </a:ext>
  </a:extLst>
</a:theme>
</file>

<file path=ppt/theme/theme22.xml><?xml version="1.0" encoding="utf-8"?>
<a:theme xmlns:a="http://schemas.openxmlformats.org/drawingml/2006/main" name="Turquoise theme">
  <a:themeElements>
    <a:clrScheme name="Energi farver">
      <a:dk1>
        <a:srgbClr val="FFFFFF"/>
      </a:dk1>
      <a:lt1>
        <a:srgbClr val="FFFFFF"/>
      </a:lt1>
      <a:dk2>
        <a:srgbClr val="FFFFFF"/>
      </a:dk2>
      <a:lt2>
        <a:srgbClr val="FFFFFF"/>
      </a:lt2>
      <a:accent1>
        <a:srgbClr val="69A7B7"/>
      </a:accent1>
      <a:accent2>
        <a:srgbClr val="99C5BD"/>
      </a:accent2>
      <a:accent3>
        <a:srgbClr val="E25644"/>
      </a:accent3>
      <a:accent4>
        <a:srgbClr val="F39090"/>
      </a:accent4>
      <a:accent5>
        <a:srgbClr val="415171"/>
      </a:accent5>
      <a:accent6>
        <a:srgbClr val="7981AD"/>
      </a:accent6>
      <a:hlink>
        <a:srgbClr val="000000"/>
      </a:hlink>
      <a:folHlink>
        <a:srgbClr val="000000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Forsyningstilsynet">
  <a:themeElements>
    <a:clrScheme name="Forsyningstilsynet">
      <a:dk1>
        <a:srgbClr val="000000"/>
      </a:dk1>
      <a:lt1>
        <a:srgbClr val="FFFFFF"/>
      </a:lt1>
      <a:dk2>
        <a:srgbClr val="CC514D"/>
      </a:dk2>
      <a:lt2>
        <a:srgbClr val="003856"/>
      </a:lt2>
      <a:accent1>
        <a:srgbClr val="0073B1"/>
      </a:accent1>
      <a:accent2>
        <a:srgbClr val="7CCCBF"/>
      </a:accent2>
      <a:accent3>
        <a:srgbClr val="A38D28"/>
      </a:accent3>
      <a:accent4>
        <a:srgbClr val="325661"/>
      </a:accent4>
      <a:accent5>
        <a:srgbClr val="93988F"/>
      </a:accent5>
      <a:accent6>
        <a:srgbClr val="22955B"/>
      </a:accent6>
      <a:hlink>
        <a:srgbClr val="0073B1"/>
      </a:hlink>
      <a:folHlink>
        <a:srgbClr val="7CCCBF"/>
      </a:folHlink>
    </a:clrScheme>
    <a:fontScheme name="Forsyningstilsyn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ST_DK_2020 V02" id="{7C1A17DD-0D4C-B141-9BCD-BF8DDE9E7E5C}" vid="{FD03CAB5-FC52-1C44-B224-AB26488330C7}"/>
    </a:ext>
  </a:extLst>
</a:theme>
</file>

<file path=ppt/theme/theme24.xml><?xml version="1.0" encoding="utf-8"?>
<a:theme xmlns:a="http://schemas.openxmlformats.org/drawingml/2006/main" name="3_Blue theme">
  <a:themeElements>
    <a:clrScheme name="Energi farver">
      <a:dk1>
        <a:srgbClr val="FFFFFF"/>
      </a:dk1>
      <a:lt1>
        <a:srgbClr val="FFFFFF"/>
      </a:lt1>
      <a:dk2>
        <a:srgbClr val="FFFFFF"/>
      </a:dk2>
      <a:lt2>
        <a:srgbClr val="FFFFFF"/>
      </a:lt2>
      <a:accent1>
        <a:srgbClr val="69A7B7"/>
      </a:accent1>
      <a:accent2>
        <a:srgbClr val="99C5BD"/>
      </a:accent2>
      <a:accent3>
        <a:srgbClr val="E25644"/>
      </a:accent3>
      <a:accent4>
        <a:srgbClr val="F39090"/>
      </a:accent4>
      <a:accent5>
        <a:srgbClr val="415171"/>
      </a:accent5>
      <a:accent6>
        <a:srgbClr val="7981AD"/>
      </a:accent6>
      <a:hlink>
        <a:srgbClr val="000000"/>
      </a:hlink>
      <a:folHlink>
        <a:srgbClr val="000000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æsentation4" id="{0419B89E-D1E2-1244-827E-EE63C49D0B35}" vid="{40D9401D-E77C-0E45-B112-B1EB33F53CD3}"/>
    </a:ext>
  </a:extLst>
</a:theme>
</file>

<file path=ppt/theme/theme25.xml><?xml version="1.0" encoding="utf-8"?>
<a:theme xmlns:a="http://schemas.openxmlformats.org/drawingml/2006/main" name="4_Miljøstyrelsen PowerPoint Skabelon 16:9">
  <a:themeElements>
    <a:clrScheme name="FST_2020">
      <a:dk1>
        <a:srgbClr val="000000"/>
      </a:dk1>
      <a:lt1>
        <a:srgbClr val="FFFFFF"/>
      </a:lt1>
      <a:dk2>
        <a:srgbClr val="CC514D"/>
      </a:dk2>
      <a:lt2>
        <a:srgbClr val="003856"/>
      </a:lt2>
      <a:accent1>
        <a:srgbClr val="0073B1"/>
      </a:accent1>
      <a:accent2>
        <a:srgbClr val="7CCCBF"/>
      </a:accent2>
      <a:accent3>
        <a:srgbClr val="A38D28"/>
      </a:accent3>
      <a:accent4>
        <a:srgbClr val="325661"/>
      </a:accent4>
      <a:accent5>
        <a:srgbClr val="93988F"/>
      </a:accent5>
      <a:accent6>
        <a:srgbClr val="22955B"/>
      </a:accent6>
      <a:hlink>
        <a:srgbClr val="0073B1"/>
      </a:hlink>
      <a:folHlink>
        <a:srgbClr val="7CCCBF"/>
      </a:folHlink>
    </a:clrScheme>
    <a:fontScheme name="Miljø og Fødevareministeri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ST_DK_2020 V02" id="{7C1A17DD-0D4C-B141-9BCD-BF8DDE9E7E5C}" vid="{FD03CAB5-FC52-1C44-B224-AB26488330C7}"/>
    </a:ext>
  </a:extLst>
</a:theme>
</file>

<file path=ppt/theme/theme26.xml><?xml version="1.0" encoding="utf-8"?>
<a:theme xmlns:a="http://schemas.openxmlformats.org/drawingml/2006/main" name="Forsider">
  <a:themeElements>
    <a:clrScheme name="EFKM">
      <a:dk1>
        <a:srgbClr val="000000"/>
      </a:dk1>
      <a:lt1>
        <a:sysClr val="window" lastClr="FFFFFF"/>
      </a:lt1>
      <a:dk2>
        <a:srgbClr val="1F497D"/>
      </a:dk2>
      <a:lt2>
        <a:srgbClr val="1DE2CD"/>
      </a:lt2>
      <a:accent1>
        <a:srgbClr val="0097A7"/>
      </a:accent1>
      <a:accent2>
        <a:srgbClr val="045C65"/>
      </a:accent2>
      <a:accent3>
        <a:srgbClr val="FF5252"/>
      </a:accent3>
      <a:accent4>
        <a:srgbClr val="673AB7"/>
      </a:accent4>
      <a:accent5>
        <a:srgbClr val="0C2D83"/>
      </a:accent5>
      <a:accent6>
        <a:srgbClr val="0091EA"/>
      </a:accent6>
      <a:hlink>
        <a:srgbClr val="0000FF"/>
      </a:hlink>
      <a:folHlink>
        <a:srgbClr val="800080"/>
      </a:folHlink>
    </a:clrScheme>
    <a:fontScheme name="EFK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æsentation1" id="{817672FF-E0EE-475C-AAEC-C64779E15DCC}" vid="{5FCCF21A-19AA-44E2-A992-E38DD07F4A32}"/>
    </a:ext>
  </a:extLst>
</a:theme>
</file>

<file path=ppt/theme/theme27.xml><?xml version="1.0" encoding="utf-8"?>
<a:theme xmlns:a="http://schemas.openxmlformats.org/drawingml/2006/main" name="1_Tekst">
  <a:themeElements>
    <a:clrScheme name="EFKM">
      <a:dk1>
        <a:srgbClr val="000000"/>
      </a:dk1>
      <a:lt1>
        <a:sysClr val="window" lastClr="FFFFFF"/>
      </a:lt1>
      <a:dk2>
        <a:srgbClr val="1F497D"/>
      </a:dk2>
      <a:lt2>
        <a:srgbClr val="1DE2CD"/>
      </a:lt2>
      <a:accent1>
        <a:srgbClr val="0097A7"/>
      </a:accent1>
      <a:accent2>
        <a:srgbClr val="045C65"/>
      </a:accent2>
      <a:accent3>
        <a:srgbClr val="FF5252"/>
      </a:accent3>
      <a:accent4>
        <a:srgbClr val="673AB7"/>
      </a:accent4>
      <a:accent5>
        <a:srgbClr val="0C2D83"/>
      </a:accent5>
      <a:accent6>
        <a:srgbClr val="0091EA"/>
      </a:accent6>
      <a:hlink>
        <a:srgbClr val="0000FF"/>
      </a:hlink>
      <a:folHlink>
        <a:srgbClr val="800080"/>
      </a:folHlink>
    </a:clrScheme>
    <a:fontScheme name="EFK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æsentation1" id="{817672FF-E0EE-475C-AAEC-C64779E15DCC}" vid="{5FCCF21A-19AA-44E2-A992-E38DD07F4A32}"/>
    </a:ext>
  </a:extLst>
</a:theme>
</file>

<file path=ppt/theme/theme28.xml><?xml version="1.0" encoding="utf-8"?>
<a:theme xmlns:a="http://schemas.openxmlformats.org/drawingml/2006/main" name="Billeder og tabeller">
  <a:themeElements>
    <a:clrScheme name="EFKM">
      <a:dk1>
        <a:srgbClr val="000000"/>
      </a:dk1>
      <a:lt1>
        <a:sysClr val="window" lastClr="FFFFFF"/>
      </a:lt1>
      <a:dk2>
        <a:srgbClr val="1F497D"/>
      </a:dk2>
      <a:lt2>
        <a:srgbClr val="1DE2CD"/>
      </a:lt2>
      <a:accent1>
        <a:srgbClr val="0097A7"/>
      </a:accent1>
      <a:accent2>
        <a:srgbClr val="045C65"/>
      </a:accent2>
      <a:accent3>
        <a:srgbClr val="FF5252"/>
      </a:accent3>
      <a:accent4>
        <a:srgbClr val="673AB7"/>
      </a:accent4>
      <a:accent5>
        <a:srgbClr val="0C2D83"/>
      </a:accent5>
      <a:accent6>
        <a:srgbClr val="0091EA"/>
      </a:accent6>
      <a:hlink>
        <a:srgbClr val="0000FF"/>
      </a:hlink>
      <a:folHlink>
        <a:srgbClr val="800080"/>
      </a:folHlink>
    </a:clrScheme>
    <a:fontScheme name="EFK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æsentation1" id="{817672FF-E0EE-475C-AAEC-C64779E15DCC}" vid="{5FCCF21A-19AA-44E2-A992-E38DD07F4A32}"/>
    </a:ext>
  </a:extLst>
</a:theme>
</file>

<file path=ppt/theme/theme29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3_Energinet templates">
  <a:themeElements>
    <a:clrScheme name="Energinet-tema 1">
      <a:dk1>
        <a:srgbClr val="000000"/>
      </a:dk1>
      <a:lt1>
        <a:srgbClr val="FFFFFF"/>
      </a:lt1>
      <a:dk2>
        <a:srgbClr val="A0C1C2"/>
      </a:dk2>
      <a:lt2>
        <a:srgbClr val="A0CD92"/>
      </a:lt2>
      <a:accent1>
        <a:srgbClr val="008B8B"/>
      </a:accent1>
      <a:accent2>
        <a:srgbClr val="0A515D"/>
      </a:accent2>
      <a:accent3>
        <a:srgbClr val="FFD424"/>
      </a:accent3>
      <a:accent4>
        <a:srgbClr val="C2E5F1"/>
      </a:accent4>
      <a:accent5>
        <a:srgbClr val="00A98F"/>
      </a:accent5>
      <a:accent6>
        <a:srgbClr val="00A7BD"/>
      </a:accent6>
      <a:hlink>
        <a:srgbClr val="00A98F"/>
      </a:hlink>
      <a:folHlink>
        <a:srgbClr val="00A6BC"/>
      </a:folHlink>
    </a:clrScheme>
    <a:fontScheme name="Energinet.dk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spcBef>
            <a:spcPts val="750"/>
          </a:spcBef>
          <a:defRPr sz="20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æsentation1" id="{2B3D7A74-2AD2-5146-BEBD-8855304F168E}" vid="{2217B3B7-8824-4642-9CB9-AE768D595932}"/>
    </a:ext>
  </a:extLst>
</a:theme>
</file>

<file path=ppt/theme/theme3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Miljøstyrelsen PowerPoint Skabelon 16:9">
  <a:themeElements>
    <a:clrScheme name="FST_2020">
      <a:dk1>
        <a:srgbClr val="000000"/>
      </a:dk1>
      <a:lt1>
        <a:srgbClr val="FFFFFF"/>
      </a:lt1>
      <a:dk2>
        <a:srgbClr val="CC514D"/>
      </a:dk2>
      <a:lt2>
        <a:srgbClr val="003856"/>
      </a:lt2>
      <a:accent1>
        <a:srgbClr val="0073B1"/>
      </a:accent1>
      <a:accent2>
        <a:srgbClr val="7CCCBF"/>
      </a:accent2>
      <a:accent3>
        <a:srgbClr val="A38D28"/>
      </a:accent3>
      <a:accent4>
        <a:srgbClr val="325661"/>
      </a:accent4>
      <a:accent5>
        <a:srgbClr val="93988F"/>
      </a:accent5>
      <a:accent6>
        <a:srgbClr val="22955B"/>
      </a:accent6>
      <a:hlink>
        <a:srgbClr val="0073B1"/>
      </a:hlink>
      <a:folHlink>
        <a:srgbClr val="7CCCBF"/>
      </a:folHlink>
    </a:clrScheme>
    <a:fontScheme name="Miljø og Fødevareministeri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ST_DK_2020 V02" id="{7C1A17DD-0D4C-B141-9BCD-BF8DDE9E7E5C}" vid="{FD03CAB5-FC52-1C44-B224-AB26488330C7}"/>
    </a:ext>
  </a:extLst>
</a:theme>
</file>

<file path=ppt/theme/theme5.xml><?xml version="1.0" encoding="utf-8"?>
<a:theme xmlns:a="http://schemas.openxmlformats.org/drawingml/2006/main" name="2_Blue theme">
  <a:themeElements>
    <a:clrScheme name="Energi farver">
      <a:dk1>
        <a:srgbClr val="FFFFFF"/>
      </a:dk1>
      <a:lt1>
        <a:srgbClr val="FFFFFF"/>
      </a:lt1>
      <a:dk2>
        <a:srgbClr val="FFFFFF"/>
      </a:dk2>
      <a:lt2>
        <a:srgbClr val="FFFFFF"/>
      </a:lt2>
      <a:accent1>
        <a:srgbClr val="69A7B7"/>
      </a:accent1>
      <a:accent2>
        <a:srgbClr val="99C5BD"/>
      </a:accent2>
      <a:accent3>
        <a:srgbClr val="E25644"/>
      </a:accent3>
      <a:accent4>
        <a:srgbClr val="F39090"/>
      </a:accent4>
      <a:accent5>
        <a:srgbClr val="415171"/>
      </a:accent5>
      <a:accent6>
        <a:srgbClr val="7981AD"/>
      </a:accent6>
      <a:hlink>
        <a:srgbClr val="000000"/>
      </a:hlink>
      <a:folHlink>
        <a:srgbClr val="000000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14_Energinet templates">
  <a:themeElements>
    <a:clrScheme name="Energinet-tema 1">
      <a:dk1>
        <a:srgbClr val="000000"/>
      </a:dk1>
      <a:lt1>
        <a:srgbClr val="FFFFFF"/>
      </a:lt1>
      <a:dk2>
        <a:srgbClr val="A0C1C2"/>
      </a:dk2>
      <a:lt2>
        <a:srgbClr val="A0CD92"/>
      </a:lt2>
      <a:accent1>
        <a:srgbClr val="008B8B"/>
      </a:accent1>
      <a:accent2>
        <a:srgbClr val="0A515D"/>
      </a:accent2>
      <a:accent3>
        <a:srgbClr val="FFD424"/>
      </a:accent3>
      <a:accent4>
        <a:srgbClr val="C2E5F1"/>
      </a:accent4>
      <a:accent5>
        <a:srgbClr val="00A98F"/>
      </a:accent5>
      <a:accent6>
        <a:srgbClr val="00A7BD"/>
      </a:accent6>
      <a:hlink>
        <a:srgbClr val="00A98F"/>
      </a:hlink>
      <a:folHlink>
        <a:srgbClr val="00A6BC"/>
      </a:folHlink>
    </a:clrScheme>
    <a:fontScheme name="Energinet.dk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spcBef>
            <a:spcPts val="750"/>
          </a:spcBef>
          <a:defRPr sz="20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æsentation1" id="{2B3D7A74-2AD2-5146-BEBD-8855304F168E}" vid="{2217B3B7-8824-4642-9CB9-AE768D595932}"/>
    </a:ext>
  </a:extLst>
</a:theme>
</file>

<file path=ppt/theme/theme7.xml><?xml version="1.0" encoding="utf-8"?>
<a:theme xmlns:a="http://schemas.openxmlformats.org/drawingml/2006/main" name="Miljøstyrelsen PowerPoint Skabelon 16:9">
  <a:themeElements>
    <a:clrScheme name="FST_2020">
      <a:dk1>
        <a:srgbClr val="000000"/>
      </a:dk1>
      <a:lt1>
        <a:srgbClr val="FFFFFF"/>
      </a:lt1>
      <a:dk2>
        <a:srgbClr val="CC514D"/>
      </a:dk2>
      <a:lt2>
        <a:srgbClr val="003856"/>
      </a:lt2>
      <a:accent1>
        <a:srgbClr val="0073B1"/>
      </a:accent1>
      <a:accent2>
        <a:srgbClr val="7CCCBF"/>
      </a:accent2>
      <a:accent3>
        <a:srgbClr val="A38D28"/>
      </a:accent3>
      <a:accent4>
        <a:srgbClr val="325661"/>
      </a:accent4>
      <a:accent5>
        <a:srgbClr val="93988F"/>
      </a:accent5>
      <a:accent6>
        <a:srgbClr val="22955B"/>
      </a:accent6>
      <a:hlink>
        <a:srgbClr val="0073B1"/>
      </a:hlink>
      <a:folHlink>
        <a:srgbClr val="7CCCBF"/>
      </a:folHlink>
    </a:clrScheme>
    <a:fontScheme name="Miljø og Fødevareministeri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ST_DK_2020 V02" id="{7C1A17DD-0D4C-B141-9BCD-BF8DDE9E7E5C}" vid="{FD03CAB5-FC52-1C44-B224-AB26488330C7}"/>
    </a:ext>
  </a:extLst>
</a:theme>
</file>

<file path=ppt/theme/theme8.xml><?xml version="1.0" encoding="utf-8"?>
<a:theme xmlns:a="http://schemas.openxmlformats.org/drawingml/2006/main" name="Energinet templates">
  <a:themeElements>
    <a:clrScheme name="Energinet-tema 1">
      <a:dk1>
        <a:srgbClr val="000000"/>
      </a:dk1>
      <a:lt1>
        <a:srgbClr val="FFFFFF"/>
      </a:lt1>
      <a:dk2>
        <a:srgbClr val="A0C1C2"/>
      </a:dk2>
      <a:lt2>
        <a:srgbClr val="A0CD92"/>
      </a:lt2>
      <a:accent1>
        <a:srgbClr val="008B8B"/>
      </a:accent1>
      <a:accent2>
        <a:srgbClr val="0A515D"/>
      </a:accent2>
      <a:accent3>
        <a:srgbClr val="FFD424"/>
      </a:accent3>
      <a:accent4>
        <a:srgbClr val="C2E5F1"/>
      </a:accent4>
      <a:accent5>
        <a:srgbClr val="00A98F"/>
      </a:accent5>
      <a:accent6>
        <a:srgbClr val="00A7BD"/>
      </a:accent6>
      <a:hlink>
        <a:srgbClr val="00A98F"/>
      </a:hlink>
      <a:folHlink>
        <a:srgbClr val="00A6BC"/>
      </a:folHlink>
    </a:clrScheme>
    <a:fontScheme name="Energinet.dk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spcBef>
            <a:spcPts val="750"/>
          </a:spcBef>
          <a:defRPr sz="20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æsentation4" id="{C86BB850-651B-B547-A5D4-F04B1D1D1E19}" vid="{AAAFD527-505D-594D-AF4A-D6A652B7415F}"/>
    </a:ext>
  </a:extLst>
</a:theme>
</file>

<file path=ppt/theme/theme9.xml><?xml version="1.0" encoding="utf-8"?>
<a:theme xmlns:a="http://schemas.openxmlformats.org/drawingml/2006/main" name="1_Energinet templates">
  <a:themeElements>
    <a:clrScheme name="Energinet-tema 1">
      <a:dk1>
        <a:srgbClr val="000000"/>
      </a:dk1>
      <a:lt1>
        <a:srgbClr val="FFFFFF"/>
      </a:lt1>
      <a:dk2>
        <a:srgbClr val="A0C1C2"/>
      </a:dk2>
      <a:lt2>
        <a:srgbClr val="A0CD92"/>
      </a:lt2>
      <a:accent1>
        <a:srgbClr val="008B8B"/>
      </a:accent1>
      <a:accent2>
        <a:srgbClr val="0A515D"/>
      </a:accent2>
      <a:accent3>
        <a:srgbClr val="FFD424"/>
      </a:accent3>
      <a:accent4>
        <a:srgbClr val="C2E5F1"/>
      </a:accent4>
      <a:accent5>
        <a:srgbClr val="00A98F"/>
      </a:accent5>
      <a:accent6>
        <a:srgbClr val="00A7BD"/>
      </a:accent6>
      <a:hlink>
        <a:srgbClr val="00A98F"/>
      </a:hlink>
      <a:folHlink>
        <a:srgbClr val="00A6BC"/>
      </a:folHlink>
    </a:clrScheme>
    <a:fontScheme name="Energinet.dk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spcBef>
            <a:spcPts val="750"/>
          </a:spcBef>
          <a:defRPr sz="20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æsentation4" id="{C86BB850-651B-B547-A5D4-F04B1D1D1E19}" vid="{AAAFD527-505D-594D-AF4A-D6A652B7415F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TemplafySlideFormConfiguration><![CDATA[{"formFields":[],"formDataEntries":[]}]]></TemplafySlideFormConfiguration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TemplafySlideTemplateConfiguration><![CDATA[{"slideVersion":0,"isValidatorEnabled":false,"isLocked":false,"elementsMetadata":[],"slideId":"637698945083380872","enableDocumentContentUpdater":true,"version":"1.12"}]]></TemplafySlideTemplateConfiguration>
</file>

<file path=customXml/item4.xml><?xml version="1.0" encoding="utf-8"?>
<TemplafySlideTemplateConfiguration><![CDATA[{"slideVersion":0,"isValidatorEnabled":false,"isLocked":false,"elementsMetadata":[],"slideId":"637698945084318442","enableDocumentContentUpdater":true,"version":"1.12"}]]></TemplafySlideTemplate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D1A6F292AE67648869BD7AD66478576" ma:contentTypeVersion="6" ma:contentTypeDescription="Opret et nyt dokument." ma:contentTypeScope="" ma:versionID="bb689cf68f4583ee2307dcf55c92531e">
  <xsd:schema xmlns:xsd="http://www.w3.org/2001/XMLSchema" xmlns:xs="http://www.w3.org/2001/XMLSchema" xmlns:p="http://schemas.microsoft.com/office/2006/metadata/properties" xmlns:ns3="e6c237a3-3bc8-4099-b9a1-dabaff3f0219" targetNamespace="http://schemas.microsoft.com/office/2006/metadata/properties" ma:root="true" ma:fieldsID="14092dadf9cab4b0783075e460a5e33f" ns3:_="">
    <xsd:import namespace="e6c237a3-3bc8-4099-b9a1-dabaff3f021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c237a3-3bc8-4099-b9a1-dabaff3f02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7048055-AF16-4238-B480-B290E6CDEBF5}">
  <ds:schemaRefs/>
</ds:datastoreItem>
</file>

<file path=customXml/itemProps2.xml><?xml version="1.0" encoding="utf-8"?>
<ds:datastoreItem xmlns:ds="http://schemas.openxmlformats.org/officeDocument/2006/customXml" ds:itemID="{E1FA7F19-D817-4308-8BB1-9D299C514E5A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e6c237a3-3bc8-4099-b9a1-dabaff3f0219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5F2D7A6-D4F7-4BCE-9EEB-79C305A432C7}">
  <ds:schemaRefs/>
</ds:datastoreItem>
</file>

<file path=customXml/itemProps4.xml><?xml version="1.0" encoding="utf-8"?>
<ds:datastoreItem xmlns:ds="http://schemas.openxmlformats.org/officeDocument/2006/customXml" ds:itemID="{9EE84EF9-6DC7-4EE0-8E07-B408B0E6AD48}">
  <ds:schemaRefs/>
</ds:datastoreItem>
</file>

<file path=customXml/itemProps5.xml><?xml version="1.0" encoding="utf-8"?>
<ds:datastoreItem xmlns:ds="http://schemas.openxmlformats.org/officeDocument/2006/customXml" ds:itemID="{2047D203-3757-4E3E-97D5-7D7CB08696DD}">
  <ds:schemaRefs/>
</ds:datastoreItem>
</file>

<file path=customXml/itemProps6.xml><?xml version="1.0" encoding="utf-8"?>
<ds:datastoreItem xmlns:ds="http://schemas.openxmlformats.org/officeDocument/2006/customXml" ds:itemID="{BB739D83-8E80-4BC4-AFF9-D0D579CD7A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c237a3-3bc8-4099-b9a1-dabaff3f02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7.xml><?xml version="1.0" encoding="utf-8"?>
<ds:datastoreItem xmlns:ds="http://schemas.openxmlformats.org/officeDocument/2006/customXml" ds:itemID="{080A0B2B-56DB-439F-9338-64A56A933AD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79</TotalTime>
  <Words>4323</Words>
  <Application>Microsoft Office PowerPoint</Application>
  <PresentationFormat>Widescreen</PresentationFormat>
  <Paragraphs>835</Paragraphs>
  <Slides>76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2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6</vt:i4>
      </vt:variant>
    </vt:vector>
  </HeadingPairs>
  <TitlesOfParts>
    <vt:vector size="119" baseType="lpstr">
      <vt:lpstr>Arial</vt:lpstr>
      <vt:lpstr>Barlow Light</vt:lpstr>
      <vt:lpstr>Calibri</vt:lpstr>
      <vt:lpstr>Calibri Light</vt:lpstr>
      <vt:lpstr>Century Gothic</vt:lpstr>
      <vt:lpstr>Courier New</vt:lpstr>
      <vt:lpstr>DINNextLTPro-Regular</vt:lpstr>
      <vt:lpstr>inherit</vt:lpstr>
      <vt:lpstr>Segoe UI Black</vt:lpstr>
      <vt:lpstr>Segoe UI Semibold</vt:lpstr>
      <vt:lpstr>Segoe UI Semilight</vt:lpstr>
      <vt:lpstr>Segoe UI Symbol</vt:lpstr>
      <vt:lpstr>Trebuchet MS</vt:lpstr>
      <vt:lpstr>Wingdings</vt:lpstr>
      <vt:lpstr>UK_16.9_Energinet-skabelon</vt:lpstr>
      <vt:lpstr>7_Energinet templates</vt:lpstr>
      <vt:lpstr>13_Energinet templates</vt:lpstr>
      <vt:lpstr>1_Miljøstyrelsen PowerPoint Skabelon 16:9</vt:lpstr>
      <vt:lpstr>2_Blue theme</vt:lpstr>
      <vt:lpstr>14_Energinet templates</vt:lpstr>
      <vt:lpstr>Miljøstyrelsen PowerPoint Skabelon 16:9</vt:lpstr>
      <vt:lpstr>Energinet templates</vt:lpstr>
      <vt:lpstr>1_Energinet templates</vt:lpstr>
      <vt:lpstr>2_Energinet templates</vt:lpstr>
      <vt:lpstr>3_Energinet templates</vt:lpstr>
      <vt:lpstr>2_Miljøstyrelsen PowerPoint Skabelon 16:9</vt:lpstr>
      <vt:lpstr>Blue theme</vt:lpstr>
      <vt:lpstr>Projekt niestandardowy</vt:lpstr>
      <vt:lpstr>1_Projekt niestandardowy</vt:lpstr>
      <vt:lpstr>3_Miljøstyrelsen PowerPoint Skabelon 16:9</vt:lpstr>
      <vt:lpstr>1_Blue theme</vt:lpstr>
      <vt:lpstr>Breaker, citat, pause og spørgsmål</vt:lpstr>
      <vt:lpstr>Tekst</vt:lpstr>
      <vt:lpstr>Tak for i dag</vt:lpstr>
      <vt:lpstr>4_Energinet templates</vt:lpstr>
      <vt:lpstr>Turquoise theme</vt:lpstr>
      <vt:lpstr>Forsyningstilsynet</vt:lpstr>
      <vt:lpstr>3_Blue theme</vt:lpstr>
      <vt:lpstr>4_Miljøstyrelsen PowerPoint Skabelon 16:9</vt:lpstr>
      <vt:lpstr>Forsider</vt:lpstr>
      <vt:lpstr>1_Tekst</vt:lpstr>
      <vt:lpstr>Billeder og tabeller</vt:lpstr>
      <vt:lpstr>think-cell Slide</vt:lpstr>
      <vt:lpstr>Shippers’ Forum </vt:lpstr>
      <vt:lpstr>PowerPoint Presentation</vt:lpstr>
      <vt:lpstr>PROGRAM</vt:lpstr>
      <vt:lpstr>PowerPoint Presentation</vt:lpstr>
      <vt:lpstr>Danish gas storage filling</vt:lpstr>
      <vt:lpstr>OWNERSHIP AND OPERATION OF THE DANISH PIPELINE-BOUND HYDROGEN INFRASTRUCTURE OF THE FUTURE</vt:lpstr>
      <vt:lpstr>PowerPoint Presentation</vt:lpstr>
      <vt:lpstr>PowerPoint Presentation</vt:lpstr>
      <vt:lpstr>General status on supply</vt:lpstr>
      <vt:lpstr>PowerPoint Presentation</vt:lpstr>
      <vt:lpstr>Gas Suppl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U Security of Supply</vt:lpstr>
      <vt:lpstr>PowerPoint Presentation</vt:lpstr>
      <vt:lpstr>PowerPoint Presentation</vt:lpstr>
      <vt:lpstr>PowerPoint Presentation</vt:lpstr>
      <vt:lpstr>PowerPoint Presentation</vt:lpstr>
      <vt:lpstr>EU Aggregated Deman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djustment of reservation price  &amp; variable injection tariff</vt:lpstr>
      <vt:lpstr>PowerPoint Presentation</vt:lpstr>
      <vt:lpstr>Danish Utility Regulator  Current cases</vt:lpstr>
      <vt:lpstr>PowerPoint Presentation</vt:lpstr>
      <vt:lpstr>Monitoring the Danish Wholesale Gas Market  Market Report 2022</vt:lpstr>
      <vt:lpstr>The Danish Wholesale Gas Market 2022</vt:lpstr>
      <vt:lpstr>Production and Consumption</vt:lpstr>
      <vt:lpstr>Import and Export</vt:lpstr>
      <vt:lpstr>Storage</vt:lpstr>
      <vt:lpstr>Trading and Market</vt:lpstr>
      <vt:lpstr>Trading and Market</vt:lpstr>
      <vt:lpstr>Focus areas 2023</vt:lpstr>
      <vt:lpstr>Thank you.  If you have any questions, please raise a hand</vt:lpstr>
      <vt:lpstr>REMIT </vt:lpstr>
      <vt:lpstr>Content</vt:lpstr>
      <vt:lpstr>What is REMIT?</vt:lpstr>
      <vt:lpstr>What are the obligations of market participants?</vt:lpstr>
      <vt:lpstr>What are the obligations of market participants?</vt:lpstr>
      <vt:lpstr>What is the role of Danish Utility Regulator?</vt:lpstr>
      <vt:lpstr>PowerPoint Presentation</vt:lpstr>
      <vt:lpstr>PowerPoint Presentation</vt:lpstr>
      <vt:lpstr>PowerPoint Presentation</vt:lpstr>
      <vt:lpstr>Content</vt:lpstr>
      <vt:lpstr>Introductory remarks</vt:lpstr>
      <vt:lpstr>Tariff effects 2024  (DKK/KWh/H/year)</vt:lpstr>
      <vt:lpstr>Development in Transportation tariffs</vt:lpstr>
      <vt:lpstr>Assumptions</vt:lpstr>
      <vt:lpstr>Cost BASE</vt:lpstr>
      <vt:lpstr>Under coverage</vt:lpstr>
      <vt:lpstr>PowerPoint Presentation</vt:lpstr>
      <vt:lpstr>PowerPoint Presentation</vt:lpstr>
      <vt:lpstr>PowerPoint Presentation</vt:lpstr>
      <vt:lpstr>Status on the new balancing model</vt:lpstr>
      <vt:lpstr>Update on Balance Invoicing</vt:lpstr>
      <vt:lpstr>Status on Green Zone Flexibility</vt:lpstr>
      <vt:lpstr>Perspectives on the flexibility after 1 October 2022</vt:lpstr>
      <vt:lpstr>Neutralization of imbalance fees after go-live</vt:lpstr>
      <vt:lpstr>PowerPoint Presentation</vt:lpstr>
      <vt:lpstr>PowerPoint Presentation</vt:lpstr>
      <vt:lpstr> Annual capacity offer for coming gas year  Baltic Pipe and entry/exit points</vt:lpstr>
      <vt:lpstr>Market consultation on Congestion Management Procedures (CMP) for Faxe </vt:lpstr>
      <vt:lpstr>Incremental capacity process</vt:lpstr>
      <vt:lpstr>Ellund capacity</vt:lpstr>
      <vt:lpstr>Maintenance</vt:lpstr>
      <vt:lpstr>PowerPoint Presentation</vt:lpstr>
      <vt:lpstr>PowerPoint Presentation</vt:lpstr>
      <vt:lpstr>Next Shippers forum: 14 Sep. 2023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Sofie Kragh</dc:creator>
  <cp:lastModifiedBy>Christian Allan Rutherford</cp:lastModifiedBy>
  <cp:revision>543</cp:revision>
  <cp:lastPrinted>2021-06-05T11:45:42Z</cp:lastPrinted>
  <dcterms:created xsi:type="dcterms:W3CDTF">2019-11-11T08:52:38Z</dcterms:created>
  <dcterms:modified xsi:type="dcterms:W3CDTF">2023-06-08T10:03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d">
    <vt:lpwstr>3932416</vt:lpwstr>
  </property>
  <property fmtid="{D5CDD505-2E9C-101B-9397-08002B2CF9AE}" pid="3" name="verId">
    <vt:lpwstr>3857898</vt:lpwstr>
  </property>
  <property fmtid="{D5CDD505-2E9C-101B-9397-08002B2CF9AE}" pid="4" name="templateId">
    <vt:lpwstr>200249</vt:lpwstr>
  </property>
  <property fmtid="{D5CDD505-2E9C-101B-9397-08002B2CF9AE}" pid="5" name="fileId">
    <vt:lpwstr>6378698</vt:lpwstr>
  </property>
  <property fmtid="{D5CDD505-2E9C-101B-9397-08002B2CF9AE}" pid="6" name="filePath">
    <vt:lpwstr>\\localhost@80\PersonalLibraries\energinet\cso\checked out files</vt:lpwstr>
  </property>
  <property fmtid="{D5CDD505-2E9C-101B-9397-08002B2CF9AE}" pid="7" name="templateFilePath">
    <vt:lpwstr>\\FS16\docprod\templates\UK_16.9_PowerPoint-skabelon.potx</vt:lpwstr>
  </property>
  <property fmtid="{D5CDD505-2E9C-101B-9397-08002B2CF9AE}" pid="8" name="filePathOneNote">
    <vt:lpwstr>\\CN216\360users\onenote\energinet\cso\</vt:lpwstr>
  </property>
  <property fmtid="{D5CDD505-2E9C-101B-9397-08002B2CF9AE}" pid="9" name="fileName">
    <vt:lpwstr>19-10013-1 Gas TSO presentation Shippers Forum 5 December 2019 6378698_1_0.pptx</vt:lpwstr>
  </property>
  <property fmtid="{D5CDD505-2E9C-101B-9397-08002B2CF9AE}" pid="10" name="comment">
    <vt:lpwstr>Gas TSO presentation Shippers Forum 5 December 2019</vt:lpwstr>
  </property>
  <property fmtid="{D5CDD505-2E9C-101B-9397-08002B2CF9AE}" pid="11" name="sourceId">
    <vt:lpwstr>3932416</vt:lpwstr>
  </property>
  <property fmtid="{D5CDD505-2E9C-101B-9397-08002B2CF9AE}" pid="12" name="module">
    <vt:lpwstr>Document</vt:lpwstr>
  </property>
  <property fmtid="{D5CDD505-2E9C-101B-9397-08002B2CF9AE}" pid="13" name="customParams">
    <vt:lpwstr>
    </vt:lpwstr>
  </property>
  <property fmtid="{D5CDD505-2E9C-101B-9397-08002B2CF9AE}" pid="14" name="createdBy">
    <vt:lpwstr>Cathrine Søegaard (CSO)</vt:lpwstr>
  </property>
  <property fmtid="{D5CDD505-2E9C-101B-9397-08002B2CF9AE}" pid="15" name="modifiedBy">
    <vt:lpwstr>Cathrine Søegaard (CSO)</vt:lpwstr>
  </property>
  <property fmtid="{D5CDD505-2E9C-101B-9397-08002B2CF9AE}" pid="16" name="serverName">
    <vt:lpwstr>esdh.si.energinet.local</vt:lpwstr>
  </property>
  <property fmtid="{D5CDD505-2E9C-101B-9397-08002B2CF9AE}" pid="17" name="server">
    <vt:lpwstr>esdh.si.energinet.local</vt:lpwstr>
  </property>
  <property fmtid="{D5CDD505-2E9C-101B-9397-08002B2CF9AE}" pid="18" name="protocol">
    <vt:lpwstr>off</vt:lpwstr>
  </property>
  <property fmtid="{D5CDD505-2E9C-101B-9397-08002B2CF9AE}" pid="19" name="site">
    <vt:lpwstr>/locator.aspx</vt:lpwstr>
  </property>
  <property fmtid="{D5CDD505-2E9C-101B-9397-08002B2CF9AE}" pid="20" name="externalUser">
    <vt:lpwstr>
    </vt:lpwstr>
  </property>
  <property fmtid="{D5CDD505-2E9C-101B-9397-08002B2CF9AE}" pid="21" name="currentVerId">
    <vt:lpwstr>3857898</vt:lpwstr>
  </property>
  <property fmtid="{D5CDD505-2E9C-101B-9397-08002B2CF9AE}" pid="22" name="ContentTypeId">
    <vt:lpwstr>0x0101009D1A6F292AE67648869BD7AD66478576</vt:lpwstr>
  </property>
</Properties>
</file>